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4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24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818" r:id="rId2"/>
    <p:sldMasterId id="2147483827" r:id="rId3"/>
  </p:sldMasterIdLst>
  <p:notesMasterIdLst>
    <p:notesMasterId r:id="rId66"/>
  </p:notesMasterIdLst>
  <p:handoutMasterIdLst>
    <p:handoutMasterId r:id="rId67"/>
  </p:handoutMasterIdLst>
  <p:sldIdLst>
    <p:sldId id="578" r:id="rId4"/>
    <p:sldId id="2146" r:id="rId5"/>
    <p:sldId id="838" r:id="rId6"/>
    <p:sldId id="2039" r:id="rId7"/>
    <p:sldId id="2127" r:id="rId8"/>
    <p:sldId id="677" r:id="rId9"/>
    <p:sldId id="2136" r:id="rId10"/>
    <p:sldId id="1747256610" r:id="rId11"/>
    <p:sldId id="1747256614" r:id="rId12"/>
    <p:sldId id="1747256665" r:id="rId13"/>
    <p:sldId id="1747256616" r:id="rId14"/>
    <p:sldId id="1747256667" r:id="rId15"/>
    <p:sldId id="1747256668" r:id="rId16"/>
    <p:sldId id="1747256669" r:id="rId17"/>
    <p:sldId id="1747256675" r:id="rId18"/>
    <p:sldId id="1747256622" r:id="rId19"/>
    <p:sldId id="1747256623" r:id="rId20"/>
    <p:sldId id="1747256625" r:id="rId21"/>
    <p:sldId id="1747256626" r:id="rId22"/>
    <p:sldId id="1747256627" r:id="rId23"/>
    <p:sldId id="1747256677" r:id="rId24"/>
    <p:sldId id="1747256673" r:id="rId25"/>
    <p:sldId id="1747256676" r:id="rId26"/>
    <p:sldId id="1747256621" r:id="rId27"/>
    <p:sldId id="1747256674" r:id="rId28"/>
    <p:sldId id="1747256631" r:id="rId29"/>
    <p:sldId id="1747256654" r:id="rId30"/>
    <p:sldId id="681" r:id="rId31"/>
    <p:sldId id="684" r:id="rId32"/>
    <p:sldId id="1747256655" r:id="rId33"/>
    <p:sldId id="1747256656" r:id="rId34"/>
    <p:sldId id="1747256636" r:id="rId35"/>
    <p:sldId id="1747256637" r:id="rId36"/>
    <p:sldId id="1747256640" r:id="rId37"/>
    <p:sldId id="676" r:id="rId38"/>
    <p:sldId id="1747256641" r:id="rId39"/>
    <p:sldId id="696" r:id="rId40"/>
    <p:sldId id="697" r:id="rId41"/>
    <p:sldId id="698" r:id="rId42"/>
    <p:sldId id="700" r:id="rId43"/>
    <p:sldId id="701" r:id="rId44"/>
    <p:sldId id="1747256660" r:id="rId45"/>
    <p:sldId id="1747256666" r:id="rId46"/>
    <p:sldId id="1747256661" r:id="rId47"/>
    <p:sldId id="1747256659" r:id="rId48"/>
    <p:sldId id="1747256658" r:id="rId49"/>
    <p:sldId id="1747256662" r:id="rId50"/>
    <p:sldId id="1747256642" r:id="rId51"/>
    <p:sldId id="1747256678" r:id="rId52"/>
    <p:sldId id="1747256663" r:id="rId53"/>
    <p:sldId id="1747256664" r:id="rId54"/>
    <p:sldId id="737" r:id="rId55"/>
    <p:sldId id="1747256646" r:id="rId56"/>
    <p:sldId id="1747256647" r:id="rId57"/>
    <p:sldId id="1747256679" r:id="rId58"/>
    <p:sldId id="1747256650" r:id="rId59"/>
    <p:sldId id="1747256651" r:id="rId60"/>
    <p:sldId id="1747256653" r:id="rId61"/>
    <p:sldId id="1747256670" r:id="rId62"/>
    <p:sldId id="1747256672" r:id="rId63"/>
    <p:sldId id="805" r:id="rId64"/>
    <p:sldId id="562" r:id="rId65"/>
  </p:sldIdLst>
  <p:sldSz cx="12192000" cy="6858000"/>
  <p:notesSz cx="6858000" cy="9144000"/>
  <p:defaultTextStyle>
    <a:defPPr>
      <a:defRPr lang="tr-TR"/>
    </a:defPPr>
    <a:lvl1pPr algn="l" rtl="0" eaLnBrk="0" fontAlgn="base" hangingPunct="0">
      <a:spcBef>
        <a:spcPct val="0"/>
      </a:spcBef>
      <a:spcAft>
        <a:spcPct val="0"/>
      </a:spcAft>
      <a:defRPr sz="2800" b="1" kern="1200">
        <a:solidFill>
          <a:schemeClr val="tx1"/>
        </a:solidFill>
        <a:latin typeface="Bookman Old Style" panose="02050604050505020204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800" b="1" kern="1200">
        <a:solidFill>
          <a:schemeClr val="tx1"/>
        </a:solidFill>
        <a:latin typeface="Bookman Old Style" panose="02050604050505020204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800" b="1" kern="1200">
        <a:solidFill>
          <a:schemeClr val="tx1"/>
        </a:solidFill>
        <a:latin typeface="Bookman Old Style" panose="02050604050505020204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800" b="1" kern="1200">
        <a:solidFill>
          <a:schemeClr val="tx1"/>
        </a:solidFill>
        <a:latin typeface="Bookman Old Style" panose="02050604050505020204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800" b="1" kern="1200">
        <a:solidFill>
          <a:schemeClr val="tx1"/>
        </a:solidFill>
        <a:latin typeface="Bookman Old Style" panose="02050604050505020204" pitchFamily="18" charset="0"/>
        <a:ea typeface="+mn-ea"/>
        <a:cs typeface="+mn-cs"/>
      </a:defRPr>
    </a:lvl5pPr>
    <a:lvl6pPr marL="2286000" algn="l" defTabSz="914400" rtl="0" eaLnBrk="1" latinLnBrk="0" hangingPunct="1">
      <a:defRPr sz="2800" b="1" kern="1200">
        <a:solidFill>
          <a:schemeClr val="tx1"/>
        </a:solidFill>
        <a:latin typeface="Bookman Old Style" panose="02050604050505020204" pitchFamily="18" charset="0"/>
        <a:ea typeface="+mn-ea"/>
        <a:cs typeface="+mn-cs"/>
      </a:defRPr>
    </a:lvl6pPr>
    <a:lvl7pPr marL="2743200" algn="l" defTabSz="914400" rtl="0" eaLnBrk="1" latinLnBrk="0" hangingPunct="1">
      <a:defRPr sz="2800" b="1" kern="1200">
        <a:solidFill>
          <a:schemeClr val="tx1"/>
        </a:solidFill>
        <a:latin typeface="Bookman Old Style" panose="02050604050505020204" pitchFamily="18" charset="0"/>
        <a:ea typeface="+mn-ea"/>
        <a:cs typeface="+mn-cs"/>
      </a:defRPr>
    </a:lvl7pPr>
    <a:lvl8pPr marL="3200400" algn="l" defTabSz="914400" rtl="0" eaLnBrk="1" latinLnBrk="0" hangingPunct="1">
      <a:defRPr sz="2800" b="1" kern="1200">
        <a:solidFill>
          <a:schemeClr val="tx1"/>
        </a:solidFill>
        <a:latin typeface="Bookman Old Style" panose="02050604050505020204" pitchFamily="18" charset="0"/>
        <a:ea typeface="+mn-ea"/>
        <a:cs typeface="+mn-cs"/>
      </a:defRPr>
    </a:lvl8pPr>
    <a:lvl9pPr marL="3657600" algn="l" defTabSz="914400" rtl="0" eaLnBrk="1" latinLnBrk="0" hangingPunct="1">
      <a:defRPr sz="2800" b="1" kern="1200">
        <a:solidFill>
          <a:schemeClr val="tx1"/>
        </a:solidFill>
        <a:latin typeface="Bookman Old Style" panose="02050604050505020204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66CCFF"/>
    <a:srgbClr val="000099"/>
    <a:srgbClr val="FFFFCC"/>
    <a:srgbClr val="F1F2DA"/>
    <a:srgbClr val="006666"/>
    <a:srgbClr val="00FF00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33" autoAdjust="0"/>
    <p:restoredTop sz="94660"/>
  </p:normalViewPr>
  <p:slideViewPr>
    <p:cSldViewPr>
      <p:cViewPr varScale="1">
        <p:scale>
          <a:sx n="63" d="100"/>
          <a:sy n="63" d="100"/>
        </p:scale>
        <p:origin x="948" y="5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>
      <p:cViewPr varScale="1">
        <p:scale>
          <a:sx n="31" d="100"/>
          <a:sy n="31" d="100"/>
        </p:scale>
        <p:origin x="-113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slide" Target="slides/slide60.xml"/><Relationship Id="rId68" Type="http://schemas.openxmlformats.org/officeDocument/2006/relationships/presProps" Target="presProps.xml"/><Relationship Id="rId7" Type="http://schemas.openxmlformats.org/officeDocument/2006/relationships/slide" Target="slides/slide4.xml"/><Relationship Id="rId71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61" Type="http://schemas.openxmlformats.org/officeDocument/2006/relationships/slide" Target="slides/slide58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handoutMaster" Target="handoutMasters/handout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san Senol Coskun" userId="88cd95f7b86daa2f" providerId="LiveId" clId="{0A1DC79D-782D-493E-B89A-90325507C91B}"/>
    <pc:docChg chg="undo redo custSel addSld delSld modSld sldOrd delMainMaster">
      <pc:chgData name="Hasan Senol Coskun" userId="88cd95f7b86daa2f" providerId="LiveId" clId="{0A1DC79D-782D-493E-B89A-90325507C91B}" dt="2020-11-14T10:49:22.330" v="4519"/>
      <pc:docMkLst>
        <pc:docMk/>
      </pc:docMkLst>
      <pc:sldChg chg="add del">
        <pc:chgData name="Hasan Senol Coskun" userId="88cd95f7b86daa2f" providerId="LiveId" clId="{0A1DC79D-782D-493E-B89A-90325507C91B}" dt="2020-11-13T17:42:19.069" v="299" actId="47"/>
        <pc:sldMkLst>
          <pc:docMk/>
          <pc:sldMk cId="0" sldId="262"/>
        </pc:sldMkLst>
      </pc:sldChg>
      <pc:sldChg chg="del">
        <pc:chgData name="Hasan Senol Coskun" userId="88cd95f7b86daa2f" providerId="LiveId" clId="{0A1DC79D-782D-493E-B89A-90325507C91B}" dt="2020-11-11T18:35:13.333" v="63" actId="47"/>
        <pc:sldMkLst>
          <pc:docMk/>
          <pc:sldMk cId="0" sldId="263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273"/>
        </pc:sldMkLst>
      </pc:sldChg>
      <pc:sldChg chg="del">
        <pc:chgData name="Hasan Senol Coskun" userId="88cd95f7b86daa2f" providerId="LiveId" clId="{0A1DC79D-782D-493E-B89A-90325507C91B}" dt="2020-11-11T18:35:18.494" v="67" actId="47"/>
        <pc:sldMkLst>
          <pc:docMk/>
          <pc:sldMk cId="0" sldId="277"/>
        </pc:sldMkLst>
      </pc:sldChg>
      <pc:sldChg chg="del">
        <pc:chgData name="Hasan Senol Coskun" userId="88cd95f7b86daa2f" providerId="LiveId" clId="{0A1DC79D-782D-493E-B89A-90325507C91B}" dt="2020-11-11T18:35:15.294" v="65" actId="47"/>
        <pc:sldMkLst>
          <pc:docMk/>
          <pc:sldMk cId="0" sldId="284"/>
        </pc:sldMkLst>
      </pc:sldChg>
      <pc:sldChg chg="add del">
        <pc:chgData name="Hasan Senol Coskun" userId="88cd95f7b86daa2f" providerId="LiveId" clId="{0A1DC79D-782D-493E-B89A-90325507C91B}" dt="2020-11-13T17:41:44.190" v="270" actId="47"/>
        <pc:sldMkLst>
          <pc:docMk/>
          <pc:sldMk cId="0" sldId="296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03"/>
        </pc:sldMkLst>
      </pc:sldChg>
      <pc:sldChg chg="add del">
        <pc:chgData name="Hasan Senol Coskun" userId="88cd95f7b86daa2f" providerId="LiveId" clId="{0A1DC79D-782D-493E-B89A-90325507C91B}" dt="2020-11-13T17:41:43.613" v="269" actId="47"/>
        <pc:sldMkLst>
          <pc:docMk/>
          <pc:sldMk cId="0" sldId="308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13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14"/>
        </pc:sldMkLst>
      </pc:sldChg>
      <pc:sldChg chg="del">
        <pc:chgData name="Hasan Senol Coskun" userId="88cd95f7b86daa2f" providerId="LiveId" clId="{0A1DC79D-782D-493E-B89A-90325507C91B}" dt="2020-11-11T18:35:14.413" v="64" actId="47"/>
        <pc:sldMkLst>
          <pc:docMk/>
          <pc:sldMk cId="0" sldId="316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18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19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20"/>
        </pc:sldMkLst>
      </pc:sldChg>
      <pc:sldChg chg="add del">
        <pc:chgData name="Hasan Senol Coskun" userId="88cd95f7b86daa2f" providerId="LiveId" clId="{0A1DC79D-782D-493E-B89A-90325507C91B}" dt="2020-11-13T17:41:42.628" v="268" actId="47"/>
        <pc:sldMkLst>
          <pc:docMk/>
          <pc:sldMk cId="0" sldId="321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23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24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25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26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27"/>
        </pc:sldMkLst>
      </pc:sldChg>
      <pc:sldChg chg="add del">
        <pc:chgData name="Hasan Senol Coskun" userId="88cd95f7b86daa2f" providerId="LiveId" clId="{0A1DC79D-782D-493E-B89A-90325507C91B}" dt="2020-11-13T17:42:00.456" v="290" actId="47"/>
        <pc:sldMkLst>
          <pc:docMk/>
          <pc:sldMk cId="1620782817" sldId="328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30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31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35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38"/>
        </pc:sldMkLst>
      </pc:sldChg>
      <pc:sldChg chg="del">
        <pc:chgData name="Hasan Senol Coskun" userId="88cd95f7b86daa2f" providerId="LiveId" clId="{0A1DC79D-782D-493E-B89A-90325507C91B}" dt="2020-11-11T18:35:12.469" v="62" actId="47"/>
        <pc:sldMkLst>
          <pc:docMk/>
          <pc:sldMk cId="0" sldId="341"/>
        </pc:sldMkLst>
      </pc:sldChg>
      <pc:sldChg chg="del">
        <pc:chgData name="Hasan Senol Coskun" userId="88cd95f7b86daa2f" providerId="LiveId" clId="{0A1DC79D-782D-493E-B89A-90325507C91B}" dt="2020-11-11T18:35:27.087" v="73" actId="47"/>
        <pc:sldMkLst>
          <pc:docMk/>
          <pc:sldMk cId="0" sldId="353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54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55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59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60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61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62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63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64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66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68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73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76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79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83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84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85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87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88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89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90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391"/>
        </pc:sldMkLst>
      </pc:sldChg>
      <pc:sldChg chg="del">
        <pc:chgData name="Hasan Senol Coskun" userId="88cd95f7b86daa2f" providerId="LiveId" clId="{0A1DC79D-782D-493E-B89A-90325507C91B}" dt="2020-11-11T18:35:35.911" v="76" actId="47"/>
        <pc:sldMkLst>
          <pc:docMk/>
          <pc:sldMk cId="0" sldId="402"/>
        </pc:sldMkLst>
      </pc:sldChg>
      <pc:sldChg chg="del">
        <pc:chgData name="Hasan Senol Coskun" userId="88cd95f7b86daa2f" providerId="LiveId" clId="{0A1DC79D-782D-493E-B89A-90325507C91B}" dt="2020-11-11T18:35:23.877" v="72" actId="47"/>
        <pc:sldMkLst>
          <pc:docMk/>
          <pc:sldMk cId="0" sldId="414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418"/>
        </pc:sldMkLst>
      </pc:sldChg>
      <pc:sldChg chg="del">
        <pc:chgData name="Hasan Senol Coskun" userId="88cd95f7b86daa2f" providerId="LiveId" clId="{0A1DC79D-782D-493E-B89A-90325507C91B}" dt="2020-11-13T16:27:27.139" v="207" actId="47"/>
        <pc:sldMkLst>
          <pc:docMk/>
          <pc:sldMk cId="0" sldId="419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421"/>
        </pc:sldMkLst>
      </pc:sldChg>
      <pc:sldChg chg="add del">
        <pc:chgData name="Hasan Senol Coskun" userId="88cd95f7b86daa2f" providerId="LiveId" clId="{0A1DC79D-782D-493E-B89A-90325507C91B}" dt="2020-11-13T17:42:15.595" v="292" actId="47"/>
        <pc:sldMkLst>
          <pc:docMk/>
          <pc:sldMk cId="4152325890" sldId="460"/>
        </pc:sldMkLst>
      </pc:sldChg>
      <pc:sldChg chg="add del">
        <pc:chgData name="Hasan Senol Coskun" userId="88cd95f7b86daa2f" providerId="LiveId" clId="{0A1DC79D-782D-493E-B89A-90325507C91B}" dt="2020-11-13T17:41:45.291" v="272" actId="47"/>
        <pc:sldMkLst>
          <pc:docMk/>
          <pc:sldMk cId="1931384626" sldId="535"/>
        </pc:sldMkLst>
      </pc:sldChg>
      <pc:sldChg chg="add del">
        <pc:chgData name="Hasan Senol Coskun" userId="88cd95f7b86daa2f" providerId="LiveId" clId="{0A1DC79D-782D-493E-B89A-90325507C91B}" dt="2020-11-13T17:41:49.499" v="279" actId="47"/>
        <pc:sldMkLst>
          <pc:docMk/>
          <pc:sldMk cId="3347131785" sldId="537"/>
        </pc:sldMkLst>
      </pc:sldChg>
      <pc:sldChg chg="add del">
        <pc:chgData name="Hasan Senol Coskun" userId="88cd95f7b86daa2f" providerId="LiveId" clId="{0A1DC79D-782D-493E-B89A-90325507C91B}" dt="2020-11-13T17:41:50.117" v="280" actId="47"/>
        <pc:sldMkLst>
          <pc:docMk/>
          <pc:sldMk cId="1354605317" sldId="540"/>
        </pc:sldMkLst>
      </pc:sldChg>
      <pc:sldChg chg="add del">
        <pc:chgData name="Hasan Senol Coskun" userId="88cd95f7b86daa2f" providerId="LiveId" clId="{0A1DC79D-782D-493E-B89A-90325507C91B}" dt="2020-11-13T17:41:50.564" v="281" actId="47"/>
        <pc:sldMkLst>
          <pc:docMk/>
          <pc:sldMk cId="2767581858" sldId="547"/>
        </pc:sldMkLst>
      </pc:sldChg>
      <pc:sldChg chg="modSp add del mod">
        <pc:chgData name="Hasan Senol Coskun" userId="88cd95f7b86daa2f" providerId="LiveId" clId="{0A1DC79D-782D-493E-B89A-90325507C91B}" dt="2020-11-13T17:41:54.690" v="288" actId="47"/>
        <pc:sldMkLst>
          <pc:docMk/>
          <pc:sldMk cId="369113105" sldId="550"/>
        </pc:sldMkLst>
        <pc:spChg chg="mod">
          <ac:chgData name="Hasan Senol Coskun" userId="88cd95f7b86daa2f" providerId="LiveId" clId="{0A1DC79D-782D-493E-B89A-90325507C91B}" dt="2020-11-10T20:30:45.606" v="50" actId="27636"/>
          <ac:spMkLst>
            <pc:docMk/>
            <pc:sldMk cId="369113105" sldId="550"/>
            <ac:spMk id="5" creationId="{00000000-0000-0000-0000-000000000000}"/>
          </ac:spMkLst>
        </pc:spChg>
      </pc:sldChg>
      <pc:sldChg chg="add del">
        <pc:chgData name="Hasan Senol Coskun" userId="88cd95f7b86daa2f" providerId="LiveId" clId="{0A1DC79D-782D-493E-B89A-90325507C91B}" dt="2020-11-13T17:42:18.500" v="298" actId="47"/>
        <pc:sldMkLst>
          <pc:docMk/>
          <pc:sldMk cId="1054690576" sldId="558"/>
        </pc:sldMkLst>
      </pc:sldChg>
      <pc:sldChg chg="modSp add mod ord">
        <pc:chgData name="Hasan Senol Coskun" userId="88cd95f7b86daa2f" providerId="LiveId" clId="{0A1DC79D-782D-493E-B89A-90325507C91B}" dt="2020-11-14T08:09:04.253" v="3595" actId="207"/>
        <pc:sldMkLst>
          <pc:docMk/>
          <pc:sldMk cId="3667866465" sldId="562"/>
        </pc:sldMkLst>
        <pc:spChg chg="mod">
          <ac:chgData name="Hasan Senol Coskun" userId="88cd95f7b86daa2f" providerId="LiveId" clId="{0A1DC79D-782D-493E-B89A-90325507C91B}" dt="2020-11-14T08:09:04.253" v="3595" actId="207"/>
          <ac:spMkLst>
            <pc:docMk/>
            <pc:sldMk cId="3667866465" sldId="562"/>
            <ac:spMk id="232451" creationId="{00000000-0000-0000-0000-000000000000}"/>
          </ac:spMkLst>
        </pc:spChg>
        <pc:picChg chg="mod">
          <ac:chgData name="Hasan Senol Coskun" userId="88cd95f7b86daa2f" providerId="LiveId" clId="{0A1DC79D-782D-493E-B89A-90325507C91B}" dt="2020-11-11T19:39:50.795" v="203" actId="1076"/>
          <ac:picMkLst>
            <pc:docMk/>
            <pc:sldMk cId="3667866465" sldId="562"/>
            <ac:picMk id="232450" creationId="{00000000-0000-0000-0000-000000000000}"/>
          </ac:picMkLst>
        </pc:picChg>
      </pc:sldChg>
      <pc:sldChg chg="add del">
        <pc:chgData name="Hasan Senol Coskun" userId="88cd95f7b86daa2f" providerId="LiveId" clId="{0A1DC79D-782D-493E-B89A-90325507C91B}" dt="2020-11-11T18:47:29.753" v="193" actId="47"/>
        <pc:sldMkLst>
          <pc:docMk/>
          <pc:sldMk cId="2296885087" sldId="576"/>
        </pc:sldMkLst>
      </pc:sldChg>
      <pc:sldChg chg="modSp mod">
        <pc:chgData name="Hasan Senol Coskun" userId="88cd95f7b86daa2f" providerId="LiveId" clId="{0A1DC79D-782D-493E-B89A-90325507C91B}" dt="2020-11-14T10:42:02.818" v="4511" actId="113"/>
        <pc:sldMkLst>
          <pc:docMk/>
          <pc:sldMk cId="0" sldId="578"/>
        </pc:sldMkLst>
        <pc:spChg chg="mod">
          <ac:chgData name="Hasan Senol Coskun" userId="88cd95f7b86daa2f" providerId="LiveId" clId="{0A1DC79D-782D-493E-B89A-90325507C91B}" dt="2020-11-14T10:42:02.818" v="4511" actId="113"/>
          <ac:spMkLst>
            <pc:docMk/>
            <pc:sldMk cId="0" sldId="578"/>
            <ac:spMk id="7" creationId="{04A11E34-B2F9-45A3-B411-E06316277380}"/>
          </ac:spMkLst>
        </pc:spChg>
        <pc:spChg chg="mod">
          <ac:chgData name="Hasan Senol Coskun" userId="88cd95f7b86daa2f" providerId="LiveId" clId="{0A1DC79D-782D-493E-B89A-90325507C91B}" dt="2020-11-14T09:04:28.699" v="4224" actId="404"/>
          <ac:spMkLst>
            <pc:docMk/>
            <pc:sldMk cId="0" sldId="578"/>
            <ac:spMk id="19460" creationId="{F76462BB-7742-4BF5-B40F-61F91605119D}"/>
          </ac:spMkLst>
        </pc:spChg>
        <pc:spChg chg="mod">
          <ac:chgData name="Hasan Senol Coskun" userId="88cd95f7b86daa2f" providerId="LiveId" clId="{0A1DC79D-782D-493E-B89A-90325507C91B}" dt="2020-11-14T09:04:35.632" v="4225" actId="14100"/>
          <ac:spMkLst>
            <pc:docMk/>
            <pc:sldMk cId="0" sldId="578"/>
            <ac:spMk id="19461" creationId="{3925A0DE-982F-4D1D-89B7-F169178F54AD}"/>
          </ac:spMkLst>
        </pc:spChg>
        <pc:picChg chg="mod">
          <ac:chgData name="Hasan Senol Coskun" userId="88cd95f7b86daa2f" providerId="LiveId" clId="{0A1DC79D-782D-493E-B89A-90325507C91B}" dt="2020-11-14T09:04:38.129" v="4226" actId="14100"/>
          <ac:picMkLst>
            <pc:docMk/>
            <pc:sldMk cId="0" sldId="578"/>
            <ac:picMk id="19462" creationId="{CF21D3A2-8B94-4EEF-8779-C454D2F74320}"/>
          </ac:picMkLst>
        </pc:picChg>
      </pc:sldChg>
      <pc:sldChg chg="add del">
        <pc:chgData name="Hasan Senol Coskun" userId="88cd95f7b86daa2f" providerId="LiveId" clId="{0A1DC79D-782D-493E-B89A-90325507C91B}" dt="2020-11-13T17:42:19.466" v="300" actId="47"/>
        <pc:sldMkLst>
          <pc:docMk/>
          <pc:sldMk cId="1367261831" sldId="596"/>
        </pc:sldMkLst>
      </pc:sldChg>
      <pc:sldChg chg="add del">
        <pc:chgData name="Hasan Senol Coskun" userId="88cd95f7b86daa2f" providerId="LiveId" clId="{0A1DC79D-782D-493E-B89A-90325507C91B}" dt="2020-11-13T17:42:19.798" v="301" actId="47"/>
        <pc:sldMkLst>
          <pc:docMk/>
          <pc:sldMk cId="2292023794" sldId="597"/>
        </pc:sldMkLst>
      </pc:sldChg>
      <pc:sldChg chg="add del">
        <pc:chgData name="Hasan Senol Coskun" userId="88cd95f7b86daa2f" providerId="LiveId" clId="{0A1DC79D-782D-493E-B89A-90325507C91B}" dt="2020-11-11T18:47:27.418" v="192" actId="47"/>
        <pc:sldMkLst>
          <pc:docMk/>
          <pc:sldMk cId="1025696295" sldId="666"/>
        </pc:sldMkLst>
      </pc:sldChg>
      <pc:sldChg chg="addSp delSp modSp add del mod modClrScheme chgLayout">
        <pc:chgData name="Hasan Senol Coskun" userId="88cd95f7b86daa2f" providerId="LiveId" clId="{0A1DC79D-782D-493E-B89A-90325507C91B}" dt="2020-11-13T20:27:45.316" v="1791" actId="20577"/>
        <pc:sldMkLst>
          <pc:docMk/>
          <pc:sldMk cId="3540774399" sldId="676"/>
        </pc:sldMkLst>
        <pc:spChg chg="add mod">
          <ac:chgData name="Hasan Senol Coskun" userId="88cd95f7b86daa2f" providerId="LiveId" clId="{0A1DC79D-782D-493E-B89A-90325507C91B}" dt="2020-11-13T20:27:45.316" v="1791" actId="20577"/>
          <ac:spMkLst>
            <pc:docMk/>
            <pc:sldMk cId="3540774399" sldId="676"/>
            <ac:spMk id="4" creationId="{1EAE28D0-FBAC-4DC9-A90D-FF3AA0A688F9}"/>
          </ac:spMkLst>
        </pc:spChg>
        <pc:spChg chg="del mod ord">
          <ac:chgData name="Hasan Senol Coskun" userId="88cd95f7b86daa2f" providerId="LiveId" clId="{0A1DC79D-782D-493E-B89A-90325507C91B}" dt="2020-11-13T20:27:31.110" v="1775" actId="478"/>
          <ac:spMkLst>
            <pc:docMk/>
            <pc:sldMk cId="3540774399" sldId="676"/>
            <ac:spMk id="100354" creationId="{00000000-0000-0000-0000-000000000000}"/>
          </ac:spMkLst>
        </pc:spChg>
      </pc:sldChg>
      <pc:sldChg chg="addSp delSp modSp add del mod modClrScheme chgLayout">
        <pc:chgData name="Hasan Senol Coskun" userId="88cd95f7b86daa2f" providerId="LiveId" clId="{0A1DC79D-782D-493E-B89A-90325507C91B}" dt="2020-11-14T10:41:42.217" v="4509" actId="1037"/>
        <pc:sldMkLst>
          <pc:docMk/>
          <pc:sldMk cId="2728555748" sldId="677"/>
        </pc:sldMkLst>
        <pc:spChg chg="del mod ord">
          <ac:chgData name="Hasan Senol Coskun" userId="88cd95f7b86daa2f" providerId="LiveId" clId="{0A1DC79D-782D-493E-B89A-90325507C91B}" dt="2020-11-13T17:48:09.118" v="413" actId="478"/>
          <ac:spMkLst>
            <pc:docMk/>
            <pc:sldMk cId="2728555748" sldId="677"/>
            <ac:spMk id="2" creationId="{00000000-0000-0000-0000-000000000000}"/>
          </ac:spMkLst>
        </pc:spChg>
        <pc:spChg chg="del">
          <ac:chgData name="Hasan Senol Coskun" userId="88cd95f7b86daa2f" providerId="LiveId" clId="{0A1DC79D-782D-493E-B89A-90325507C91B}" dt="2020-11-13T17:47:21.589" v="407" actId="478"/>
          <ac:spMkLst>
            <pc:docMk/>
            <pc:sldMk cId="2728555748" sldId="677"/>
            <ac:spMk id="3" creationId="{4B0F536B-CD5E-49A8-8C73-4E70DC9E1067}"/>
          </ac:spMkLst>
        </pc:spChg>
        <pc:spChg chg="add mod">
          <ac:chgData name="Hasan Senol Coskun" userId="88cd95f7b86daa2f" providerId="LiveId" clId="{0A1DC79D-782D-493E-B89A-90325507C91B}" dt="2020-11-13T17:47:14.354" v="406" actId="20577"/>
          <ac:spMkLst>
            <pc:docMk/>
            <pc:sldMk cId="2728555748" sldId="677"/>
            <ac:spMk id="4" creationId="{A6922EF5-6392-48CD-88A1-59D15E350465}"/>
          </ac:spMkLst>
        </pc:spChg>
        <pc:spChg chg="mod">
          <ac:chgData name="Hasan Senol Coskun" userId="88cd95f7b86daa2f" providerId="LiveId" clId="{0A1DC79D-782D-493E-B89A-90325507C91B}" dt="2020-11-14T10:40:38.862" v="4500" actId="113"/>
          <ac:spMkLst>
            <pc:docMk/>
            <pc:sldMk cId="2728555748" sldId="677"/>
            <ac:spMk id="47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4T10:40:38.862" v="4500" actId="113"/>
          <ac:spMkLst>
            <pc:docMk/>
            <pc:sldMk cId="2728555748" sldId="677"/>
            <ac:spMk id="56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4T10:40:38.862" v="4500" actId="113"/>
          <ac:spMkLst>
            <pc:docMk/>
            <pc:sldMk cId="2728555748" sldId="677"/>
            <ac:spMk id="58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4T10:40:38.862" v="4500" actId="113"/>
          <ac:spMkLst>
            <pc:docMk/>
            <pc:sldMk cId="2728555748" sldId="677"/>
            <ac:spMk id="65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4T10:40:38.862" v="4500" actId="113"/>
          <ac:spMkLst>
            <pc:docMk/>
            <pc:sldMk cId="2728555748" sldId="677"/>
            <ac:spMk id="67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4T10:40:38.862" v="4500" actId="113"/>
          <ac:spMkLst>
            <pc:docMk/>
            <pc:sldMk cId="2728555748" sldId="677"/>
            <ac:spMk id="68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4T10:40:38.862" v="4500" actId="113"/>
          <ac:spMkLst>
            <pc:docMk/>
            <pc:sldMk cId="2728555748" sldId="677"/>
            <ac:spMk id="71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4T10:40:38.862" v="4500" actId="113"/>
          <ac:spMkLst>
            <pc:docMk/>
            <pc:sldMk cId="2728555748" sldId="677"/>
            <ac:spMk id="90" creationId="{00000000-0000-0000-0000-000000000000}"/>
          </ac:spMkLst>
        </pc:spChg>
        <pc:spChg chg="del mod ord">
          <ac:chgData name="Hasan Senol Coskun" userId="88cd95f7b86daa2f" providerId="LiveId" clId="{0A1DC79D-782D-493E-B89A-90325507C91B}" dt="2020-11-13T17:45:47.811" v="385" actId="478"/>
          <ac:spMkLst>
            <pc:docMk/>
            <pc:sldMk cId="2728555748" sldId="677"/>
            <ac:spMk id="70658" creationId="{00000000-0000-0000-0000-000000000000}"/>
          </ac:spMkLst>
        </pc:spChg>
        <pc:cxnChg chg="mod">
          <ac:chgData name="Hasan Senol Coskun" userId="88cd95f7b86daa2f" providerId="LiveId" clId="{0A1DC79D-782D-493E-B89A-90325507C91B}" dt="2020-11-14T10:41:42.217" v="4509" actId="1037"/>
          <ac:cxnSpMkLst>
            <pc:docMk/>
            <pc:sldMk cId="2728555748" sldId="677"/>
            <ac:cxnSpMk id="54" creationId="{00000000-0000-0000-0000-000000000000}"/>
          </ac:cxnSpMkLst>
        </pc:cxnChg>
        <pc:cxnChg chg="mod">
          <ac:chgData name="Hasan Senol Coskun" userId="88cd95f7b86daa2f" providerId="LiveId" clId="{0A1DC79D-782D-493E-B89A-90325507C91B}" dt="2020-11-14T10:41:08.926" v="4503" actId="14100"/>
          <ac:cxnSpMkLst>
            <pc:docMk/>
            <pc:sldMk cId="2728555748" sldId="677"/>
            <ac:cxnSpMk id="57" creationId="{00000000-0000-0000-0000-000000000000}"/>
          </ac:cxnSpMkLst>
        </pc:cxnChg>
        <pc:cxnChg chg="mod">
          <ac:chgData name="Hasan Senol Coskun" userId="88cd95f7b86daa2f" providerId="LiveId" clId="{0A1DC79D-782D-493E-B89A-90325507C91B}" dt="2020-11-13T17:47:02.399" v="405" actId="692"/>
          <ac:cxnSpMkLst>
            <pc:docMk/>
            <pc:sldMk cId="2728555748" sldId="677"/>
            <ac:cxnSpMk id="61" creationId="{00000000-0000-0000-0000-000000000000}"/>
          </ac:cxnSpMkLst>
        </pc:cxnChg>
        <pc:cxnChg chg="mod">
          <ac:chgData name="Hasan Senol Coskun" userId="88cd95f7b86daa2f" providerId="LiveId" clId="{0A1DC79D-782D-493E-B89A-90325507C91B}" dt="2020-11-14T10:41:33.574" v="4508" actId="14100"/>
          <ac:cxnSpMkLst>
            <pc:docMk/>
            <pc:sldMk cId="2728555748" sldId="677"/>
            <ac:cxnSpMk id="66" creationId="{00000000-0000-0000-0000-000000000000}"/>
          </ac:cxnSpMkLst>
        </pc:cxnChg>
        <pc:cxnChg chg="mod">
          <ac:chgData name="Hasan Senol Coskun" userId="88cd95f7b86daa2f" providerId="LiveId" clId="{0A1DC79D-782D-493E-B89A-90325507C91B}" dt="2020-11-14T10:41:27.146" v="4507" actId="14100"/>
          <ac:cxnSpMkLst>
            <pc:docMk/>
            <pc:sldMk cId="2728555748" sldId="677"/>
            <ac:cxnSpMk id="70" creationId="{00000000-0000-0000-0000-000000000000}"/>
          </ac:cxnSpMkLst>
        </pc:cxnChg>
        <pc:cxnChg chg="mod">
          <ac:chgData name="Hasan Senol Coskun" userId="88cd95f7b86daa2f" providerId="LiveId" clId="{0A1DC79D-782D-493E-B89A-90325507C91B}" dt="2020-11-14T10:41:23.126" v="4506" actId="14100"/>
          <ac:cxnSpMkLst>
            <pc:docMk/>
            <pc:sldMk cId="2728555748" sldId="677"/>
            <ac:cxnSpMk id="75" creationId="{00000000-0000-0000-0000-000000000000}"/>
          </ac:cxnSpMkLst>
        </pc:cxnChg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2163491325" sldId="678"/>
        </pc:sldMkLst>
      </pc:sldChg>
      <pc:sldChg chg="addSp delSp modSp add del mod ord">
        <pc:chgData name="Hasan Senol Coskun" userId="88cd95f7b86daa2f" providerId="LiveId" clId="{0A1DC79D-782D-493E-B89A-90325507C91B}" dt="2020-11-13T22:01:51.282" v="3128"/>
        <pc:sldMkLst>
          <pc:docMk/>
          <pc:sldMk cId="2967221028" sldId="681"/>
        </pc:sldMkLst>
        <pc:spChg chg="del mod">
          <ac:chgData name="Hasan Senol Coskun" userId="88cd95f7b86daa2f" providerId="LiveId" clId="{0A1DC79D-782D-493E-B89A-90325507C91B}" dt="2020-11-13T21:58:11.534" v="3065" actId="478"/>
          <ac:spMkLst>
            <pc:docMk/>
            <pc:sldMk cId="2967221028" sldId="681"/>
            <ac:spMk id="2" creationId="{00000000-0000-0000-0000-000000000000}"/>
          </ac:spMkLst>
        </pc:spChg>
        <pc:spChg chg="add del mod">
          <ac:chgData name="Hasan Senol Coskun" userId="88cd95f7b86daa2f" providerId="LiveId" clId="{0A1DC79D-782D-493E-B89A-90325507C91B}" dt="2020-11-13T22:00:17.001" v="3115" actId="12084"/>
          <ac:spMkLst>
            <pc:docMk/>
            <pc:sldMk cId="2967221028" sldId="681"/>
            <ac:spMk id="4" creationId="{00000000-0000-0000-0000-000000000000}"/>
          </ac:spMkLst>
        </pc:spChg>
        <pc:spChg chg="add mod">
          <ac:chgData name="Hasan Senol Coskun" userId="88cd95f7b86daa2f" providerId="LiveId" clId="{0A1DC79D-782D-493E-B89A-90325507C91B}" dt="2020-11-13T22:01:39.781" v="3126" actId="14100"/>
          <ac:spMkLst>
            <pc:docMk/>
            <pc:sldMk cId="2967221028" sldId="681"/>
            <ac:spMk id="8" creationId="{A9C9EE5C-939D-46E7-841C-C8992211D422}"/>
          </ac:spMkLst>
        </pc:spChg>
        <pc:graphicFrameChg chg="add del mod">
          <ac:chgData name="Hasan Senol Coskun" userId="88cd95f7b86daa2f" providerId="LiveId" clId="{0A1DC79D-782D-493E-B89A-90325507C91B}" dt="2020-11-13T21:59:20.704" v="3095" actId="12084"/>
          <ac:graphicFrameMkLst>
            <pc:docMk/>
            <pc:sldMk cId="2967221028" sldId="681"/>
            <ac:graphicFrameMk id="9" creationId="{49B06EDB-E710-4FE9-845F-013C9892A8BE}"/>
          </ac:graphicFrameMkLst>
        </pc:graphicFrameChg>
        <pc:graphicFrameChg chg="add del mod">
          <ac:chgData name="Hasan Senol Coskun" userId="88cd95f7b86daa2f" providerId="LiveId" clId="{0A1DC79D-782D-493E-B89A-90325507C91B}" dt="2020-11-13T21:59:32.075" v="3097" actId="12084"/>
          <ac:graphicFrameMkLst>
            <pc:docMk/>
            <pc:sldMk cId="2967221028" sldId="681"/>
            <ac:graphicFrameMk id="10" creationId="{68AC6DA8-B07E-4F11-A0E5-F34C19F6A859}"/>
          </ac:graphicFrameMkLst>
        </pc:graphicFrameChg>
        <pc:graphicFrameChg chg="add del mod">
          <ac:chgData name="Hasan Senol Coskun" userId="88cd95f7b86daa2f" providerId="LiveId" clId="{0A1DC79D-782D-493E-B89A-90325507C91B}" dt="2020-11-13T22:00:02.125" v="3111" actId="12084"/>
          <ac:graphicFrameMkLst>
            <pc:docMk/>
            <pc:sldMk cId="2967221028" sldId="681"/>
            <ac:graphicFrameMk id="11" creationId="{5420E9A1-6F6C-4794-B89D-C69F1CD41A23}"/>
          </ac:graphicFrameMkLst>
        </pc:graphicFrameChg>
        <pc:graphicFrameChg chg="add mod">
          <ac:chgData name="Hasan Senol Coskun" userId="88cd95f7b86daa2f" providerId="LiveId" clId="{0A1DC79D-782D-493E-B89A-90325507C91B}" dt="2020-11-13T22:01:35.957" v="3125" actId="207"/>
          <ac:graphicFrameMkLst>
            <pc:docMk/>
            <pc:sldMk cId="2967221028" sldId="681"/>
            <ac:graphicFrameMk id="12" creationId="{6C691EF1-63C2-4429-827C-440EEA2AA4A0}"/>
          </ac:graphicFrameMkLst>
        </pc:graphicFrameChg>
        <pc:picChg chg="add del mod">
          <ac:chgData name="Hasan Senol Coskun" userId="88cd95f7b86daa2f" providerId="LiveId" clId="{0A1DC79D-782D-493E-B89A-90325507C91B}" dt="2020-11-13T21:57:52.476" v="3059" actId="22"/>
          <ac:picMkLst>
            <pc:docMk/>
            <pc:sldMk cId="2967221028" sldId="681"/>
            <ac:picMk id="6" creationId="{DA9D53B4-3D7E-484C-AE32-72A034C5B64C}"/>
          </ac:picMkLst>
        </pc:picChg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189383901" sldId="683"/>
        </pc:sldMkLst>
        <pc:spChg chg="mod">
          <ac:chgData name="Hasan Senol Coskun" userId="88cd95f7b86daa2f" providerId="LiveId" clId="{0A1DC79D-782D-493E-B89A-90325507C91B}" dt="2020-11-10T20:28:09.757" v="29" actId="27636"/>
          <ac:spMkLst>
            <pc:docMk/>
            <pc:sldMk cId="189383901" sldId="683"/>
            <ac:spMk id="4" creationId="{00000000-0000-0000-0000-000000000000}"/>
          </ac:spMkLst>
        </pc:spChg>
      </pc:sldChg>
      <pc:sldChg chg="addSp delSp modSp add del mod ord">
        <pc:chgData name="Hasan Senol Coskun" userId="88cd95f7b86daa2f" providerId="LiveId" clId="{0A1DC79D-782D-493E-B89A-90325507C91B}" dt="2020-11-14T08:18:46.897" v="3615" actId="207"/>
        <pc:sldMkLst>
          <pc:docMk/>
          <pc:sldMk cId="3506772140" sldId="684"/>
        </pc:sldMkLst>
        <pc:spChg chg="del mod">
          <ac:chgData name="Hasan Senol Coskun" userId="88cd95f7b86daa2f" providerId="LiveId" clId="{0A1DC79D-782D-493E-B89A-90325507C91B}" dt="2020-11-13T21:57:11.987" v="3051" actId="478"/>
          <ac:spMkLst>
            <pc:docMk/>
            <pc:sldMk cId="3506772140" sldId="684"/>
            <ac:spMk id="2" creationId="{00000000-0000-0000-0000-000000000000}"/>
          </ac:spMkLst>
        </pc:spChg>
        <pc:spChg chg="add mod">
          <ac:chgData name="Hasan Senol Coskun" userId="88cd95f7b86daa2f" providerId="LiveId" clId="{0A1DC79D-782D-493E-B89A-90325507C91B}" dt="2020-11-13T21:57:26.960" v="3054" actId="207"/>
          <ac:spMkLst>
            <pc:docMk/>
            <pc:sldMk cId="3506772140" sldId="684"/>
            <ac:spMk id="8" creationId="{8441BCE6-5262-4312-9931-FEE277916E2B}"/>
          </ac:spMkLst>
        </pc:spChg>
        <pc:graphicFrameChg chg="modGraphic">
          <ac:chgData name="Hasan Senol Coskun" userId="88cd95f7b86daa2f" providerId="LiveId" clId="{0A1DC79D-782D-493E-B89A-90325507C91B}" dt="2020-11-14T08:18:46.897" v="3615" actId="207"/>
          <ac:graphicFrameMkLst>
            <pc:docMk/>
            <pc:sldMk cId="3506772140" sldId="684"/>
            <ac:graphicFrameMk id="6" creationId="{00000000-0000-0000-0000-000000000000}"/>
          </ac:graphicFrameMkLst>
        </pc:graphicFrameChg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3653200725" sldId="686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677659869" sldId="687"/>
        </pc:sldMkLst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1209889433" sldId="688"/>
        </pc:sldMkLst>
        <pc:spChg chg="mod">
          <ac:chgData name="Hasan Senol Coskun" userId="88cd95f7b86daa2f" providerId="LiveId" clId="{0A1DC79D-782D-493E-B89A-90325507C91B}" dt="2020-11-10T20:28:09.690" v="26" actId="27636"/>
          <ac:spMkLst>
            <pc:docMk/>
            <pc:sldMk cId="1209889433" sldId="688"/>
            <ac:spMk id="70658" creationId="{00000000-0000-0000-0000-000000000000}"/>
          </ac:spMkLst>
        </pc:spChg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3409061655" sldId="689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1055226974" sldId="690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1550083397" sldId="692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627698830" sldId="694"/>
        </pc:sldMkLst>
      </pc:sldChg>
      <pc:sldChg chg="addSp delSp modSp add del mod ord modClrScheme chgLayout">
        <pc:chgData name="Hasan Senol Coskun" userId="88cd95f7b86daa2f" providerId="LiveId" clId="{0A1DC79D-782D-493E-B89A-90325507C91B}" dt="2020-11-13T20:18:16.886" v="1664"/>
        <pc:sldMkLst>
          <pc:docMk/>
          <pc:sldMk cId="2902712300" sldId="696"/>
        </pc:sldMkLst>
        <pc:spChg chg="mod ord">
          <ac:chgData name="Hasan Senol Coskun" userId="88cd95f7b86daa2f" providerId="LiveId" clId="{0A1DC79D-782D-493E-B89A-90325507C91B}" dt="2020-11-13T20:13:00.170" v="1656" actId="207"/>
          <ac:spMkLst>
            <pc:docMk/>
            <pc:sldMk cId="2902712300" sldId="696"/>
            <ac:spMk id="2" creationId="{00000000-0000-0000-0000-000000000000}"/>
          </ac:spMkLst>
        </pc:spChg>
        <pc:spChg chg="mod ord">
          <ac:chgData name="Hasan Senol Coskun" userId="88cd95f7b86daa2f" providerId="LiveId" clId="{0A1DC79D-782D-493E-B89A-90325507C91B}" dt="2020-11-13T20:11:34.676" v="1642" actId="404"/>
          <ac:spMkLst>
            <pc:docMk/>
            <pc:sldMk cId="2902712300" sldId="696"/>
            <ac:spMk id="3" creationId="{00000000-0000-0000-0000-000000000000}"/>
          </ac:spMkLst>
        </pc:spChg>
        <pc:spChg chg="del mod ord">
          <ac:chgData name="Hasan Senol Coskun" userId="88cd95f7b86daa2f" providerId="LiveId" clId="{0A1DC79D-782D-493E-B89A-90325507C91B}" dt="2020-11-13T20:11:51.909" v="1644" actId="12084"/>
          <ac:spMkLst>
            <pc:docMk/>
            <pc:sldMk cId="2902712300" sldId="696"/>
            <ac:spMk id="4" creationId="{00000000-0000-0000-0000-000000000000}"/>
          </ac:spMkLst>
        </pc:spChg>
        <pc:spChg chg="del">
          <ac:chgData name="Hasan Senol Coskun" userId="88cd95f7b86daa2f" providerId="LiveId" clId="{0A1DC79D-782D-493E-B89A-90325507C91B}" dt="2020-11-13T20:11:19.836" v="1635" actId="478"/>
          <ac:spMkLst>
            <pc:docMk/>
            <pc:sldMk cId="2902712300" sldId="696"/>
            <ac:spMk id="6" creationId="{00000000-0000-0000-0000-000000000000}"/>
          </ac:spMkLst>
        </pc:spChg>
        <pc:spChg chg="del mod ord">
          <ac:chgData name="Hasan Senol Coskun" userId="88cd95f7b86daa2f" providerId="LiveId" clId="{0A1DC79D-782D-493E-B89A-90325507C91B}" dt="2020-11-13T20:17:26.731" v="1662" actId="478"/>
          <ac:spMkLst>
            <pc:docMk/>
            <pc:sldMk cId="2902712300" sldId="696"/>
            <ac:spMk id="8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10:50.645" v="1629" actId="164"/>
          <ac:spMkLst>
            <pc:docMk/>
            <pc:sldMk cId="2902712300" sldId="696"/>
            <ac:spMk id="10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10:50.645" v="1629" actId="164"/>
          <ac:spMkLst>
            <pc:docMk/>
            <pc:sldMk cId="2902712300" sldId="696"/>
            <ac:spMk id="11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10:50.645" v="1629" actId="164"/>
          <ac:spMkLst>
            <pc:docMk/>
            <pc:sldMk cId="2902712300" sldId="696"/>
            <ac:spMk id="12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10:50.645" v="1629" actId="164"/>
          <ac:spMkLst>
            <pc:docMk/>
            <pc:sldMk cId="2902712300" sldId="696"/>
            <ac:spMk id="13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10:50.645" v="1629" actId="164"/>
          <ac:spMkLst>
            <pc:docMk/>
            <pc:sldMk cId="2902712300" sldId="696"/>
            <ac:spMk id="14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10:50.645" v="1629" actId="164"/>
          <ac:spMkLst>
            <pc:docMk/>
            <pc:sldMk cId="2902712300" sldId="696"/>
            <ac:spMk id="28" creationId="{00000000-0000-0000-0000-000000000000}"/>
          </ac:spMkLst>
        </pc:spChg>
        <pc:grpChg chg="add del mod">
          <ac:chgData name="Hasan Senol Coskun" userId="88cd95f7b86daa2f" providerId="LiveId" clId="{0A1DC79D-782D-493E-B89A-90325507C91B}" dt="2020-11-13T20:11:11.810" v="1633" actId="478"/>
          <ac:grpSpMkLst>
            <pc:docMk/>
            <pc:sldMk cId="2902712300" sldId="696"/>
            <ac:grpSpMk id="5" creationId="{6086A32A-F950-4B52-AB58-C5FB70C713AA}"/>
          </ac:grpSpMkLst>
        </pc:grpChg>
        <pc:graphicFrameChg chg="add mod">
          <ac:chgData name="Hasan Senol Coskun" userId="88cd95f7b86daa2f" providerId="LiveId" clId="{0A1DC79D-782D-493E-B89A-90325507C91B}" dt="2020-11-13T20:12:43.342" v="1654" actId="1076"/>
          <ac:graphicFrameMkLst>
            <pc:docMk/>
            <pc:sldMk cId="2902712300" sldId="696"/>
            <ac:graphicFrameMk id="18" creationId="{0B74B888-4C18-4063-A226-5A02701051FA}"/>
          </ac:graphicFrameMkLst>
        </pc:graphicFrameChg>
        <pc:graphicFrameChg chg="add del modGraphic">
          <ac:chgData name="Hasan Senol Coskun" userId="88cd95f7b86daa2f" providerId="LiveId" clId="{0A1DC79D-782D-493E-B89A-90325507C91B}" dt="2020-11-13T20:17:19.875" v="1661" actId="478"/>
          <ac:graphicFrameMkLst>
            <pc:docMk/>
            <pc:sldMk cId="2902712300" sldId="696"/>
            <ac:graphicFrameMk id="19" creationId="{91F49CB9-19A4-424F-8D52-6301A4FD0ACE}"/>
          </ac:graphicFrameMkLst>
        </pc:graphicFrameChg>
        <pc:picChg chg="add mod">
          <ac:chgData name="Hasan Senol Coskun" userId="88cd95f7b86daa2f" providerId="LiveId" clId="{0A1DC79D-782D-493E-B89A-90325507C91B}" dt="2020-11-13T20:13:04.384" v="1659" actId="1036"/>
          <ac:picMkLst>
            <pc:docMk/>
            <pc:sldMk cId="2902712300" sldId="696"/>
            <ac:picMk id="9" creationId="{FB09A2B6-FBF6-493E-8035-CF17C3A3435C}"/>
          </ac:picMkLst>
        </pc:picChg>
        <pc:cxnChg chg="mod">
          <ac:chgData name="Hasan Senol Coskun" userId="88cd95f7b86daa2f" providerId="LiveId" clId="{0A1DC79D-782D-493E-B89A-90325507C91B}" dt="2020-11-13T20:11:11.810" v="1633" actId="478"/>
          <ac:cxnSpMkLst>
            <pc:docMk/>
            <pc:sldMk cId="2902712300" sldId="696"/>
            <ac:cxnSpMk id="15" creationId="{00000000-0000-0000-0000-000000000000}"/>
          </ac:cxnSpMkLst>
        </pc:cxnChg>
        <pc:cxnChg chg="mod">
          <ac:chgData name="Hasan Senol Coskun" userId="88cd95f7b86daa2f" providerId="LiveId" clId="{0A1DC79D-782D-493E-B89A-90325507C91B}" dt="2020-11-13T20:11:11.810" v="1633" actId="478"/>
          <ac:cxnSpMkLst>
            <pc:docMk/>
            <pc:sldMk cId="2902712300" sldId="696"/>
            <ac:cxnSpMk id="16" creationId="{00000000-0000-0000-0000-000000000000}"/>
          </ac:cxnSpMkLst>
        </pc:cxnChg>
        <pc:cxnChg chg="mod">
          <ac:chgData name="Hasan Senol Coskun" userId="88cd95f7b86daa2f" providerId="LiveId" clId="{0A1DC79D-782D-493E-B89A-90325507C91B}" dt="2020-11-13T20:11:11.810" v="1633" actId="478"/>
          <ac:cxnSpMkLst>
            <pc:docMk/>
            <pc:sldMk cId="2902712300" sldId="696"/>
            <ac:cxnSpMk id="17" creationId="{00000000-0000-0000-0000-000000000000}"/>
          </ac:cxnSpMkLst>
        </pc:cxnChg>
        <pc:cxnChg chg="mod">
          <ac:chgData name="Hasan Senol Coskun" userId="88cd95f7b86daa2f" providerId="LiveId" clId="{0A1DC79D-782D-493E-B89A-90325507C91B}" dt="2020-11-13T20:11:11.810" v="1633" actId="478"/>
          <ac:cxnSpMkLst>
            <pc:docMk/>
            <pc:sldMk cId="2902712300" sldId="696"/>
            <ac:cxnSpMk id="29" creationId="{00000000-0000-0000-0000-000000000000}"/>
          </ac:cxnSpMkLst>
        </pc:cxnChg>
        <pc:cxnChg chg="mod">
          <ac:chgData name="Hasan Senol Coskun" userId="88cd95f7b86daa2f" providerId="LiveId" clId="{0A1DC79D-782D-493E-B89A-90325507C91B}" dt="2020-11-13T20:11:11.810" v="1633" actId="478"/>
          <ac:cxnSpMkLst>
            <pc:docMk/>
            <pc:sldMk cId="2902712300" sldId="696"/>
            <ac:cxnSpMk id="31" creationId="{00000000-0000-0000-0000-000000000000}"/>
          </ac:cxnSpMkLst>
        </pc:cxnChg>
      </pc:sldChg>
      <pc:sldChg chg="addSp delSp modSp add del mod modClrScheme chgLayout modNotesTx">
        <pc:chgData name="Hasan Senol Coskun" userId="88cd95f7b86daa2f" providerId="LiveId" clId="{0A1DC79D-782D-493E-B89A-90325507C91B}" dt="2020-11-13T20:24:24.795" v="1715" actId="164"/>
        <pc:sldMkLst>
          <pc:docMk/>
          <pc:sldMk cId="1028164312" sldId="697"/>
        </pc:sldMkLst>
        <pc:spChg chg="add mod ord">
          <ac:chgData name="Hasan Senol Coskun" userId="88cd95f7b86daa2f" providerId="LiveId" clId="{0A1DC79D-782D-493E-B89A-90325507C91B}" dt="2020-11-13T20:24:12.058" v="1714" actId="1076"/>
          <ac:spMkLst>
            <pc:docMk/>
            <pc:sldMk cId="1028164312" sldId="697"/>
            <ac:spMk id="2" creationId="{E2C5261B-93AC-4D23-B685-75128FC1C798}"/>
          </ac:spMkLst>
        </pc:spChg>
        <pc:spChg chg="add del">
          <ac:chgData name="Hasan Senol Coskun" userId="88cd95f7b86daa2f" providerId="LiveId" clId="{0A1DC79D-782D-493E-B89A-90325507C91B}" dt="2020-11-13T20:22:33.478" v="1698" actId="478"/>
          <ac:spMkLst>
            <pc:docMk/>
            <pc:sldMk cId="1028164312" sldId="697"/>
            <ac:spMk id="5" creationId="{00000000-0000-0000-0000-000000000000}"/>
          </ac:spMkLst>
        </pc:spChg>
        <pc:spChg chg="del">
          <ac:chgData name="Hasan Senol Coskun" userId="88cd95f7b86daa2f" providerId="LiveId" clId="{0A1DC79D-782D-493E-B89A-90325507C91B}" dt="2020-11-13T20:19:42.926" v="1688" actId="478"/>
          <ac:spMkLst>
            <pc:docMk/>
            <pc:sldMk cId="1028164312" sldId="697"/>
            <ac:spMk id="8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19:38.946" v="1687" actId="1076"/>
          <ac:spMkLst>
            <pc:docMk/>
            <pc:sldMk cId="1028164312" sldId="697"/>
            <ac:spMk id="9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29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30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31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32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33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34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38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39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40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41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42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43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44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45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46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47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48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49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50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51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52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53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54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55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56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57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58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59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60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61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62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63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64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65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66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67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68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69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70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24:24.795" v="1715" actId="164"/>
          <ac:spMkLst>
            <pc:docMk/>
            <pc:sldMk cId="1028164312" sldId="697"/>
            <ac:spMk id="71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24:00.340" v="1713" actId="164"/>
          <ac:spMkLst>
            <pc:docMk/>
            <pc:sldMk cId="1028164312" sldId="697"/>
            <ac:spMk id="74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24:00.340" v="1713" actId="164"/>
          <ac:spMkLst>
            <pc:docMk/>
            <pc:sldMk cId="1028164312" sldId="697"/>
            <ac:spMk id="75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24:00.340" v="1713" actId="164"/>
          <ac:spMkLst>
            <pc:docMk/>
            <pc:sldMk cId="1028164312" sldId="697"/>
            <ac:spMk id="76" creationId="{00000000-0000-0000-0000-000000000000}"/>
          </ac:spMkLst>
        </pc:spChg>
        <pc:spChg chg="add del mod">
          <ac:chgData name="Hasan Senol Coskun" userId="88cd95f7b86daa2f" providerId="LiveId" clId="{0A1DC79D-782D-493E-B89A-90325507C91B}" dt="2020-11-13T20:21:58.427" v="1692"/>
          <ac:spMkLst>
            <pc:docMk/>
            <pc:sldMk cId="1028164312" sldId="697"/>
            <ac:spMk id="77" creationId="{210DB8AA-447B-4E7F-9B1A-A028C8B6BA21}"/>
          </ac:spMkLst>
        </pc:spChg>
        <pc:spChg chg="del">
          <ac:chgData name="Hasan Senol Coskun" userId="88cd95f7b86daa2f" providerId="LiveId" clId="{0A1DC79D-782D-493E-B89A-90325507C91B}" dt="2020-11-13T18:30:15.505" v="1053" actId="478"/>
          <ac:spMkLst>
            <pc:docMk/>
            <pc:sldMk cId="1028164312" sldId="697"/>
            <ac:spMk id="84" creationId="{00000000-0000-0000-0000-000000000000}"/>
          </ac:spMkLst>
        </pc:spChg>
        <pc:grpChg chg="add mod">
          <ac:chgData name="Hasan Senol Coskun" userId="88cd95f7b86daa2f" providerId="LiveId" clId="{0A1DC79D-782D-493E-B89A-90325507C91B}" dt="2020-11-13T20:24:00.340" v="1713" actId="164"/>
          <ac:grpSpMkLst>
            <pc:docMk/>
            <pc:sldMk cId="1028164312" sldId="697"/>
            <ac:grpSpMk id="3" creationId="{ECF8952E-6BB6-4269-BFA4-26481F8F20F5}"/>
          </ac:grpSpMkLst>
        </pc:grpChg>
        <pc:grpChg chg="add mod">
          <ac:chgData name="Hasan Senol Coskun" userId="88cd95f7b86daa2f" providerId="LiveId" clId="{0A1DC79D-782D-493E-B89A-90325507C91B}" dt="2020-11-13T20:24:24.795" v="1715" actId="164"/>
          <ac:grpSpMkLst>
            <pc:docMk/>
            <pc:sldMk cId="1028164312" sldId="697"/>
            <ac:grpSpMk id="4" creationId="{53CCC0A6-18B4-4441-AC66-75C3310DD1C8}"/>
          </ac:grpSpMkLst>
        </pc:grpChg>
        <pc:grpChg chg="del">
          <ac:chgData name="Hasan Senol Coskun" userId="88cd95f7b86daa2f" providerId="LiveId" clId="{0A1DC79D-782D-493E-B89A-90325507C91B}" dt="2020-11-13T20:20:30.822" v="1689" actId="165"/>
          <ac:grpSpMkLst>
            <pc:docMk/>
            <pc:sldMk cId="1028164312" sldId="697"/>
            <ac:grpSpMk id="28" creationId="{00000000-0000-0000-0000-000000000000}"/>
          </ac:grpSpMkLst>
        </pc:grpChg>
        <pc:cxnChg chg="mod topLvl">
          <ac:chgData name="Hasan Senol Coskun" userId="88cd95f7b86daa2f" providerId="LiveId" clId="{0A1DC79D-782D-493E-B89A-90325507C91B}" dt="2020-11-13T20:24:24.795" v="1715" actId="164"/>
          <ac:cxnSpMkLst>
            <pc:docMk/>
            <pc:sldMk cId="1028164312" sldId="697"/>
            <ac:cxnSpMk id="35" creationId="{00000000-0000-0000-0000-000000000000}"/>
          </ac:cxnSpMkLst>
        </pc:cxnChg>
        <pc:cxnChg chg="mod topLvl">
          <ac:chgData name="Hasan Senol Coskun" userId="88cd95f7b86daa2f" providerId="LiveId" clId="{0A1DC79D-782D-493E-B89A-90325507C91B}" dt="2020-11-13T20:24:24.795" v="1715" actId="164"/>
          <ac:cxnSpMkLst>
            <pc:docMk/>
            <pc:sldMk cId="1028164312" sldId="697"/>
            <ac:cxnSpMk id="36" creationId="{00000000-0000-0000-0000-000000000000}"/>
          </ac:cxnSpMkLst>
        </pc:cxnChg>
        <pc:cxnChg chg="mod topLvl">
          <ac:chgData name="Hasan Senol Coskun" userId="88cd95f7b86daa2f" providerId="LiveId" clId="{0A1DC79D-782D-493E-B89A-90325507C91B}" dt="2020-11-13T20:24:24.795" v="1715" actId="164"/>
          <ac:cxnSpMkLst>
            <pc:docMk/>
            <pc:sldMk cId="1028164312" sldId="697"/>
            <ac:cxnSpMk id="37" creationId="{00000000-0000-0000-0000-000000000000}"/>
          </ac:cxnSpMkLst>
        </pc:cxnChg>
      </pc:sldChg>
      <pc:sldChg chg="addSp delSp modSp add del mod modClrScheme chgLayout">
        <pc:chgData name="Hasan Senol Coskun" userId="88cd95f7b86daa2f" providerId="LiveId" clId="{0A1DC79D-782D-493E-B89A-90325507C91B}" dt="2020-11-13T20:10:27.373" v="1627" actId="6549"/>
        <pc:sldMkLst>
          <pc:docMk/>
          <pc:sldMk cId="2638346178" sldId="698"/>
        </pc:sldMkLst>
        <pc:spChg chg="mod ord">
          <ac:chgData name="Hasan Senol Coskun" userId="88cd95f7b86daa2f" providerId="LiveId" clId="{0A1DC79D-782D-493E-B89A-90325507C91B}" dt="2020-11-13T20:10:27.373" v="1627" actId="6549"/>
          <ac:spMkLst>
            <pc:docMk/>
            <pc:sldMk cId="2638346178" sldId="698"/>
            <ac:spMk id="2" creationId="{00000000-0000-0000-0000-000000000000}"/>
          </ac:spMkLst>
        </pc:spChg>
        <pc:spChg chg="del mod ord">
          <ac:chgData name="Hasan Senol Coskun" userId="88cd95f7b86daa2f" providerId="LiveId" clId="{0A1DC79D-782D-493E-B89A-90325507C91B}" dt="2020-11-13T20:10:00.522" v="1624" actId="478"/>
          <ac:spMkLst>
            <pc:docMk/>
            <pc:sldMk cId="2638346178" sldId="698"/>
            <ac:spMk id="3" creationId="{00000000-0000-0000-0000-000000000000}"/>
          </ac:spMkLst>
        </pc:spChg>
        <pc:spChg chg="del mod">
          <ac:chgData name="Hasan Senol Coskun" userId="88cd95f7b86daa2f" providerId="LiveId" clId="{0A1DC79D-782D-493E-B89A-90325507C91B}" dt="2020-11-13T20:08:25.548" v="1609" actId="478"/>
          <ac:spMkLst>
            <pc:docMk/>
            <pc:sldMk cId="2638346178" sldId="698"/>
            <ac:spMk id="4" creationId="{00000000-0000-0000-0000-000000000000}"/>
          </ac:spMkLst>
        </pc:spChg>
        <pc:spChg chg="add del mod">
          <ac:chgData name="Hasan Senol Coskun" userId="88cd95f7b86daa2f" providerId="LiveId" clId="{0A1DC79D-782D-493E-B89A-90325507C91B}" dt="2020-11-13T20:08:30.987" v="1610" actId="478"/>
          <ac:spMkLst>
            <pc:docMk/>
            <pc:sldMk cId="2638346178" sldId="698"/>
            <ac:spMk id="7" creationId="{218DDC64-B79B-4C9A-9FED-C0ECFFF0E389}"/>
          </ac:spMkLst>
        </pc:spChg>
        <pc:spChg chg="del">
          <ac:chgData name="Hasan Senol Coskun" userId="88cd95f7b86daa2f" providerId="LiveId" clId="{0A1DC79D-782D-493E-B89A-90325507C91B}" dt="2020-11-13T20:08:43.199" v="1613" actId="478"/>
          <ac:spMkLst>
            <pc:docMk/>
            <pc:sldMk cId="2638346178" sldId="698"/>
            <ac:spMk id="8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09:26.846" v="1618" actId="207"/>
          <ac:spMkLst>
            <pc:docMk/>
            <pc:sldMk cId="2638346178" sldId="698"/>
            <ac:spMk id="10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09:44.512" v="1622" actId="207"/>
          <ac:spMkLst>
            <pc:docMk/>
            <pc:sldMk cId="2638346178" sldId="698"/>
            <ac:spMk id="11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09:23.078" v="1617" actId="207"/>
          <ac:spMkLst>
            <pc:docMk/>
            <pc:sldMk cId="2638346178" sldId="698"/>
            <ac:spMk id="12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09:29.778" v="1619" actId="207"/>
          <ac:spMkLst>
            <pc:docMk/>
            <pc:sldMk cId="2638346178" sldId="698"/>
            <ac:spMk id="13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09:36.061" v="1621" actId="207"/>
          <ac:spMkLst>
            <pc:docMk/>
            <pc:sldMk cId="2638346178" sldId="698"/>
            <ac:spMk id="14" creationId="{00000000-0000-0000-0000-000000000000}"/>
          </ac:spMkLst>
        </pc:spChg>
        <pc:picChg chg="add mod">
          <ac:chgData name="Hasan Senol Coskun" userId="88cd95f7b86daa2f" providerId="LiveId" clId="{0A1DC79D-782D-493E-B89A-90325507C91B}" dt="2020-11-13T20:10:06.693" v="1625" actId="1076"/>
          <ac:picMkLst>
            <pc:docMk/>
            <pc:sldMk cId="2638346178" sldId="698"/>
            <ac:picMk id="15" creationId="{60AD7354-05B0-4404-AF56-6E5B271DF484}"/>
          </ac:picMkLst>
        </pc:picChg>
      </pc:sldChg>
      <pc:sldChg chg="addSp delSp modSp add del mod modClrScheme chgLayout">
        <pc:chgData name="Hasan Senol Coskun" userId="88cd95f7b86daa2f" providerId="LiveId" clId="{0A1DC79D-782D-493E-B89A-90325507C91B}" dt="2020-11-13T20:10:30.276" v="1628" actId="47"/>
        <pc:sldMkLst>
          <pc:docMk/>
          <pc:sldMk cId="647796004" sldId="699"/>
        </pc:sldMkLst>
        <pc:spChg chg="mod ord">
          <ac:chgData name="Hasan Senol Coskun" userId="88cd95f7b86daa2f" providerId="LiveId" clId="{0A1DC79D-782D-493E-B89A-90325507C91B}" dt="2020-11-13T20:06:52.645" v="1598" actId="207"/>
          <ac:spMkLst>
            <pc:docMk/>
            <pc:sldMk cId="647796004" sldId="699"/>
            <ac:spMk id="2" creationId="{00000000-0000-0000-0000-000000000000}"/>
          </ac:spMkLst>
        </pc:spChg>
        <pc:spChg chg="del mod">
          <ac:chgData name="Hasan Senol Coskun" userId="88cd95f7b86daa2f" providerId="LiveId" clId="{0A1DC79D-782D-493E-B89A-90325507C91B}" dt="2020-11-13T20:04:41.345" v="1587" actId="478"/>
          <ac:spMkLst>
            <pc:docMk/>
            <pc:sldMk cId="647796004" sldId="699"/>
            <ac:spMk id="4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8:12.949" v="1608" actId="164"/>
          <ac:spMkLst>
            <pc:docMk/>
            <pc:sldMk cId="647796004" sldId="699"/>
            <ac:spMk id="5" creationId="{00000000-0000-0000-0000-000000000000}"/>
          </ac:spMkLst>
        </pc:spChg>
        <pc:spChg chg="del">
          <ac:chgData name="Hasan Senol Coskun" userId="88cd95f7b86daa2f" providerId="LiveId" clId="{0A1DC79D-782D-493E-B89A-90325507C91B}" dt="2020-11-13T20:02:46.629" v="1576" actId="478"/>
          <ac:spMkLst>
            <pc:docMk/>
            <pc:sldMk cId="647796004" sldId="699"/>
            <ac:spMk id="8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8:12.949" v="1608" actId="164"/>
          <ac:spMkLst>
            <pc:docMk/>
            <pc:sldMk cId="647796004" sldId="699"/>
            <ac:spMk id="10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8:12.949" v="1608" actId="164"/>
          <ac:spMkLst>
            <pc:docMk/>
            <pc:sldMk cId="647796004" sldId="699"/>
            <ac:spMk id="11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8:12.949" v="1608" actId="164"/>
          <ac:spMkLst>
            <pc:docMk/>
            <pc:sldMk cId="647796004" sldId="699"/>
            <ac:spMk id="12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8:12.949" v="1608" actId="164"/>
          <ac:spMkLst>
            <pc:docMk/>
            <pc:sldMk cId="647796004" sldId="699"/>
            <ac:spMk id="13" creationId="{00000000-0000-0000-0000-000000000000}"/>
          </ac:spMkLst>
        </pc:spChg>
        <pc:spChg chg="del">
          <ac:chgData name="Hasan Senol Coskun" userId="88cd95f7b86daa2f" providerId="LiveId" clId="{0A1DC79D-782D-493E-B89A-90325507C91B}" dt="2020-11-13T20:03:22.507" v="1581" actId="478"/>
          <ac:spMkLst>
            <pc:docMk/>
            <pc:sldMk cId="647796004" sldId="699"/>
            <ac:spMk id="14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8:12.949" v="1608" actId="164"/>
          <ac:spMkLst>
            <pc:docMk/>
            <pc:sldMk cId="647796004" sldId="699"/>
            <ac:spMk id="15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8:12.949" v="1608" actId="164"/>
          <ac:spMkLst>
            <pc:docMk/>
            <pc:sldMk cId="647796004" sldId="699"/>
            <ac:spMk id="16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8:12.949" v="1608" actId="164"/>
          <ac:spMkLst>
            <pc:docMk/>
            <pc:sldMk cId="647796004" sldId="699"/>
            <ac:spMk id="19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8:12.949" v="1608" actId="164"/>
          <ac:spMkLst>
            <pc:docMk/>
            <pc:sldMk cId="647796004" sldId="699"/>
            <ac:spMk id="20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8:12.949" v="1608" actId="164"/>
          <ac:spMkLst>
            <pc:docMk/>
            <pc:sldMk cId="647796004" sldId="699"/>
            <ac:spMk id="21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8:12.949" v="1608" actId="164"/>
          <ac:spMkLst>
            <pc:docMk/>
            <pc:sldMk cId="647796004" sldId="699"/>
            <ac:spMk id="22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6:01.687" v="1594" actId="338"/>
          <ac:spMkLst>
            <pc:docMk/>
            <pc:sldMk cId="647796004" sldId="699"/>
            <ac:spMk id="23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6:01.687" v="1594" actId="338"/>
          <ac:spMkLst>
            <pc:docMk/>
            <pc:sldMk cId="647796004" sldId="699"/>
            <ac:spMk id="24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6:01.687" v="1594" actId="338"/>
          <ac:spMkLst>
            <pc:docMk/>
            <pc:sldMk cId="647796004" sldId="699"/>
            <ac:spMk id="25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6:01.687" v="1594" actId="338"/>
          <ac:spMkLst>
            <pc:docMk/>
            <pc:sldMk cId="647796004" sldId="699"/>
            <ac:spMk id="26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6:01.687" v="1594" actId="338"/>
          <ac:spMkLst>
            <pc:docMk/>
            <pc:sldMk cId="647796004" sldId="699"/>
            <ac:spMk id="27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6:01.687" v="1594" actId="338"/>
          <ac:spMkLst>
            <pc:docMk/>
            <pc:sldMk cId="647796004" sldId="699"/>
            <ac:spMk id="28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6:01.687" v="1594" actId="338"/>
          <ac:spMkLst>
            <pc:docMk/>
            <pc:sldMk cId="647796004" sldId="699"/>
            <ac:spMk id="29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6:01.687" v="1594" actId="338"/>
          <ac:spMkLst>
            <pc:docMk/>
            <pc:sldMk cId="647796004" sldId="699"/>
            <ac:spMk id="30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6:01.687" v="1594" actId="338"/>
          <ac:spMkLst>
            <pc:docMk/>
            <pc:sldMk cId="647796004" sldId="699"/>
            <ac:spMk id="31" creationId="{00000000-0000-0000-0000-000000000000}"/>
          </ac:spMkLst>
        </pc:spChg>
        <pc:spChg chg="del mod ord">
          <ac:chgData name="Hasan Senol Coskun" userId="88cd95f7b86daa2f" providerId="LiveId" clId="{0A1DC79D-782D-493E-B89A-90325507C91B}" dt="2020-11-13T20:06:28.505" v="1597" actId="478"/>
          <ac:spMkLst>
            <pc:docMk/>
            <pc:sldMk cId="647796004" sldId="699"/>
            <ac:spMk id="32" creationId="{00000000-0000-0000-0000-000000000000}"/>
          </ac:spMkLst>
        </pc:spChg>
        <pc:spChg chg="add del mod">
          <ac:chgData name="Hasan Senol Coskun" userId="88cd95f7b86daa2f" providerId="LiveId" clId="{0A1DC79D-782D-493E-B89A-90325507C91B}" dt="2020-11-13T20:04:45.992" v="1588" actId="478"/>
          <ac:spMkLst>
            <pc:docMk/>
            <pc:sldMk cId="647796004" sldId="699"/>
            <ac:spMk id="33" creationId="{63345770-242E-48FC-A6A7-D3BC281352D8}"/>
          </ac:spMkLst>
        </pc:spChg>
        <pc:spChg chg="del mod topLvl">
          <ac:chgData name="Hasan Senol Coskun" userId="88cd95f7b86daa2f" providerId="LiveId" clId="{0A1DC79D-782D-493E-B89A-90325507C91B}" dt="2020-11-13T20:08:03.532" v="1607" actId="478"/>
          <ac:spMkLst>
            <pc:docMk/>
            <pc:sldMk cId="647796004" sldId="699"/>
            <ac:spMk id="47" creationId="{00000000-0000-0000-0000-000000000000}"/>
          </ac:spMkLst>
        </pc:spChg>
        <pc:spChg chg="del mod topLvl">
          <ac:chgData name="Hasan Senol Coskun" userId="88cd95f7b86daa2f" providerId="LiveId" clId="{0A1DC79D-782D-493E-B89A-90325507C91B}" dt="2020-11-13T20:08:03.532" v="1607" actId="478"/>
          <ac:spMkLst>
            <pc:docMk/>
            <pc:sldMk cId="647796004" sldId="699"/>
            <ac:spMk id="48" creationId="{00000000-0000-0000-0000-000000000000}"/>
          </ac:spMkLst>
        </pc:spChg>
        <pc:spChg chg="del mod topLvl">
          <ac:chgData name="Hasan Senol Coskun" userId="88cd95f7b86daa2f" providerId="LiveId" clId="{0A1DC79D-782D-493E-B89A-90325507C91B}" dt="2020-11-13T20:08:03.532" v="1607" actId="478"/>
          <ac:spMkLst>
            <pc:docMk/>
            <pc:sldMk cId="647796004" sldId="699"/>
            <ac:spMk id="49" creationId="{00000000-0000-0000-0000-000000000000}"/>
          </ac:spMkLst>
        </pc:spChg>
        <pc:spChg chg="del mod topLvl">
          <ac:chgData name="Hasan Senol Coskun" userId="88cd95f7b86daa2f" providerId="LiveId" clId="{0A1DC79D-782D-493E-B89A-90325507C91B}" dt="2020-11-13T20:08:03.532" v="1607" actId="478"/>
          <ac:spMkLst>
            <pc:docMk/>
            <pc:sldMk cId="647796004" sldId="699"/>
            <ac:spMk id="50" creationId="{00000000-0000-0000-0000-000000000000}"/>
          </ac:spMkLst>
        </pc:spChg>
        <pc:spChg chg="del mod topLvl">
          <ac:chgData name="Hasan Senol Coskun" userId="88cd95f7b86daa2f" providerId="LiveId" clId="{0A1DC79D-782D-493E-B89A-90325507C91B}" dt="2020-11-13T20:08:03.532" v="1607" actId="478"/>
          <ac:spMkLst>
            <pc:docMk/>
            <pc:sldMk cId="647796004" sldId="699"/>
            <ac:spMk id="51" creationId="{00000000-0000-0000-0000-000000000000}"/>
          </ac:spMkLst>
        </pc:spChg>
        <pc:spChg chg="del mod topLvl">
          <ac:chgData name="Hasan Senol Coskun" userId="88cd95f7b86daa2f" providerId="LiveId" clId="{0A1DC79D-782D-493E-B89A-90325507C91B}" dt="2020-11-13T20:08:03.532" v="1607" actId="478"/>
          <ac:spMkLst>
            <pc:docMk/>
            <pc:sldMk cId="647796004" sldId="699"/>
            <ac:spMk id="52" creationId="{00000000-0000-0000-0000-000000000000}"/>
          </ac:spMkLst>
        </pc:spChg>
        <pc:spChg chg="del mod topLvl">
          <ac:chgData name="Hasan Senol Coskun" userId="88cd95f7b86daa2f" providerId="LiveId" clId="{0A1DC79D-782D-493E-B89A-90325507C91B}" dt="2020-11-13T20:08:03.532" v="1607" actId="478"/>
          <ac:spMkLst>
            <pc:docMk/>
            <pc:sldMk cId="647796004" sldId="699"/>
            <ac:spMk id="53" creationId="{00000000-0000-0000-0000-000000000000}"/>
          </ac:spMkLst>
        </pc:spChg>
        <pc:spChg chg="del mod topLvl">
          <ac:chgData name="Hasan Senol Coskun" userId="88cd95f7b86daa2f" providerId="LiveId" clId="{0A1DC79D-782D-493E-B89A-90325507C91B}" dt="2020-11-13T20:08:03.532" v="1607" actId="478"/>
          <ac:spMkLst>
            <pc:docMk/>
            <pc:sldMk cId="647796004" sldId="699"/>
            <ac:spMk id="54" creationId="{00000000-0000-0000-0000-000000000000}"/>
          </ac:spMkLst>
        </pc:spChg>
        <pc:spChg chg="del">
          <ac:chgData name="Hasan Senol Coskun" userId="88cd95f7b86daa2f" providerId="LiveId" clId="{0A1DC79D-782D-493E-B89A-90325507C91B}" dt="2020-11-13T20:02:50.535" v="1577" actId="478"/>
          <ac:spMkLst>
            <pc:docMk/>
            <pc:sldMk cId="647796004" sldId="699"/>
            <ac:spMk id="55" creationId="{00000000-0000-0000-0000-000000000000}"/>
          </ac:spMkLst>
        </pc:spChg>
        <pc:spChg chg="del">
          <ac:chgData name="Hasan Senol Coskun" userId="88cd95f7b86daa2f" providerId="LiveId" clId="{0A1DC79D-782D-493E-B89A-90325507C91B}" dt="2020-11-13T20:03:19.471" v="1580" actId="478"/>
          <ac:spMkLst>
            <pc:docMk/>
            <pc:sldMk cId="647796004" sldId="699"/>
            <ac:spMk id="56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08:12.949" v="1608" actId="164"/>
          <ac:spMkLst>
            <pc:docMk/>
            <pc:sldMk cId="647796004" sldId="699"/>
            <ac:spMk id="57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6:01.687" v="1594" actId="338"/>
          <ac:spMkLst>
            <pc:docMk/>
            <pc:sldMk cId="647796004" sldId="699"/>
            <ac:spMk id="1024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6:01.687" v="1594" actId="338"/>
          <ac:spMkLst>
            <pc:docMk/>
            <pc:sldMk cId="647796004" sldId="699"/>
            <ac:spMk id="1025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6:01.687" v="1594" actId="338"/>
          <ac:spMkLst>
            <pc:docMk/>
            <pc:sldMk cId="647796004" sldId="699"/>
            <ac:spMk id="1028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8:12.949" v="1608" actId="164"/>
          <ac:spMkLst>
            <pc:docMk/>
            <pc:sldMk cId="647796004" sldId="699"/>
            <ac:spMk id="1029" creationId="{00000000-0000-0000-0000-000000000000}"/>
          </ac:spMkLst>
        </pc:spChg>
        <pc:spChg chg="mod topLvl">
          <ac:chgData name="Hasan Senol Coskun" userId="88cd95f7b86daa2f" providerId="LiveId" clId="{0A1DC79D-782D-493E-B89A-90325507C91B}" dt="2020-11-13T20:08:12.949" v="1608" actId="164"/>
          <ac:spMkLst>
            <pc:docMk/>
            <pc:sldMk cId="647796004" sldId="699"/>
            <ac:spMk id="1030" creationId="{00000000-0000-0000-0000-000000000000}"/>
          </ac:spMkLst>
        </pc:spChg>
        <pc:grpChg chg="add del mod">
          <ac:chgData name="Hasan Senol Coskun" userId="88cd95f7b86daa2f" providerId="LiveId" clId="{0A1DC79D-782D-493E-B89A-90325507C91B}" dt="2020-11-13T20:03:44.117" v="1583" actId="165"/>
          <ac:grpSpMkLst>
            <pc:docMk/>
            <pc:sldMk cId="647796004" sldId="699"/>
            <ac:grpSpMk id="6" creationId="{36BEA6F0-091B-4EF2-99C2-66539C97C852}"/>
          </ac:grpSpMkLst>
        </pc:grpChg>
        <pc:grpChg chg="add del mod">
          <ac:chgData name="Hasan Senol Coskun" userId="88cd95f7b86daa2f" providerId="LiveId" clId="{0A1DC79D-782D-493E-B89A-90325507C91B}" dt="2020-11-13T20:05:14.108" v="1589" actId="165"/>
          <ac:grpSpMkLst>
            <pc:docMk/>
            <pc:sldMk cId="647796004" sldId="699"/>
            <ac:grpSpMk id="7" creationId="{15E0E004-06CA-40F9-8D86-D83A7072BE38}"/>
          </ac:grpSpMkLst>
        </pc:grpChg>
        <pc:grpChg chg="add del mod">
          <ac:chgData name="Hasan Senol Coskun" userId="88cd95f7b86daa2f" providerId="LiveId" clId="{0A1DC79D-782D-493E-B89A-90325507C91B}" dt="2020-11-13T20:05:14.108" v="1589" actId="165"/>
          <ac:grpSpMkLst>
            <pc:docMk/>
            <pc:sldMk cId="647796004" sldId="699"/>
            <ac:grpSpMk id="9" creationId="{FE577E5D-9A3F-4EFA-B072-5D706C28EF28}"/>
          </ac:grpSpMkLst>
        </pc:grpChg>
        <pc:grpChg chg="del">
          <ac:chgData name="Hasan Senol Coskun" userId="88cd95f7b86daa2f" providerId="LiveId" clId="{0A1DC79D-782D-493E-B89A-90325507C91B}" dt="2020-11-13T20:03:08.926" v="1579" actId="165"/>
          <ac:grpSpMkLst>
            <pc:docMk/>
            <pc:sldMk cId="647796004" sldId="699"/>
            <ac:grpSpMk id="18" creationId="{00000000-0000-0000-0000-000000000000}"/>
          </ac:grpSpMkLst>
        </pc:grpChg>
        <pc:grpChg chg="add del mod">
          <ac:chgData name="Hasan Senol Coskun" userId="88cd95f7b86daa2f" providerId="LiveId" clId="{0A1DC79D-782D-493E-B89A-90325507C91B}" dt="2020-11-13T20:05:52.198" v="1593" actId="165"/>
          <ac:grpSpMkLst>
            <pc:docMk/>
            <pc:sldMk cId="647796004" sldId="699"/>
            <ac:grpSpMk id="34" creationId="{4C224DF6-3EDA-4F91-B5B9-410ABBA71004}"/>
          </ac:grpSpMkLst>
        </pc:grpChg>
        <pc:grpChg chg="add del mod">
          <ac:chgData name="Hasan Senol Coskun" userId="88cd95f7b86daa2f" providerId="LiveId" clId="{0A1DC79D-782D-493E-B89A-90325507C91B}" dt="2020-11-13T20:05:52.198" v="1593" actId="165"/>
          <ac:grpSpMkLst>
            <pc:docMk/>
            <pc:sldMk cId="647796004" sldId="699"/>
            <ac:grpSpMk id="35" creationId="{AAEBF2F9-2D24-4C56-A0C2-F3C579E3310B}"/>
          </ac:grpSpMkLst>
        </pc:grpChg>
        <pc:grpChg chg="add mod">
          <ac:chgData name="Hasan Senol Coskun" userId="88cd95f7b86daa2f" providerId="LiveId" clId="{0A1DC79D-782D-493E-B89A-90325507C91B}" dt="2020-11-13T20:08:12.949" v="1608" actId="164"/>
          <ac:grpSpMkLst>
            <pc:docMk/>
            <pc:sldMk cId="647796004" sldId="699"/>
            <ac:grpSpMk id="36" creationId="{758D7294-0544-4612-AC26-F55AA58EBC98}"/>
          </ac:grpSpMkLst>
        </pc:grpChg>
        <pc:grpChg chg="add del mod">
          <ac:chgData name="Hasan Senol Coskun" userId="88cd95f7b86daa2f" providerId="LiveId" clId="{0A1DC79D-782D-493E-B89A-90325507C91B}" dt="2020-11-13T20:07:58.085" v="1606" actId="165"/>
          <ac:grpSpMkLst>
            <pc:docMk/>
            <pc:sldMk cId="647796004" sldId="699"/>
            <ac:grpSpMk id="37" creationId="{4B1028CB-B276-494B-97B4-DC937279E6AD}"/>
          </ac:grpSpMkLst>
        </pc:grpChg>
        <pc:grpChg chg="add mod">
          <ac:chgData name="Hasan Senol Coskun" userId="88cd95f7b86daa2f" providerId="LiveId" clId="{0A1DC79D-782D-493E-B89A-90325507C91B}" dt="2020-11-13T20:08:12.949" v="1608" actId="164"/>
          <ac:grpSpMkLst>
            <pc:docMk/>
            <pc:sldMk cId="647796004" sldId="699"/>
            <ac:grpSpMk id="38" creationId="{A22AB8A8-5FF6-44FA-B19A-1336120FE6CA}"/>
          </ac:grpSpMkLst>
        </pc:grpChg>
        <pc:grpChg chg="del mod topLvl">
          <ac:chgData name="Hasan Senol Coskun" userId="88cd95f7b86daa2f" providerId="LiveId" clId="{0A1DC79D-782D-493E-B89A-90325507C91B}" dt="2020-11-13T20:03:49.051" v="1584" actId="165"/>
          <ac:grpSpMkLst>
            <pc:docMk/>
            <pc:sldMk cId="647796004" sldId="699"/>
            <ac:grpSpMk id="1031" creationId="{00000000-0000-0000-0000-000000000000}"/>
          </ac:grpSpMkLst>
        </pc:grpChg>
        <pc:graphicFrameChg chg="del mod">
          <ac:chgData name="Hasan Senol Coskun" userId="88cd95f7b86daa2f" providerId="LiveId" clId="{0A1DC79D-782D-493E-B89A-90325507C91B}" dt="2020-11-13T20:07:37.763" v="1602" actId="478"/>
          <ac:graphicFrameMkLst>
            <pc:docMk/>
            <pc:sldMk cId="647796004" sldId="699"/>
            <ac:graphicFrameMk id="3" creationId="{00000000-0000-0000-0000-000000000000}"/>
          </ac:graphicFrameMkLst>
        </pc:graphicFrameChg>
        <pc:cxnChg chg="mod topLvl">
          <ac:chgData name="Hasan Senol Coskun" userId="88cd95f7b86daa2f" providerId="LiveId" clId="{0A1DC79D-782D-493E-B89A-90325507C91B}" dt="2020-11-13T20:08:12.949" v="1608" actId="164"/>
          <ac:cxnSpMkLst>
            <pc:docMk/>
            <pc:sldMk cId="647796004" sldId="699"/>
            <ac:cxnSpMk id="45" creationId="{00000000-0000-0000-0000-000000000000}"/>
          </ac:cxnSpMkLst>
        </pc:cxnChg>
        <pc:cxnChg chg="mod topLvl">
          <ac:chgData name="Hasan Senol Coskun" userId="88cd95f7b86daa2f" providerId="LiveId" clId="{0A1DC79D-782D-493E-B89A-90325507C91B}" dt="2020-11-13T20:08:12.949" v="1608" actId="164"/>
          <ac:cxnSpMkLst>
            <pc:docMk/>
            <pc:sldMk cId="647796004" sldId="699"/>
            <ac:cxnSpMk id="46" creationId="{00000000-0000-0000-0000-000000000000}"/>
          </ac:cxnSpMkLst>
        </pc:cxnChg>
      </pc:sldChg>
      <pc:sldChg chg="addSp delSp modSp add del mod modClrScheme chgLayout">
        <pc:chgData name="Hasan Senol Coskun" userId="88cd95f7b86daa2f" providerId="LiveId" clId="{0A1DC79D-782D-493E-B89A-90325507C91B}" dt="2020-11-13T20:02:31.684" v="1575" actId="1076"/>
        <pc:sldMkLst>
          <pc:docMk/>
          <pc:sldMk cId="4227421276" sldId="700"/>
        </pc:sldMkLst>
        <pc:spChg chg="del mod ord">
          <ac:chgData name="Hasan Senol Coskun" userId="88cd95f7b86daa2f" providerId="LiveId" clId="{0A1DC79D-782D-493E-B89A-90325507C91B}" dt="2020-11-13T20:01:19.836" v="1566" actId="478"/>
          <ac:spMkLst>
            <pc:docMk/>
            <pc:sldMk cId="4227421276" sldId="700"/>
            <ac:spMk id="2" creationId="{00000000-0000-0000-0000-000000000000}"/>
          </ac:spMkLst>
        </pc:spChg>
        <pc:spChg chg="mod modCrop">
          <ac:chgData name="Hasan Senol Coskun" userId="88cd95f7b86daa2f" providerId="LiveId" clId="{0A1DC79D-782D-493E-B89A-90325507C91B}" dt="2020-11-13T20:02:27.559" v="1574" actId="164"/>
          <ac:spMkLst>
            <pc:docMk/>
            <pc:sldMk cId="4227421276" sldId="700"/>
            <ac:spMk id="3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02:27.559" v="1574" actId="164"/>
          <ac:spMkLst>
            <pc:docMk/>
            <pc:sldMk cId="4227421276" sldId="700"/>
            <ac:spMk id="4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02:27.559" v="1574" actId="164"/>
          <ac:spMkLst>
            <pc:docMk/>
            <pc:sldMk cId="4227421276" sldId="700"/>
            <ac:spMk id="5" creationId="{00000000-0000-0000-0000-000000000000}"/>
          </ac:spMkLst>
        </pc:spChg>
        <pc:spChg chg="add mod ord">
          <ac:chgData name="Hasan Senol Coskun" userId="88cd95f7b86daa2f" providerId="LiveId" clId="{0A1DC79D-782D-493E-B89A-90325507C91B}" dt="2020-11-13T20:01:13.837" v="1565" actId="20577"/>
          <ac:spMkLst>
            <pc:docMk/>
            <pc:sldMk cId="4227421276" sldId="700"/>
            <ac:spMk id="6" creationId="{A615715A-7275-4E58-8864-3A6B9351F8AB}"/>
          </ac:spMkLst>
        </pc:spChg>
        <pc:grpChg chg="add mod">
          <ac:chgData name="Hasan Senol Coskun" userId="88cd95f7b86daa2f" providerId="LiveId" clId="{0A1DC79D-782D-493E-B89A-90325507C91B}" dt="2020-11-13T20:02:31.684" v="1575" actId="1076"/>
          <ac:grpSpMkLst>
            <pc:docMk/>
            <pc:sldMk cId="4227421276" sldId="700"/>
            <ac:grpSpMk id="7" creationId="{5C53C379-D51F-456F-A885-B02E50E0FA04}"/>
          </ac:grpSpMkLst>
        </pc:grpChg>
      </pc:sldChg>
      <pc:sldChg chg="addSp delSp modSp add del mod modClrScheme chgLayout">
        <pc:chgData name="Hasan Senol Coskun" userId="88cd95f7b86daa2f" providerId="LiveId" clId="{0A1DC79D-782D-493E-B89A-90325507C91B}" dt="2020-11-13T20:00:53.423" v="1546" actId="20577"/>
        <pc:sldMkLst>
          <pc:docMk/>
          <pc:sldMk cId="184394090" sldId="701"/>
        </pc:sldMkLst>
        <pc:spChg chg="del">
          <ac:chgData name="Hasan Senol Coskun" userId="88cd95f7b86daa2f" providerId="LiveId" clId="{0A1DC79D-782D-493E-B89A-90325507C91B}" dt="2020-11-13T20:00:33.560" v="1521" actId="478"/>
          <ac:spMkLst>
            <pc:docMk/>
            <pc:sldMk cId="184394090" sldId="701"/>
            <ac:spMk id="2" creationId="{00000000-0000-0000-0000-000000000000}"/>
          </ac:spMkLst>
        </pc:spChg>
        <pc:spChg chg="del">
          <ac:chgData name="Hasan Senol Coskun" userId="88cd95f7b86daa2f" providerId="LiveId" clId="{0A1DC79D-782D-493E-B89A-90325507C91B}" dt="2020-11-13T20:00:13.618" v="1516" actId="478"/>
          <ac:spMkLst>
            <pc:docMk/>
            <pc:sldMk cId="184394090" sldId="701"/>
            <ac:spMk id="3" creationId="{00000000-0000-0000-0000-000000000000}"/>
          </ac:spMkLst>
        </pc:spChg>
        <pc:spChg chg="del">
          <ac:chgData name="Hasan Senol Coskun" userId="88cd95f7b86daa2f" providerId="LiveId" clId="{0A1DC79D-782D-493E-B89A-90325507C91B}" dt="2020-11-13T20:00:10.011" v="1515" actId="478"/>
          <ac:spMkLst>
            <pc:docMk/>
            <pc:sldMk cId="184394090" sldId="701"/>
            <ac:spMk id="4" creationId="{00000000-0000-0000-0000-000000000000}"/>
          </ac:spMkLst>
        </pc:spChg>
        <pc:spChg chg="add mod ord">
          <ac:chgData name="Hasan Senol Coskun" userId="88cd95f7b86daa2f" providerId="LiveId" clId="{0A1DC79D-782D-493E-B89A-90325507C91B}" dt="2020-11-13T20:00:53.423" v="1546" actId="20577"/>
          <ac:spMkLst>
            <pc:docMk/>
            <pc:sldMk cId="184394090" sldId="701"/>
            <ac:spMk id="5" creationId="{84D05FB7-EFA3-417F-A0E5-82B06951E243}"/>
          </ac:spMkLst>
        </pc:spChg>
        <pc:picChg chg="mod modCrop">
          <ac:chgData name="Hasan Senol Coskun" userId="88cd95f7b86daa2f" providerId="LiveId" clId="{0A1DC79D-782D-493E-B89A-90325507C91B}" dt="2020-11-13T20:00:29.066" v="1520" actId="732"/>
          <ac:picMkLst>
            <pc:docMk/>
            <pc:sldMk cId="184394090" sldId="701"/>
            <ac:picMk id="240642" creationId="{00000000-0000-0000-0000-000000000000}"/>
          </ac:picMkLst>
        </pc:picChg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3387890436" sldId="710"/>
        </pc:sldMkLst>
        <pc:spChg chg="mod">
          <ac:chgData name="Hasan Senol Coskun" userId="88cd95f7b86daa2f" providerId="LiveId" clId="{0A1DC79D-782D-493E-B89A-90325507C91B}" dt="2020-11-10T20:28:10.238" v="45" actId="27636"/>
          <ac:spMkLst>
            <pc:docMk/>
            <pc:sldMk cId="3387890436" sldId="710"/>
            <ac:spMk id="10" creationId="{00000000-0000-0000-0000-000000000000}"/>
          </ac:spMkLst>
        </pc:spChg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2893515106" sldId="711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2279548139" sldId="712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620129544" sldId="713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3592268328" sldId="714"/>
        </pc:sldMkLst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3265719715" sldId="715"/>
        </pc:sldMkLst>
        <pc:spChg chg="mod">
          <ac:chgData name="Hasan Senol Coskun" userId="88cd95f7b86daa2f" providerId="LiveId" clId="{0A1DC79D-782D-493E-B89A-90325507C91B}" dt="2020-11-10T20:28:10.270" v="46" actId="27636"/>
          <ac:spMkLst>
            <pc:docMk/>
            <pc:sldMk cId="3265719715" sldId="715"/>
            <ac:spMk id="71683" creationId="{00000000-0000-0000-0000-000000000000}"/>
          </ac:spMkLst>
        </pc:spChg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2516638744" sldId="716"/>
        </pc:sldMkLst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3433079915" sldId="718"/>
        </pc:sldMkLst>
        <pc:spChg chg="mod">
          <ac:chgData name="Hasan Senol Coskun" userId="88cd95f7b86daa2f" providerId="LiveId" clId="{0A1DC79D-782D-493E-B89A-90325507C91B}" dt="2020-11-10T20:28:10.314" v="48" actId="27636"/>
          <ac:spMkLst>
            <pc:docMk/>
            <pc:sldMk cId="3433079915" sldId="718"/>
            <ac:spMk id="6" creationId="{00000000-0000-0000-0000-000000000000}"/>
          </ac:spMkLst>
        </pc:spChg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4171978038" sldId="719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3835401381" sldId="720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203314159" sldId="721"/>
        </pc:sldMkLst>
      </pc:sldChg>
      <pc:sldChg chg="add del">
        <pc:chgData name="Hasan Senol Coskun" userId="88cd95f7b86daa2f" providerId="LiveId" clId="{0A1DC79D-782D-493E-B89A-90325507C91B}" dt="2020-11-13T17:43:51.222" v="376" actId="47"/>
        <pc:sldMkLst>
          <pc:docMk/>
          <pc:sldMk cId="817736412" sldId="722"/>
        </pc:sldMkLst>
      </pc:sldChg>
      <pc:sldChg chg="add del">
        <pc:chgData name="Hasan Senol Coskun" userId="88cd95f7b86daa2f" providerId="LiveId" clId="{0A1DC79D-782D-493E-B89A-90325507C91B}" dt="2020-11-13T17:43:52.011" v="377" actId="47"/>
        <pc:sldMkLst>
          <pc:docMk/>
          <pc:sldMk cId="926005295" sldId="723"/>
        </pc:sldMkLst>
      </pc:sldChg>
      <pc:sldChg chg="add del">
        <pc:chgData name="Hasan Senol Coskun" userId="88cd95f7b86daa2f" providerId="LiveId" clId="{0A1DC79D-782D-493E-B89A-90325507C91B}" dt="2020-11-13T17:43:52.697" v="378" actId="47"/>
        <pc:sldMkLst>
          <pc:docMk/>
          <pc:sldMk cId="3253579905" sldId="724"/>
        </pc:sldMkLst>
      </pc:sldChg>
      <pc:sldChg chg="add del">
        <pc:chgData name="Hasan Senol Coskun" userId="88cd95f7b86daa2f" providerId="LiveId" clId="{0A1DC79D-782D-493E-B89A-90325507C91B}" dt="2020-11-13T17:43:53.410" v="379" actId="47"/>
        <pc:sldMkLst>
          <pc:docMk/>
          <pc:sldMk cId="264085055" sldId="725"/>
        </pc:sldMkLst>
      </pc:sldChg>
      <pc:sldChg chg="add del">
        <pc:chgData name="Hasan Senol Coskun" userId="88cd95f7b86daa2f" providerId="LiveId" clId="{0A1DC79D-782D-493E-B89A-90325507C91B}" dt="2020-11-13T17:42:17.162" v="295" actId="47"/>
        <pc:sldMkLst>
          <pc:docMk/>
          <pc:sldMk cId="148648170" sldId="726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3505251996" sldId="736"/>
        </pc:sldMkLst>
      </pc:sldChg>
      <pc:sldChg chg="addSp modSp add del mod modClrScheme chgLayout">
        <pc:chgData name="Hasan Senol Coskun" userId="88cd95f7b86daa2f" providerId="LiveId" clId="{0A1DC79D-782D-493E-B89A-90325507C91B}" dt="2020-11-13T18:08:58.011" v="770" actId="20577"/>
        <pc:sldMkLst>
          <pc:docMk/>
          <pc:sldMk cId="1133207326" sldId="737"/>
        </pc:sldMkLst>
        <pc:spChg chg="mod ord">
          <ac:chgData name="Hasan Senol Coskun" userId="88cd95f7b86daa2f" providerId="LiveId" clId="{0A1DC79D-782D-493E-B89A-90325507C91B}" dt="2020-11-13T18:08:42.590" v="742" actId="700"/>
          <ac:spMkLst>
            <pc:docMk/>
            <pc:sldMk cId="1133207326" sldId="737"/>
            <ac:spMk id="2" creationId="{00000000-0000-0000-0000-000000000000}"/>
          </ac:spMkLst>
        </pc:spChg>
        <pc:spChg chg="add mod ord">
          <ac:chgData name="Hasan Senol Coskun" userId="88cd95f7b86daa2f" providerId="LiveId" clId="{0A1DC79D-782D-493E-B89A-90325507C91B}" dt="2020-11-13T18:08:58.011" v="770" actId="20577"/>
          <ac:spMkLst>
            <pc:docMk/>
            <pc:sldMk cId="1133207326" sldId="737"/>
            <ac:spMk id="5" creationId="{13E4395B-09C7-4B6D-BB30-45EAE888095C}"/>
          </ac:spMkLst>
        </pc:spChg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1417830978" sldId="738"/>
        </pc:sldMkLst>
        <pc:spChg chg="mod">
          <ac:chgData name="Hasan Senol Coskun" userId="88cd95f7b86daa2f" providerId="LiveId" clId="{0A1DC79D-782D-493E-B89A-90325507C91B}" dt="2020-11-10T20:28:09.727" v="28" actId="27636"/>
          <ac:spMkLst>
            <pc:docMk/>
            <pc:sldMk cId="1417830978" sldId="738"/>
            <ac:spMk id="70658" creationId="{00000000-0000-0000-0000-000000000000}"/>
          </ac:spMkLst>
        </pc:spChg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2132862437" sldId="740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3692679812" sldId="748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1327704273" sldId="750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1483125031" sldId="751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3427939309" sldId="752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923220285" sldId="753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1321797126" sldId="754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4172541772" sldId="755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918073670" sldId="756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177307534" sldId="758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2366898890" sldId="761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1247946195" sldId="762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2163401529" sldId="772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715885987" sldId="781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654492915" sldId="782"/>
        </pc:sldMkLst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2948416175" sldId="783"/>
        </pc:sldMkLst>
        <pc:spChg chg="mod">
          <ac:chgData name="Hasan Senol Coskun" userId="88cd95f7b86daa2f" providerId="LiveId" clId="{0A1DC79D-782D-493E-B89A-90325507C91B}" dt="2020-11-10T20:28:10.086" v="39" actId="27636"/>
          <ac:spMkLst>
            <pc:docMk/>
            <pc:sldMk cId="2948416175" sldId="783"/>
            <ac:spMk id="180227" creationId="{00000000-0000-0000-0000-000000000000}"/>
          </ac:spMkLst>
        </pc:spChg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4005106704" sldId="784"/>
        </pc:sldMkLst>
        <pc:spChg chg="mod">
          <ac:chgData name="Hasan Senol Coskun" userId="88cd95f7b86daa2f" providerId="LiveId" clId="{0A1DC79D-782D-493E-B89A-90325507C91B}" dt="2020-11-10T20:28:10.103" v="40" actId="27636"/>
          <ac:spMkLst>
            <pc:docMk/>
            <pc:sldMk cId="4005106704" sldId="784"/>
            <ac:spMk id="182282" creationId="{00000000-0000-0000-0000-000000000000}"/>
          </ac:spMkLst>
        </pc:spChg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1471721461" sldId="785"/>
        </pc:sldMkLst>
        <pc:spChg chg="mod">
          <ac:chgData name="Hasan Senol Coskun" userId="88cd95f7b86daa2f" providerId="LiveId" clId="{0A1DC79D-782D-493E-B89A-90325507C91B}" dt="2020-11-10T20:28:10.122" v="41" actId="27636"/>
          <ac:spMkLst>
            <pc:docMk/>
            <pc:sldMk cId="1471721461" sldId="785"/>
            <ac:spMk id="184330" creationId="{00000000-0000-0000-0000-000000000000}"/>
          </ac:spMkLst>
        </pc:spChg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3625773658" sldId="786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1707570726" sldId="787"/>
        </pc:sldMkLst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114377448" sldId="788"/>
        </pc:sldMkLst>
        <pc:spChg chg="mod">
          <ac:chgData name="Hasan Senol Coskun" userId="88cd95f7b86daa2f" providerId="LiveId" clId="{0A1DC79D-782D-493E-B89A-90325507C91B}" dt="2020-11-10T20:28:10.138" v="42" actId="27636"/>
          <ac:spMkLst>
            <pc:docMk/>
            <pc:sldMk cId="114377448" sldId="788"/>
            <ac:spMk id="190468" creationId="{00000000-0000-0000-0000-000000000000}"/>
          </ac:spMkLst>
        </pc:spChg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2791646827" sldId="789"/>
        </pc:sldMkLst>
        <pc:spChg chg="mod">
          <ac:chgData name="Hasan Senol Coskun" userId="88cd95f7b86daa2f" providerId="LiveId" clId="{0A1DC79D-782D-493E-B89A-90325507C91B}" dt="2020-11-10T20:28:10.171" v="43" actId="27636"/>
          <ac:spMkLst>
            <pc:docMk/>
            <pc:sldMk cId="2791646827" sldId="789"/>
            <ac:spMk id="192521" creationId="{00000000-0000-0000-0000-000000000000}"/>
          </ac:spMkLst>
        </pc:spChg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2426292430" sldId="790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3393490500" sldId="792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2923710726" sldId="793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1396600714" sldId="794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2275883088" sldId="795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2413556917" sldId="796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3891254065" sldId="797"/>
        </pc:sldMkLst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3901633508" sldId="798"/>
        </pc:sldMkLst>
        <pc:spChg chg="mod">
          <ac:chgData name="Hasan Senol Coskun" userId="88cd95f7b86daa2f" providerId="LiveId" clId="{0A1DC79D-782D-493E-B89A-90325507C91B}" dt="2020-11-10T20:28:09.932" v="34" actId="27636"/>
          <ac:spMkLst>
            <pc:docMk/>
            <pc:sldMk cId="3901633508" sldId="798"/>
            <ac:spMk id="158723" creationId="{00000000-0000-0000-0000-000000000000}"/>
          </ac:spMkLst>
        </pc:spChg>
      </pc:sldChg>
      <pc:sldChg chg="add del">
        <pc:chgData name="Hasan Senol Coskun" userId="88cd95f7b86daa2f" providerId="LiveId" clId="{0A1DC79D-782D-493E-B89A-90325507C91B}" dt="2020-11-13T17:44:28.833" v="381" actId="47"/>
        <pc:sldMkLst>
          <pc:docMk/>
          <pc:sldMk cId="526311112" sldId="804"/>
        </pc:sldMkLst>
      </pc:sldChg>
      <pc:sldChg chg="modSp add del mod">
        <pc:chgData name="Hasan Senol Coskun" userId="88cd95f7b86daa2f" providerId="LiveId" clId="{0A1DC79D-782D-493E-B89A-90325507C91B}" dt="2020-11-13T17:44:28.505" v="380" actId="47"/>
        <pc:sldMkLst>
          <pc:docMk/>
          <pc:sldMk cId="1714514038" sldId="805"/>
        </pc:sldMkLst>
        <pc:spChg chg="mod">
          <ac:chgData name="Hasan Senol Coskun" userId="88cd95f7b86daa2f" providerId="LiveId" clId="{0A1DC79D-782D-493E-B89A-90325507C91B}" dt="2020-11-13T17:41:15.516" v="267" actId="14100"/>
          <ac:spMkLst>
            <pc:docMk/>
            <pc:sldMk cId="1714514038" sldId="805"/>
            <ac:spMk id="14" creationId="{6091807E-A86E-4050-A27D-EB300A92A264}"/>
          </ac:spMkLst>
        </pc:spChg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3603502029" sldId="807"/>
        </pc:sldMkLst>
      </pc:sldChg>
      <pc:sldChg chg="add del">
        <pc:chgData name="Hasan Senol Coskun" userId="88cd95f7b86daa2f" providerId="LiveId" clId="{0A1DC79D-782D-493E-B89A-90325507C91B}" dt="2020-11-10T20:36:06.210" v="58" actId="47"/>
        <pc:sldMkLst>
          <pc:docMk/>
          <pc:sldMk cId="3802910064" sldId="808"/>
        </pc:sldMkLst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2625125337" sldId="814"/>
        </pc:sldMkLst>
        <pc:spChg chg="mod">
          <ac:chgData name="Hasan Senol Coskun" userId="88cd95f7b86daa2f" providerId="LiveId" clId="{0A1DC79D-782D-493E-B89A-90325507C91B}" dt="2020-11-10T20:28:10.005" v="37" actId="27636"/>
          <ac:spMkLst>
            <pc:docMk/>
            <pc:sldMk cId="2625125337" sldId="814"/>
            <ac:spMk id="7" creationId="{00000000-0000-0000-0000-000000000000}"/>
          </ac:spMkLst>
        </pc:spChg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1130479974" sldId="821"/>
        </pc:sldMkLst>
        <pc:spChg chg="mod">
          <ac:chgData name="Hasan Senol Coskun" userId="88cd95f7b86daa2f" providerId="LiveId" clId="{0A1DC79D-782D-493E-B89A-90325507C91B}" dt="2020-11-10T20:28:09.981" v="36" actId="27636"/>
          <ac:spMkLst>
            <pc:docMk/>
            <pc:sldMk cId="1130479974" sldId="821"/>
            <ac:spMk id="33795" creationId="{00000000-0000-0000-0000-000000000000}"/>
          </ac:spMkLst>
        </pc:spChg>
      </pc:sldChg>
      <pc:sldChg chg="del">
        <pc:chgData name="Hasan Senol Coskun" userId="88cd95f7b86daa2f" providerId="LiveId" clId="{0A1DC79D-782D-493E-B89A-90325507C91B}" dt="2020-11-11T18:35:17.394" v="66" actId="47"/>
        <pc:sldMkLst>
          <pc:docMk/>
          <pc:sldMk cId="0" sldId="833"/>
        </pc:sldMkLst>
      </pc:sldChg>
      <pc:sldChg chg="modSp add del">
        <pc:chgData name="Hasan Senol Coskun" userId="88cd95f7b86daa2f" providerId="LiveId" clId="{0A1DC79D-782D-493E-B89A-90325507C91B}" dt="2020-11-14T06:25:50.355" v="3255" actId="1076"/>
        <pc:sldMkLst>
          <pc:docMk/>
          <pc:sldMk cId="0" sldId="838"/>
        </pc:sldMkLst>
        <pc:picChg chg="mod">
          <ac:chgData name="Hasan Senol Coskun" userId="88cd95f7b86daa2f" providerId="LiveId" clId="{0A1DC79D-782D-493E-B89A-90325507C91B}" dt="2020-11-14T06:25:50.355" v="3255" actId="1076"/>
          <ac:picMkLst>
            <pc:docMk/>
            <pc:sldMk cId="0" sldId="838"/>
            <ac:picMk id="36867" creationId="{6E6066D2-7809-4BC5-A432-D7EC44656A51}"/>
          </ac:picMkLst>
        </pc:picChg>
        <pc:picChg chg="mod">
          <ac:chgData name="Hasan Senol Coskun" userId="88cd95f7b86daa2f" providerId="LiveId" clId="{0A1DC79D-782D-493E-B89A-90325507C91B}" dt="2020-11-14T06:25:12.015" v="3254" actId="14100"/>
          <ac:picMkLst>
            <pc:docMk/>
            <pc:sldMk cId="0" sldId="838"/>
            <ac:picMk id="36868" creationId="{8221860B-3A92-48F9-A717-4BEEBE92FC40}"/>
          </ac:picMkLst>
        </pc:picChg>
      </pc:sldChg>
      <pc:sldChg chg="add del">
        <pc:chgData name="Hasan Senol Coskun" userId="88cd95f7b86daa2f" providerId="LiveId" clId="{0A1DC79D-782D-493E-B89A-90325507C91B}" dt="2020-11-11T18:37:34.199" v="118" actId="47"/>
        <pc:sldMkLst>
          <pc:docMk/>
          <pc:sldMk cId="398379976" sldId="860"/>
        </pc:sldMkLst>
      </pc:sldChg>
      <pc:sldChg chg="add del">
        <pc:chgData name="Hasan Senol Coskun" userId="88cd95f7b86daa2f" providerId="LiveId" clId="{0A1DC79D-782D-493E-B89A-90325507C91B}" dt="2020-11-11T18:37:28.889" v="114" actId="47"/>
        <pc:sldMkLst>
          <pc:docMk/>
          <pc:sldMk cId="2618774363" sldId="920"/>
        </pc:sldMkLst>
      </pc:sldChg>
      <pc:sldChg chg="add del">
        <pc:chgData name="Hasan Senol Coskun" userId="88cd95f7b86daa2f" providerId="LiveId" clId="{0A1DC79D-782D-493E-B89A-90325507C91B}" dt="2020-11-13T17:42:23.056" v="307" actId="47"/>
        <pc:sldMkLst>
          <pc:docMk/>
          <pc:sldMk cId="3127737050" sldId="1054"/>
        </pc:sldMkLst>
      </pc:sldChg>
      <pc:sldChg chg="modSp add del">
        <pc:chgData name="Hasan Senol Coskun" userId="88cd95f7b86daa2f" providerId="LiveId" clId="{0A1DC79D-782D-493E-B89A-90325507C91B}" dt="2020-11-13T17:41:47.121" v="275" actId="47"/>
        <pc:sldMkLst>
          <pc:docMk/>
          <pc:sldMk cId="2490346732" sldId="1093"/>
        </pc:sldMkLst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5" creationId="{E1DBEEA3-A0E0-4E62-A472-BD8862AE1042}"/>
          </ac:spMkLst>
        </pc:spChg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7" creationId="{E861A24E-6FC6-4B2E-BC7E-2D5D270C44C3}"/>
          </ac:spMkLst>
        </pc:spChg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8" creationId="{0DB1CBDF-9163-451E-A6AA-C5C49D793ABB}"/>
          </ac:spMkLst>
        </pc:spChg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13" creationId="{5E281347-7159-44DE-97AC-302EDF278084}"/>
          </ac:spMkLst>
        </pc:spChg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14" creationId="{A31A2D16-498A-4169-A143-2DDC1E330E99}"/>
          </ac:spMkLst>
        </pc:spChg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15" creationId="{6D1A9D3C-0C97-4EC5-999F-D7C327655B4A}"/>
          </ac:spMkLst>
        </pc:spChg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19" creationId="{03C2F343-1867-4106-B049-73A865850494}"/>
          </ac:spMkLst>
        </pc:spChg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22" creationId="{4A4D2D6F-C31C-405B-ADAF-68F1482D9E4B}"/>
          </ac:spMkLst>
        </pc:spChg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24" creationId="{20BF9AAE-FA46-4629-915A-43E0FC96F2D0}"/>
          </ac:spMkLst>
        </pc:spChg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32" creationId="{CBC43339-8D9B-4197-88D8-A89391A1D5DA}"/>
          </ac:spMkLst>
        </pc:spChg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34" creationId="{8DE5AB0C-7596-4D95-AC13-AF7CD56012F0}"/>
          </ac:spMkLst>
        </pc:spChg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36" creationId="{BF9E5C4D-56A2-4253-9EC0-9F01012BEE4B}"/>
          </ac:spMkLst>
        </pc:spChg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38" creationId="{3DF0F644-0F22-41E3-B833-ABEB1D83F64B}"/>
          </ac:spMkLst>
        </pc:spChg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50" creationId="{D94271FB-5906-4852-9B58-AFF8ACC99723}"/>
          </ac:spMkLst>
        </pc:spChg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51" creationId="{7B44AFB9-E1F6-40AF-991E-0A251A4C921D}"/>
          </ac:spMkLst>
        </pc:spChg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53" creationId="{1ACA3CA3-F0FE-4FE9-A176-1075282142C6}"/>
          </ac:spMkLst>
        </pc:spChg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55" creationId="{03C46503-B0AA-4672-82F2-765F5F2FC2CB}"/>
          </ac:spMkLst>
        </pc:spChg>
        <pc:spChg chg="mod">
          <ac:chgData name="Hasan Senol Coskun" userId="88cd95f7b86daa2f" providerId="LiveId" clId="{0A1DC79D-782D-493E-B89A-90325507C91B}" dt="2020-11-10T20:31:28.156" v="52" actId="207"/>
          <ac:spMkLst>
            <pc:docMk/>
            <pc:sldMk cId="2490346732" sldId="1093"/>
            <ac:spMk id="57" creationId="{BB46F298-EEAE-473E-9A78-88AA3A1C6B96}"/>
          </ac:spMkLst>
        </pc:spChg>
        <pc:grpChg chg="mod">
          <ac:chgData name="Hasan Senol Coskun" userId="88cd95f7b86daa2f" providerId="LiveId" clId="{0A1DC79D-782D-493E-B89A-90325507C91B}" dt="2020-11-10T20:31:28.156" v="52" actId="207"/>
          <ac:grpSpMkLst>
            <pc:docMk/>
            <pc:sldMk cId="2490346732" sldId="1093"/>
            <ac:grpSpMk id="9" creationId="{91393BCC-2EB4-4A18-9284-AF1B25C08318}"/>
          </ac:grpSpMkLst>
        </pc:grpChg>
        <pc:cxnChg chg="mod">
          <ac:chgData name="Hasan Senol Coskun" userId="88cd95f7b86daa2f" providerId="LiveId" clId="{0A1DC79D-782D-493E-B89A-90325507C91B}" dt="2020-11-10T20:31:28.156" v="52" actId="207"/>
          <ac:cxnSpMkLst>
            <pc:docMk/>
            <pc:sldMk cId="2490346732" sldId="1093"/>
            <ac:cxnSpMk id="21" creationId="{580C72D7-E759-423D-8592-E98DCD9FD22F}"/>
          </ac:cxnSpMkLst>
        </pc:cxnChg>
        <pc:cxnChg chg="mod">
          <ac:chgData name="Hasan Senol Coskun" userId="88cd95f7b86daa2f" providerId="LiveId" clId="{0A1DC79D-782D-493E-B89A-90325507C91B}" dt="2020-11-10T20:31:28.156" v="52" actId="207"/>
          <ac:cxnSpMkLst>
            <pc:docMk/>
            <pc:sldMk cId="2490346732" sldId="1093"/>
            <ac:cxnSpMk id="26" creationId="{1B2EE585-CA1E-4C7E-94EA-B867EBC271D2}"/>
          </ac:cxnSpMkLst>
        </pc:cxnChg>
        <pc:cxnChg chg="mod">
          <ac:chgData name="Hasan Senol Coskun" userId="88cd95f7b86daa2f" providerId="LiveId" clId="{0A1DC79D-782D-493E-B89A-90325507C91B}" dt="2020-11-10T20:31:28.156" v="52" actId="207"/>
          <ac:cxnSpMkLst>
            <pc:docMk/>
            <pc:sldMk cId="2490346732" sldId="1093"/>
            <ac:cxnSpMk id="28" creationId="{76333885-D53B-44A1-BB83-0FD1D898BA6B}"/>
          </ac:cxnSpMkLst>
        </pc:cxnChg>
        <pc:cxnChg chg="mod">
          <ac:chgData name="Hasan Senol Coskun" userId="88cd95f7b86daa2f" providerId="LiveId" clId="{0A1DC79D-782D-493E-B89A-90325507C91B}" dt="2020-11-10T20:31:28.156" v="52" actId="207"/>
          <ac:cxnSpMkLst>
            <pc:docMk/>
            <pc:sldMk cId="2490346732" sldId="1093"/>
            <ac:cxnSpMk id="30" creationId="{F83193DA-5C09-44E9-A3C6-13A2D93B4600}"/>
          </ac:cxnSpMkLst>
        </pc:cxnChg>
        <pc:cxnChg chg="mod">
          <ac:chgData name="Hasan Senol Coskun" userId="88cd95f7b86daa2f" providerId="LiveId" clId="{0A1DC79D-782D-493E-B89A-90325507C91B}" dt="2020-11-10T20:31:28.156" v="52" actId="207"/>
          <ac:cxnSpMkLst>
            <pc:docMk/>
            <pc:sldMk cId="2490346732" sldId="1093"/>
            <ac:cxnSpMk id="31" creationId="{0B93D406-9DED-4407-AF6C-024ED5033CB7}"/>
          </ac:cxnSpMkLst>
        </pc:cxnChg>
        <pc:cxnChg chg="mod">
          <ac:chgData name="Hasan Senol Coskun" userId="88cd95f7b86daa2f" providerId="LiveId" clId="{0A1DC79D-782D-493E-B89A-90325507C91B}" dt="2020-11-10T20:31:28.156" v="52" actId="207"/>
          <ac:cxnSpMkLst>
            <pc:docMk/>
            <pc:sldMk cId="2490346732" sldId="1093"/>
            <ac:cxnSpMk id="40" creationId="{0CAC4349-9C5E-4988-8210-32D7EAD82A30}"/>
          </ac:cxnSpMkLst>
        </pc:cxnChg>
        <pc:cxnChg chg="mod">
          <ac:chgData name="Hasan Senol Coskun" userId="88cd95f7b86daa2f" providerId="LiveId" clId="{0A1DC79D-782D-493E-B89A-90325507C91B}" dt="2020-11-10T20:31:28.156" v="52" actId="207"/>
          <ac:cxnSpMkLst>
            <pc:docMk/>
            <pc:sldMk cId="2490346732" sldId="1093"/>
            <ac:cxnSpMk id="42" creationId="{25FA20CF-86CF-4865-863D-C05B8EB9DCC2}"/>
          </ac:cxnSpMkLst>
        </pc:cxnChg>
        <pc:cxnChg chg="mod">
          <ac:chgData name="Hasan Senol Coskun" userId="88cd95f7b86daa2f" providerId="LiveId" clId="{0A1DC79D-782D-493E-B89A-90325507C91B}" dt="2020-11-10T20:31:28.156" v="52" actId="207"/>
          <ac:cxnSpMkLst>
            <pc:docMk/>
            <pc:sldMk cId="2490346732" sldId="1093"/>
            <ac:cxnSpMk id="46" creationId="{4078350B-D1F5-4CEA-9970-96BBD0EB5A32}"/>
          </ac:cxnSpMkLst>
        </pc:cxnChg>
        <pc:cxnChg chg="mod">
          <ac:chgData name="Hasan Senol Coskun" userId="88cd95f7b86daa2f" providerId="LiveId" clId="{0A1DC79D-782D-493E-B89A-90325507C91B}" dt="2020-11-10T20:31:28.156" v="52" actId="207"/>
          <ac:cxnSpMkLst>
            <pc:docMk/>
            <pc:sldMk cId="2490346732" sldId="1093"/>
            <ac:cxnSpMk id="48" creationId="{A5DB1899-78B0-4815-991A-7EEB94131046}"/>
          </ac:cxnSpMkLst>
        </pc:cxnChg>
      </pc:sldChg>
      <pc:sldChg chg="addSp modSp mod ord modAnim">
        <pc:chgData name="Hasan Senol Coskun" userId="88cd95f7b86daa2f" providerId="LiveId" clId="{0A1DC79D-782D-493E-B89A-90325507C91B}" dt="2020-11-13T16:32:53.471" v="266" actId="1076"/>
        <pc:sldMkLst>
          <pc:docMk/>
          <pc:sldMk cId="0" sldId="2039"/>
        </pc:sldMkLst>
        <pc:picChg chg="add mod">
          <ac:chgData name="Hasan Senol Coskun" userId="88cd95f7b86daa2f" providerId="LiveId" clId="{0A1DC79D-782D-493E-B89A-90325507C91B}" dt="2020-11-13T16:32:53.471" v="266" actId="1076"/>
          <ac:picMkLst>
            <pc:docMk/>
            <pc:sldMk cId="0" sldId="2039"/>
            <ac:picMk id="2" creationId="{771F9C93-3804-4BD2-B7B5-9B536DCFF98F}"/>
          </ac:picMkLst>
        </pc:picChg>
      </pc:sldChg>
      <pc:sldChg chg="add del">
        <pc:chgData name="Hasan Senol Coskun" userId="88cd95f7b86daa2f" providerId="LiveId" clId="{0A1DC79D-782D-493E-B89A-90325507C91B}" dt="2020-11-13T17:41:52.823" v="284" actId="47"/>
        <pc:sldMkLst>
          <pc:docMk/>
          <pc:sldMk cId="2623713927" sldId="2089"/>
        </pc:sldMkLst>
      </pc:sldChg>
      <pc:sldChg chg="add del">
        <pc:chgData name="Hasan Senol Coskun" userId="88cd95f7b86daa2f" providerId="LiveId" clId="{0A1DC79D-782D-493E-B89A-90325507C91B}" dt="2020-11-13T17:41:54.265" v="287" actId="47"/>
        <pc:sldMkLst>
          <pc:docMk/>
          <pc:sldMk cId="2224615762" sldId="2096"/>
        </pc:sldMkLst>
      </pc:sldChg>
      <pc:sldChg chg="add del">
        <pc:chgData name="Hasan Senol Coskun" userId="88cd95f7b86daa2f" providerId="LiveId" clId="{0A1DC79D-782D-493E-B89A-90325507C91B}" dt="2020-11-13T17:41:53.342" v="285" actId="47"/>
        <pc:sldMkLst>
          <pc:docMk/>
          <pc:sldMk cId="1278950415" sldId="2099"/>
        </pc:sldMkLst>
      </pc:sldChg>
      <pc:sldChg chg="add del">
        <pc:chgData name="Hasan Senol Coskun" userId="88cd95f7b86daa2f" providerId="LiveId" clId="{0A1DC79D-782D-493E-B89A-90325507C91B}" dt="2020-11-13T17:41:53.873" v="286" actId="47"/>
        <pc:sldMkLst>
          <pc:docMk/>
          <pc:sldMk cId="318834300" sldId="2101"/>
        </pc:sldMkLst>
      </pc:sldChg>
      <pc:sldChg chg="add del">
        <pc:chgData name="Hasan Senol Coskun" userId="88cd95f7b86daa2f" providerId="LiveId" clId="{0A1DC79D-782D-493E-B89A-90325507C91B}" dt="2020-11-11T18:37:30.801" v="116" actId="47"/>
        <pc:sldMkLst>
          <pc:docMk/>
          <pc:sldMk cId="3872367407" sldId="2106"/>
        </pc:sldMkLst>
      </pc:sldChg>
      <pc:sldChg chg="del">
        <pc:chgData name="Hasan Senol Coskun" userId="88cd95f7b86daa2f" providerId="LiveId" clId="{0A1DC79D-782D-493E-B89A-90325507C91B}" dt="2020-11-11T18:35:22.365" v="71" actId="47"/>
        <pc:sldMkLst>
          <pc:docMk/>
          <pc:sldMk cId="0" sldId="2107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2120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2121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2122"/>
        </pc:sldMkLst>
      </pc:sldChg>
      <pc:sldChg chg="del">
        <pc:chgData name="Hasan Senol Coskun" userId="88cd95f7b86daa2f" providerId="LiveId" clId="{0A1DC79D-782D-493E-B89A-90325507C91B}" dt="2020-11-11T18:37:21.025" v="112" actId="47"/>
        <pc:sldMkLst>
          <pc:docMk/>
          <pc:sldMk cId="0" sldId="2123"/>
        </pc:sldMkLst>
      </pc:sldChg>
      <pc:sldChg chg="addSp modSp add mod">
        <pc:chgData name="Hasan Senol Coskun" userId="88cd95f7b86daa2f" providerId="LiveId" clId="{0A1DC79D-782D-493E-B89A-90325507C91B}" dt="2020-11-14T08:24:41.860" v="3674" actId="692"/>
        <pc:sldMkLst>
          <pc:docMk/>
          <pc:sldMk cId="1388701276" sldId="2127"/>
        </pc:sldMkLst>
        <pc:spChg chg="mod">
          <ac:chgData name="Hasan Senol Coskun" userId="88cd95f7b86daa2f" providerId="LiveId" clId="{0A1DC79D-782D-493E-B89A-90325507C91B}" dt="2020-11-14T08:23:48.697" v="3666" actId="692"/>
          <ac:spMkLst>
            <pc:docMk/>
            <pc:sldMk cId="1388701276" sldId="2127"/>
            <ac:spMk id="3" creationId="{00000000-0000-0000-0000-000000000000}"/>
          </ac:spMkLst>
        </pc:spChg>
        <pc:spChg chg="add mod">
          <ac:chgData name="Hasan Senol Coskun" userId="88cd95f7b86daa2f" providerId="LiveId" clId="{0A1DC79D-782D-493E-B89A-90325507C91B}" dt="2020-11-14T08:11:34.300" v="3610" actId="1076"/>
          <ac:spMkLst>
            <pc:docMk/>
            <pc:sldMk cId="1388701276" sldId="2127"/>
            <ac:spMk id="4" creationId="{DBC505A9-80C8-4917-8301-48A04C8CA31D}"/>
          </ac:spMkLst>
        </pc:spChg>
        <pc:spChg chg="mod">
          <ac:chgData name="Hasan Senol Coskun" userId="88cd95f7b86daa2f" providerId="LiveId" clId="{0A1DC79D-782D-493E-B89A-90325507C91B}" dt="2020-11-14T08:23:48.697" v="3666" actId="692"/>
          <ac:spMkLst>
            <pc:docMk/>
            <pc:sldMk cId="1388701276" sldId="2127"/>
            <ac:spMk id="5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4T08:23:48.697" v="3666" actId="692"/>
          <ac:spMkLst>
            <pc:docMk/>
            <pc:sldMk cId="1388701276" sldId="2127"/>
            <ac:spMk id="6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4T08:24:41.860" v="3674" actId="692"/>
          <ac:spMkLst>
            <pc:docMk/>
            <pc:sldMk cId="1388701276" sldId="2127"/>
            <ac:spMk id="7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38:54.363" v="127" actId="207"/>
          <ac:spMkLst>
            <pc:docMk/>
            <pc:sldMk cId="1388701276" sldId="2127"/>
            <ac:spMk id="8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4T08:21:16.436" v="3621" actId="20577"/>
          <ac:spMkLst>
            <pc:docMk/>
            <pc:sldMk cId="1388701276" sldId="2127"/>
            <ac:spMk id="11" creationId="{01F7FDAF-D4BA-405C-8FFD-D24A4554B4B6}"/>
          </ac:spMkLst>
        </pc:spChg>
        <pc:spChg chg="mod">
          <ac:chgData name="Hasan Senol Coskun" userId="88cd95f7b86daa2f" providerId="LiveId" clId="{0A1DC79D-782D-493E-B89A-90325507C91B}" dt="2020-11-14T08:22:59.109" v="3664" actId="1035"/>
          <ac:spMkLst>
            <pc:docMk/>
            <pc:sldMk cId="1388701276" sldId="2127"/>
            <ac:spMk id="12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4T08:22:17.548" v="3639" actId="1037"/>
          <ac:spMkLst>
            <pc:docMk/>
            <pc:sldMk cId="1388701276" sldId="2127"/>
            <ac:spMk id="16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4T08:22:07.090" v="3633" actId="1038"/>
          <ac:spMkLst>
            <pc:docMk/>
            <pc:sldMk cId="1388701276" sldId="2127"/>
            <ac:spMk id="17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4T08:22:31.617" v="3646" actId="1038"/>
          <ac:spMkLst>
            <pc:docMk/>
            <pc:sldMk cId="1388701276" sldId="2127"/>
            <ac:spMk id="18" creationId="{00000000-0000-0000-0000-000000000000}"/>
          </ac:spMkLst>
        </pc:spChg>
        <pc:cxnChg chg="mod">
          <ac:chgData name="Hasan Senol Coskun" userId="88cd95f7b86daa2f" providerId="LiveId" clId="{0A1DC79D-782D-493E-B89A-90325507C91B}" dt="2020-11-14T08:22:17.548" v="3639" actId="1037"/>
          <ac:cxnSpMkLst>
            <pc:docMk/>
            <pc:sldMk cId="1388701276" sldId="2127"/>
            <ac:cxnSpMk id="14" creationId="{00000000-0000-0000-0000-000000000000}"/>
          </ac:cxnSpMkLst>
        </pc:cxnChg>
        <pc:cxnChg chg="mod">
          <ac:chgData name="Hasan Senol Coskun" userId="88cd95f7b86daa2f" providerId="LiveId" clId="{0A1DC79D-782D-493E-B89A-90325507C91B}" dt="2020-11-14T08:22:31.617" v="3646" actId="1038"/>
          <ac:cxnSpMkLst>
            <pc:docMk/>
            <pc:sldMk cId="1388701276" sldId="2127"/>
            <ac:cxnSpMk id="23" creationId="{00000000-0000-0000-0000-000000000000}"/>
          </ac:cxnSpMkLst>
        </pc:cxnChg>
        <pc:cxnChg chg="mod">
          <ac:chgData name="Hasan Senol Coskun" userId="88cd95f7b86daa2f" providerId="LiveId" clId="{0A1DC79D-782D-493E-B89A-90325507C91B}" dt="2020-11-14T08:22:07.090" v="3633" actId="1038"/>
          <ac:cxnSpMkLst>
            <pc:docMk/>
            <pc:sldMk cId="1388701276" sldId="2127"/>
            <ac:cxnSpMk id="24" creationId="{00000000-0000-0000-0000-000000000000}"/>
          </ac:cxnSpMkLst>
        </pc:cxnChg>
        <pc:cxnChg chg="mod">
          <ac:chgData name="Hasan Senol Coskun" userId="88cd95f7b86daa2f" providerId="LiveId" clId="{0A1DC79D-782D-493E-B89A-90325507C91B}" dt="2020-11-14T08:22:59.109" v="3664" actId="1035"/>
          <ac:cxnSpMkLst>
            <pc:docMk/>
            <pc:sldMk cId="1388701276" sldId="2127"/>
            <ac:cxnSpMk id="33" creationId="{00000000-0000-0000-0000-000000000000}"/>
          </ac:cxnSpMkLst>
        </pc:cxnChg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2197116326" sldId="2128"/>
        </pc:sldMkLst>
        <pc:spChg chg="mod">
          <ac:chgData name="Hasan Senol Coskun" userId="88cd95f7b86daa2f" providerId="LiveId" clId="{0A1DC79D-782D-493E-B89A-90325507C91B}" dt="2020-11-10T20:28:09.791" v="30" actId="27636"/>
          <ac:spMkLst>
            <pc:docMk/>
            <pc:sldMk cId="2197116326" sldId="2128"/>
            <ac:spMk id="6" creationId="{285E5D15-3B91-429F-8E2F-1EC9D5D56651}"/>
          </ac:spMkLst>
        </pc:spChg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1776221965" sldId="2130"/>
        </pc:sldMkLst>
        <pc:spChg chg="mod">
          <ac:chgData name="Hasan Senol Coskun" userId="88cd95f7b86daa2f" providerId="LiveId" clId="{0A1DC79D-782D-493E-B89A-90325507C91B}" dt="2020-11-10T20:28:09.871" v="33" actId="27636"/>
          <ac:spMkLst>
            <pc:docMk/>
            <pc:sldMk cId="1776221965" sldId="2130"/>
            <ac:spMk id="6" creationId="{285E5D15-3B91-429F-8E2F-1EC9D5D56651}"/>
          </ac:spMkLst>
        </pc:spChg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3595320192" sldId="2131"/>
        </pc:sldMkLst>
        <pc:spChg chg="mod">
          <ac:chgData name="Hasan Senol Coskun" userId="88cd95f7b86daa2f" providerId="LiveId" clId="{0A1DC79D-782D-493E-B89A-90325507C91B}" dt="2020-11-10T20:28:09.971" v="35" actId="27636"/>
          <ac:spMkLst>
            <pc:docMk/>
            <pc:sldMk cId="3595320192" sldId="2131"/>
            <ac:spMk id="6" creationId="{285E5D15-3B91-429F-8E2F-1EC9D5D56651}"/>
          </ac:spMkLst>
        </pc:spChg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3733229870" sldId="2133"/>
        </pc:sldMkLst>
        <pc:spChg chg="mod">
          <ac:chgData name="Hasan Senol Coskun" userId="88cd95f7b86daa2f" providerId="LiveId" clId="{0A1DC79D-782D-493E-B89A-90325507C91B}" dt="2020-11-10T20:28:10.048" v="38" actId="27636"/>
          <ac:spMkLst>
            <pc:docMk/>
            <pc:sldMk cId="3733229870" sldId="2133"/>
            <ac:spMk id="6" creationId="{285E5D15-3B91-429F-8E2F-1EC9D5D56651}"/>
          </ac:spMkLst>
        </pc:spChg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4258639855" sldId="2134"/>
        </pc:sldMkLst>
        <pc:spChg chg="mod">
          <ac:chgData name="Hasan Senol Coskun" userId="88cd95f7b86daa2f" providerId="LiveId" clId="{0A1DC79D-782D-493E-B89A-90325507C91B}" dt="2020-11-10T20:28:10.197" v="44" actId="27636"/>
          <ac:spMkLst>
            <pc:docMk/>
            <pc:sldMk cId="4258639855" sldId="2134"/>
            <ac:spMk id="6" creationId="{285E5D15-3B91-429F-8E2F-1EC9D5D56651}"/>
          </ac:spMkLst>
        </pc:spChg>
      </pc:sldChg>
      <pc:sldChg chg="modSp add del mod">
        <pc:chgData name="Hasan Senol Coskun" userId="88cd95f7b86daa2f" providerId="LiveId" clId="{0A1DC79D-782D-493E-B89A-90325507C91B}" dt="2020-11-10T20:36:06.210" v="58" actId="47"/>
        <pc:sldMkLst>
          <pc:docMk/>
          <pc:sldMk cId="4088714087" sldId="2135"/>
        </pc:sldMkLst>
        <pc:spChg chg="mod">
          <ac:chgData name="Hasan Senol Coskun" userId="88cd95f7b86daa2f" providerId="LiveId" clId="{0A1DC79D-782D-493E-B89A-90325507C91B}" dt="2020-11-10T20:28:10.303" v="47" actId="27636"/>
          <ac:spMkLst>
            <pc:docMk/>
            <pc:sldMk cId="4088714087" sldId="2135"/>
            <ac:spMk id="6" creationId="{285E5D15-3B91-429F-8E2F-1EC9D5D56651}"/>
          </ac:spMkLst>
        </pc:spChg>
      </pc:sldChg>
      <pc:sldChg chg="addSp delSp modSp add del mod">
        <pc:chgData name="Hasan Senol Coskun" userId="88cd95f7b86daa2f" providerId="LiveId" clId="{0A1DC79D-782D-493E-B89A-90325507C91B}" dt="2020-11-14T10:40:20.814" v="4499"/>
        <pc:sldMkLst>
          <pc:docMk/>
          <pc:sldMk cId="1463546715" sldId="2136"/>
        </pc:sldMkLst>
        <pc:spChg chg="del mod">
          <ac:chgData name="Hasan Senol Coskun" userId="88cd95f7b86daa2f" providerId="LiveId" clId="{0A1DC79D-782D-493E-B89A-90325507C91B}" dt="2020-11-13T21:49:56.925" v="2950" actId="12084"/>
          <ac:spMkLst>
            <pc:docMk/>
            <pc:sldMk cId="1463546715" sldId="2136"/>
            <ac:spMk id="5" creationId="{455F4B95-D28F-495C-A8DE-FAADEE0070F6}"/>
          </ac:spMkLst>
        </pc:spChg>
        <pc:graphicFrameChg chg="add mod">
          <ac:chgData name="Hasan Senol Coskun" userId="88cd95f7b86daa2f" providerId="LiveId" clId="{0A1DC79D-782D-493E-B89A-90325507C91B}" dt="2020-11-14T10:40:20.814" v="4499"/>
          <ac:graphicFrameMkLst>
            <pc:docMk/>
            <pc:sldMk cId="1463546715" sldId="2136"/>
            <ac:graphicFrameMk id="2" creationId="{84FAE0CC-6123-4CEF-B58E-7B7FD945AF6A}"/>
          </ac:graphicFrameMkLst>
        </pc:graphicFrameChg>
      </pc:sldChg>
      <pc:sldChg chg="add del">
        <pc:chgData name="Hasan Senol Coskun" userId="88cd95f7b86daa2f" providerId="LiveId" clId="{0A1DC79D-782D-493E-B89A-90325507C91B}" dt="2020-11-11T18:37:29.971" v="115" actId="47"/>
        <pc:sldMkLst>
          <pc:docMk/>
          <pc:sldMk cId="3039440655" sldId="2137"/>
        </pc:sldMkLst>
      </pc:sldChg>
      <pc:sldChg chg="del">
        <pc:chgData name="Hasan Senol Coskun" userId="88cd95f7b86daa2f" providerId="LiveId" clId="{0A1DC79D-782D-493E-B89A-90325507C91B}" dt="2020-11-11T18:35:21.381" v="70" actId="47"/>
        <pc:sldMkLst>
          <pc:docMk/>
          <pc:sldMk cId="0" sldId="2140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2141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2142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2143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2144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2145"/>
        </pc:sldMkLst>
      </pc:sldChg>
      <pc:sldChg chg="addSp delSp modSp mod">
        <pc:chgData name="Hasan Senol Coskun" userId="88cd95f7b86daa2f" providerId="LiveId" clId="{0A1DC79D-782D-493E-B89A-90325507C91B}" dt="2020-11-14T06:24:09.286" v="3250" actId="20577"/>
        <pc:sldMkLst>
          <pc:docMk/>
          <pc:sldMk cId="0" sldId="2146"/>
        </pc:sldMkLst>
        <pc:spChg chg="add mod">
          <ac:chgData name="Hasan Senol Coskun" userId="88cd95f7b86daa2f" providerId="LiveId" clId="{0A1DC79D-782D-493E-B89A-90325507C91B}" dt="2020-11-14T06:23:53.752" v="3249" actId="27636"/>
          <ac:spMkLst>
            <pc:docMk/>
            <pc:sldMk cId="0" sldId="2146"/>
            <ac:spMk id="2" creationId="{96906620-D118-4419-A1DB-6FBF0F909A0D}"/>
          </ac:spMkLst>
        </pc:spChg>
        <pc:spChg chg="add del mod">
          <ac:chgData name="Hasan Senol Coskun" userId="88cd95f7b86daa2f" providerId="LiveId" clId="{0A1DC79D-782D-493E-B89A-90325507C91B}" dt="2020-11-13T21:48:27.919" v="2919" actId="478"/>
          <ac:spMkLst>
            <pc:docMk/>
            <pc:sldMk cId="0" sldId="2146"/>
            <ac:spMk id="2" creationId="{F27976AF-8952-4E8C-AAB5-6BA0E856D86C}"/>
          </ac:spMkLst>
        </pc:spChg>
        <pc:spChg chg="add del mod">
          <ac:chgData name="Hasan Senol Coskun" userId="88cd95f7b86daa2f" providerId="LiveId" clId="{0A1DC79D-782D-493E-B89A-90325507C91B}" dt="2020-11-13T21:48:24.084" v="2916" actId="478"/>
          <ac:spMkLst>
            <pc:docMk/>
            <pc:sldMk cId="0" sldId="2146"/>
            <ac:spMk id="3" creationId="{6FCBAF94-7E24-4287-9AD6-9DC4A265FC56}"/>
          </ac:spMkLst>
        </pc:spChg>
        <pc:spChg chg="add del mod">
          <ac:chgData name="Hasan Senol Coskun" userId="88cd95f7b86daa2f" providerId="LiveId" clId="{0A1DC79D-782D-493E-B89A-90325507C91B}" dt="2020-11-13T21:48:25.136" v="2917" actId="478"/>
          <ac:spMkLst>
            <pc:docMk/>
            <pc:sldMk cId="0" sldId="2146"/>
            <ac:spMk id="4" creationId="{F049EE63-A82C-4732-BB0B-122A8560B284}"/>
          </ac:spMkLst>
        </pc:spChg>
        <pc:spChg chg="add mod">
          <ac:chgData name="Hasan Senol Coskun" userId="88cd95f7b86daa2f" providerId="LiveId" clId="{0A1DC79D-782D-493E-B89A-90325507C91B}" dt="2020-11-14T06:23:29.971" v="3227" actId="1076"/>
          <ac:spMkLst>
            <pc:docMk/>
            <pc:sldMk cId="0" sldId="2146"/>
            <ac:spMk id="5" creationId="{8F82F2EE-2141-4D18-8477-592179E1135D}"/>
          </ac:spMkLst>
        </pc:spChg>
        <pc:spChg chg="del">
          <ac:chgData name="Hasan Senol Coskun" userId="88cd95f7b86daa2f" providerId="LiveId" clId="{0A1DC79D-782D-493E-B89A-90325507C91B}" dt="2020-11-13T16:29:11.902" v="236" actId="478"/>
          <ac:spMkLst>
            <pc:docMk/>
            <pc:sldMk cId="0" sldId="2146"/>
            <ac:spMk id="14" creationId="{44CDAFD2-B46C-465F-8ED1-9279DA9C98EF}"/>
          </ac:spMkLst>
        </pc:spChg>
        <pc:spChg chg="del">
          <ac:chgData name="Hasan Senol Coskun" userId="88cd95f7b86daa2f" providerId="LiveId" clId="{0A1DC79D-782D-493E-B89A-90325507C91B}" dt="2020-11-13T21:48:26.622" v="2918" actId="478"/>
          <ac:spMkLst>
            <pc:docMk/>
            <pc:sldMk cId="0" sldId="2146"/>
            <ac:spMk id="24" creationId="{23E51028-46D8-4EF7-85DD-9CA7A3CCCEE3}"/>
          </ac:spMkLst>
        </pc:spChg>
        <pc:spChg chg="del">
          <ac:chgData name="Hasan Senol Coskun" userId="88cd95f7b86daa2f" providerId="LiveId" clId="{0A1DC79D-782D-493E-B89A-90325507C91B}" dt="2020-11-13T16:30:03.647" v="252" actId="478"/>
          <ac:spMkLst>
            <pc:docMk/>
            <pc:sldMk cId="0" sldId="2146"/>
            <ac:spMk id="25" creationId="{7948E40F-8028-41CC-9859-DC37B0CAFFCE}"/>
          </ac:spMkLst>
        </pc:spChg>
        <pc:spChg chg="del">
          <ac:chgData name="Hasan Senol Coskun" userId="88cd95f7b86daa2f" providerId="LiveId" clId="{0A1DC79D-782D-493E-B89A-90325507C91B}" dt="2020-11-13T16:27:58.936" v="208" actId="478"/>
          <ac:spMkLst>
            <pc:docMk/>
            <pc:sldMk cId="0" sldId="2146"/>
            <ac:spMk id="26" creationId="{451B40F6-CA39-4BF8-867B-DCE2A8D04AF2}"/>
          </ac:spMkLst>
        </pc:spChg>
        <pc:spChg chg="mod">
          <ac:chgData name="Hasan Senol Coskun" userId="88cd95f7b86daa2f" providerId="LiveId" clId="{0A1DC79D-782D-493E-B89A-90325507C91B}" dt="2020-11-14T06:22:54.942" v="3224" actId="20577"/>
          <ac:spMkLst>
            <pc:docMk/>
            <pc:sldMk cId="0" sldId="2146"/>
            <ac:spMk id="21506" creationId="{B3325570-4C0A-4235-B3BF-51B3146A6B6A}"/>
          </ac:spMkLst>
        </pc:spChg>
        <pc:graphicFrameChg chg="mod">
          <ac:chgData name="Hasan Senol Coskun" userId="88cd95f7b86daa2f" providerId="LiveId" clId="{0A1DC79D-782D-493E-B89A-90325507C91B}" dt="2020-11-14T06:24:09.286" v="3250" actId="20577"/>
          <ac:graphicFrameMkLst>
            <pc:docMk/>
            <pc:sldMk cId="0" sldId="2146"/>
            <ac:graphicFrameMk id="8" creationId="{938B2B5E-597C-48F3-8125-A0CB8904B307}"/>
          </ac:graphicFrameMkLst>
        </pc:graphicFrameChg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2147"/>
        </pc:sldMkLst>
      </pc:sldChg>
      <pc:sldChg chg="del">
        <pc:chgData name="Hasan Senol Coskun" userId="88cd95f7b86daa2f" providerId="LiveId" clId="{0A1DC79D-782D-493E-B89A-90325507C91B}" dt="2020-11-10T20:34:06.412" v="56" actId="47"/>
        <pc:sldMkLst>
          <pc:docMk/>
          <pc:sldMk cId="0" sldId="2161"/>
        </pc:sldMkLst>
      </pc:sldChg>
      <pc:sldChg chg="del">
        <pc:chgData name="Hasan Senol Coskun" userId="88cd95f7b86daa2f" providerId="LiveId" clId="{0A1DC79D-782D-493E-B89A-90325507C91B}" dt="2020-11-11T18:35:19.533" v="68" actId="47"/>
        <pc:sldMkLst>
          <pc:docMk/>
          <pc:sldMk cId="0" sldId="2162"/>
        </pc:sldMkLst>
      </pc:sldChg>
      <pc:sldChg chg="del">
        <pc:chgData name="Hasan Senol Coskun" userId="88cd95f7b86daa2f" providerId="LiveId" clId="{0A1DC79D-782D-493E-B89A-90325507C91B}" dt="2020-11-11T18:35:20.220" v="69" actId="47"/>
        <pc:sldMkLst>
          <pc:docMk/>
          <pc:sldMk cId="0" sldId="2163"/>
        </pc:sldMkLst>
      </pc:sldChg>
      <pc:sldChg chg="add del">
        <pc:chgData name="Hasan Senol Coskun" userId="88cd95f7b86daa2f" providerId="LiveId" clId="{0A1DC79D-782D-493E-B89A-90325507C91B}" dt="2020-11-11T18:37:26.633" v="113" actId="47"/>
        <pc:sldMkLst>
          <pc:docMk/>
          <pc:sldMk cId="786868797" sldId="2164"/>
        </pc:sldMkLst>
      </pc:sldChg>
      <pc:sldChg chg="add del">
        <pc:chgData name="Hasan Senol Coskun" userId="88cd95f7b86daa2f" providerId="LiveId" clId="{0A1DC79D-782D-493E-B89A-90325507C91B}" dt="2020-11-11T18:37:33.302" v="117" actId="47"/>
        <pc:sldMkLst>
          <pc:docMk/>
          <pc:sldMk cId="3023374735" sldId="2165"/>
        </pc:sldMkLst>
      </pc:sldChg>
      <pc:sldChg chg="add del">
        <pc:chgData name="Hasan Senol Coskun" userId="88cd95f7b86daa2f" providerId="LiveId" clId="{0A1DC79D-782D-493E-B89A-90325507C91B}" dt="2020-11-13T16:28:29.950" v="217" actId="47"/>
        <pc:sldMkLst>
          <pc:docMk/>
          <pc:sldMk cId="2539613333" sldId="2166"/>
        </pc:sldMkLst>
      </pc:sldChg>
      <pc:sldChg chg="add del">
        <pc:chgData name="Hasan Senol Coskun" userId="88cd95f7b86daa2f" providerId="LiveId" clId="{0A1DC79D-782D-493E-B89A-90325507C91B}" dt="2020-11-11T18:39:19.523" v="128" actId="47"/>
        <pc:sldMkLst>
          <pc:docMk/>
          <pc:sldMk cId="2788938279" sldId="2167"/>
        </pc:sldMkLst>
      </pc:sldChg>
      <pc:sldChg chg="add del">
        <pc:chgData name="Hasan Senol Coskun" userId="88cd95f7b86daa2f" providerId="LiveId" clId="{0A1DC79D-782D-493E-B89A-90325507C91B}" dt="2020-11-11T18:39:21.142" v="129" actId="47"/>
        <pc:sldMkLst>
          <pc:docMk/>
          <pc:sldMk cId="1761212421" sldId="2168"/>
        </pc:sldMkLst>
      </pc:sldChg>
      <pc:sldChg chg="add del">
        <pc:chgData name="Hasan Senol Coskun" userId="88cd95f7b86daa2f" providerId="LiveId" clId="{0A1DC79D-782D-493E-B89A-90325507C91B}" dt="2020-11-11T18:39:22.814" v="130" actId="47"/>
        <pc:sldMkLst>
          <pc:docMk/>
          <pc:sldMk cId="3617206041" sldId="2169"/>
        </pc:sldMkLst>
      </pc:sldChg>
      <pc:sldChg chg="add del">
        <pc:chgData name="Hasan Senol Coskun" userId="88cd95f7b86daa2f" providerId="LiveId" clId="{0A1DC79D-782D-493E-B89A-90325507C91B}" dt="2020-11-11T18:39:24.330" v="131" actId="47"/>
        <pc:sldMkLst>
          <pc:docMk/>
          <pc:sldMk cId="238543802" sldId="2170"/>
        </pc:sldMkLst>
      </pc:sldChg>
      <pc:sldChg chg="add del">
        <pc:chgData name="Hasan Senol Coskun" userId="88cd95f7b86daa2f" providerId="LiveId" clId="{0A1DC79D-782D-493E-B89A-90325507C91B}" dt="2020-11-11T18:39:25.116" v="132" actId="47"/>
        <pc:sldMkLst>
          <pc:docMk/>
          <pc:sldMk cId="876160316" sldId="2171"/>
        </pc:sldMkLst>
      </pc:sldChg>
      <pc:sldChg chg="add del">
        <pc:chgData name="Hasan Senol Coskun" userId="88cd95f7b86daa2f" providerId="LiveId" clId="{0A1DC79D-782D-493E-B89A-90325507C91B}" dt="2020-11-11T18:39:35.858" v="133" actId="47"/>
        <pc:sldMkLst>
          <pc:docMk/>
          <pc:sldMk cId="1143724130" sldId="2172"/>
        </pc:sldMkLst>
      </pc:sldChg>
      <pc:sldChg chg="addSp delSp modSp add del mod chgLayout">
        <pc:chgData name="Hasan Senol Coskun" userId="88cd95f7b86daa2f" providerId="LiveId" clId="{0A1DC79D-782D-493E-B89A-90325507C91B}" dt="2020-11-13T17:48:14.579" v="414" actId="47"/>
        <pc:sldMkLst>
          <pc:docMk/>
          <pc:sldMk cId="2221986497" sldId="2173"/>
        </pc:sldMkLst>
        <pc:spChg chg="del mod ord">
          <ac:chgData name="Hasan Senol Coskun" userId="88cd95f7b86daa2f" providerId="LiveId" clId="{0A1DC79D-782D-493E-B89A-90325507C91B}" dt="2020-11-11T18:42:15.215" v="176" actId="478"/>
          <ac:spMkLst>
            <pc:docMk/>
            <pc:sldMk cId="2221986497" sldId="2173"/>
            <ac:spMk id="2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41:07.536" v="143" actId="1076"/>
          <ac:spMkLst>
            <pc:docMk/>
            <pc:sldMk cId="2221986497" sldId="2173"/>
            <ac:spMk id="3" creationId="{4B0F536B-CD5E-49A8-8C73-4E70DC9E1067}"/>
          </ac:spMkLst>
        </pc:spChg>
        <pc:spChg chg="add mod">
          <ac:chgData name="Hasan Senol Coskun" userId="88cd95f7b86daa2f" providerId="LiveId" clId="{0A1DC79D-782D-493E-B89A-90325507C91B}" dt="2020-11-11T18:41:40.988" v="173" actId="20577"/>
          <ac:spMkLst>
            <pc:docMk/>
            <pc:sldMk cId="2221986497" sldId="2173"/>
            <ac:spMk id="4" creationId="{E659DEDF-F143-4F8B-A1AD-3BF36E7B2347}"/>
          </ac:spMkLst>
        </pc:spChg>
        <pc:spChg chg="mod">
          <ac:chgData name="Hasan Senol Coskun" userId="88cd95f7b86daa2f" providerId="LiveId" clId="{0A1DC79D-782D-493E-B89A-90325507C91B}" dt="2020-11-11T18:42:04.097" v="175" actId="207"/>
          <ac:spMkLst>
            <pc:docMk/>
            <pc:sldMk cId="2221986497" sldId="2173"/>
            <ac:spMk id="47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40:17.562" v="138" actId="1076"/>
          <ac:spMkLst>
            <pc:docMk/>
            <pc:sldMk cId="2221986497" sldId="2173"/>
            <ac:spMk id="56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40:28.667" v="141" actId="1037"/>
          <ac:spMkLst>
            <pc:docMk/>
            <pc:sldMk cId="2221986497" sldId="2173"/>
            <ac:spMk id="58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40:20.851" v="139" actId="1076"/>
          <ac:spMkLst>
            <pc:docMk/>
            <pc:sldMk cId="2221986497" sldId="2173"/>
            <ac:spMk id="65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39:54.628" v="134" actId="207"/>
          <ac:spMkLst>
            <pc:docMk/>
            <pc:sldMk cId="2221986497" sldId="2173"/>
            <ac:spMk id="67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42:04.097" v="175" actId="207"/>
          <ac:spMkLst>
            <pc:docMk/>
            <pc:sldMk cId="2221986497" sldId="2173"/>
            <ac:spMk id="68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40:08.988" v="137" actId="1076"/>
          <ac:spMkLst>
            <pc:docMk/>
            <pc:sldMk cId="2221986497" sldId="2173"/>
            <ac:spMk id="71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42:04.097" v="175" actId="207"/>
          <ac:spMkLst>
            <pc:docMk/>
            <pc:sldMk cId="2221986497" sldId="2173"/>
            <ac:spMk id="90" creationId="{00000000-0000-0000-0000-000000000000}"/>
          </ac:spMkLst>
        </pc:spChg>
        <pc:spChg chg="del mod ord">
          <ac:chgData name="Hasan Senol Coskun" userId="88cd95f7b86daa2f" providerId="LiveId" clId="{0A1DC79D-782D-493E-B89A-90325507C91B}" dt="2020-11-11T18:41:26.970" v="145" actId="478"/>
          <ac:spMkLst>
            <pc:docMk/>
            <pc:sldMk cId="2221986497" sldId="2173"/>
            <ac:spMk id="70658" creationId="{00000000-0000-0000-0000-000000000000}"/>
          </ac:spMkLst>
        </pc:spChg>
      </pc:sldChg>
      <pc:sldChg chg="delSp modSp add del mod">
        <pc:chgData name="Hasan Senol Coskun" userId="88cd95f7b86daa2f" providerId="LiveId" clId="{0A1DC79D-782D-493E-B89A-90325507C91B}" dt="2020-11-13T17:43:00.155" v="312" actId="47"/>
        <pc:sldMkLst>
          <pc:docMk/>
          <pc:sldMk cId="3827313901" sldId="2174"/>
        </pc:sldMkLst>
        <pc:spChg chg="del">
          <ac:chgData name="Hasan Senol Coskun" userId="88cd95f7b86daa2f" providerId="LiveId" clId="{0A1DC79D-782D-493E-B89A-90325507C91B}" dt="2020-11-11T18:42:59.708" v="180" actId="478"/>
          <ac:spMkLst>
            <pc:docMk/>
            <pc:sldMk cId="3827313901" sldId="2174"/>
            <ac:spMk id="70658" creationId="{00000000-0000-0000-0000-000000000000}"/>
          </ac:spMkLst>
        </pc:spChg>
        <pc:grpChg chg="mod">
          <ac:chgData name="Hasan Senol Coskun" userId="88cd95f7b86daa2f" providerId="LiveId" clId="{0A1DC79D-782D-493E-B89A-90325507C91B}" dt="2020-11-11T18:42:53.540" v="179" actId="14100"/>
          <ac:grpSpMkLst>
            <pc:docMk/>
            <pc:sldMk cId="3827313901" sldId="2174"/>
            <ac:grpSpMk id="43" creationId="{00000000-0000-0000-0000-000000000000}"/>
          </ac:grpSpMkLst>
        </pc:grpChg>
      </pc:sldChg>
      <pc:sldChg chg="add del">
        <pc:chgData name="Hasan Senol Coskun" userId="88cd95f7b86daa2f" providerId="LiveId" clId="{0A1DC79D-782D-493E-B89A-90325507C91B}" dt="2020-11-13T17:43:00.702" v="313" actId="47"/>
        <pc:sldMkLst>
          <pc:docMk/>
          <pc:sldMk cId="3477859081" sldId="2175"/>
        </pc:sldMkLst>
      </pc:sldChg>
      <pc:sldChg chg="add del">
        <pc:chgData name="Hasan Senol Coskun" userId="88cd95f7b86daa2f" providerId="LiveId" clId="{0A1DC79D-782D-493E-B89A-90325507C91B}" dt="2020-11-13T17:43:01.157" v="314" actId="47"/>
        <pc:sldMkLst>
          <pc:docMk/>
          <pc:sldMk cId="3002266462" sldId="2176"/>
        </pc:sldMkLst>
      </pc:sldChg>
      <pc:sldChg chg="add del">
        <pc:chgData name="Hasan Senol Coskun" userId="88cd95f7b86daa2f" providerId="LiveId" clId="{0A1DC79D-782D-493E-B89A-90325507C91B}" dt="2020-11-13T17:43:01.599" v="315" actId="47"/>
        <pc:sldMkLst>
          <pc:docMk/>
          <pc:sldMk cId="4286127649" sldId="2177"/>
        </pc:sldMkLst>
      </pc:sldChg>
      <pc:sldChg chg="modSp add del mod">
        <pc:chgData name="Hasan Senol Coskun" userId="88cd95f7b86daa2f" providerId="LiveId" clId="{0A1DC79D-782D-493E-B89A-90325507C91B}" dt="2020-11-11T18:44:44.601" v="184" actId="47"/>
        <pc:sldMkLst>
          <pc:docMk/>
          <pc:sldMk cId="2368231979" sldId="2178"/>
        </pc:sldMkLst>
        <pc:spChg chg="mod">
          <ac:chgData name="Hasan Senol Coskun" userId="88cd95f7b86daa2f" providerId="LiveId" clId="{0A1DC79D-782D-493E-B89A-90325507C91B}" dt="2020-11-11T18:43:47.375" v="181" actId="207"/>
          <ac:spMkLst>
            <pc:docMk/>
            <pc:sldMk cId="2368231979" sldId="2178"/>
            <ac:spMk id="2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43:53.441" v="182" actId="207"/>
          <ac:spMkLst>
            <pc:docMk/>
            <pc:sldMk cId="2368231979" sldId="2178"/>
            <ac:spMk id="18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43:47.375" v="181" actId="207"/>
          <ac:spMkLst>
            <pc:docMk/>
            <pc:sldMk cId="2368231979" sldId="2178"/>
            <ac:spMk id="47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43:47.375" v="181" actId="207"/>
          <ac:spMkLst>
            <pc:docMk/>
            <pc:sldMk cId="2368231979" sldId="2178"/>
            <ac:spMk id="56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43:47.375" v="181" actId="207"/>
          <ac:spMkLst>
            <pc:docMk/>
            <pc:sldMk cId="2368231979" sldId="2178"/>
            <ac:spMk id="58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43:47.375" v="181" actId="207"/>
          <ac:spMkLst>
            <pc:docMk/>
            <pc:sldMk cId="2368231979" sldId="2178"/>
            <ac:spMk id="65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43:47.375" v="181" actId="207"/>
          <ac:spMkLst>
            <pc:docMk/>
            <pc:sldMk cId="2368231979" sldId="2178"/>
            <ac:spMk id="67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43:47.375" v="181" actId="207"/>
          <ac:spMkLst>
            <pc:docMk/>
            <pc:sldMk cId="2368231979" sldId="2178"/>
            <ac:spMk id="71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43:47.375" v="181" actId="207"/>
          <ac:spMkLst>
            <pc:docMk/>
            <pc:sldMk cId="2368231979" sldId="2178"/>
            <ac:spMk id="90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1T18:43:47.375" v="181" actId="207"/>
          <ac:spMkLst>
            <pc:docMk/>
            <pc:sldMk cId="2368231979" sldId="2178"/>
            <ac:spMk id="70658" creationId="{00000000-0000-0000-0000-000000000000}"/>
          </ac:spMkLst>
        </pc:spChg>
        <pc:cxnChg chg="mod">
          <ac:chgData name="Hasan Senol Coskun" userId="88cd95f7b86daa2f" providerId="LiveId" clId="{0A1DC79D-782D-493E-B89A-90325507C91B}" dt="2020-11-11T18:43:47.375" v="181" actId="207"/>
          <ac:cxnSpMkLst>
            <pc:docMk/>
            <pc:sldMk cId="2368231979" sldId="2178"/>
            <ac:cxnSpMk id="54" creationId="{00000000-0000-0000-0000-000000000000}"/>
          </ac:cxnSpMkLst>
        </pc:cxnChg>
        <pc:cxnChg chg="mod">
          <ac:chgData name="Hasan Senol Coskun" userId="88cd95f7b86daa2f" providerId="LiveId" clId="{0A1DC79D-782D-493E-B89A-90325507C91B}" dt="2020-11-11T18:43:47.375" v="181" actId="207"/>
          <ac:cxnSpMkLst>
            <pc:docMk/>
            <pc:sldMk cId="2368231979" sldId="2178"/>
            <ac:cxnSpMk id="57" creationId="{00000000-0000-0000-0000-000000000000}"/>
          </ac:cxnSpMkLst>
        </pc:cxnChg>
        <pc:cxnChg chg="mod">
          <ac:chgData name="Hasan Senol Coskun" userId="88cd95f7b86daa2f" providerId="LiveId" clId="{0A1DC79D-782D-493E-B89A-90325507C91B}" dt="2020-11-11T18:43:47.375" v="181" actId="207"/>
          <ac:cxnSpMkLst>
            <pc:docMk/>
            <pc:sldMk cId="2368231979" sldId="2178"/>
            <ac:cxnSpMk id="61" creationId="{00000000-0000-0000-0000-000000000000}"/>
          </ac:cxnSpMkLst>
        </pc:cxnChg>
        <pc:cxnChg chg="mod">
          <ac:chgData name="Hasan Senol Coskun" userId="88cd95f7b86daa2f" providerId="LiveId" clId="{0A1DC79D-782D-493E-B89A-90325507C91B}" dt="2020-11-11T18:43:47.375" v="181" actId="207"/>
          <ac:cxnSpMkLst>
            <pc:docMk/>
            <pc:sldMk cId="2368231979" sldId="2178"/>
            <ac:cxnSpMk id="66" creationId="{00000000-0000-0000-0000-000000000000}"/>
          </ac:cxnSpMkLst>
        </pc:cxnChg>
        <pc:cxnChg chg="mod">
          <ac:chgData name="Hasan Senol Coskun" userId="88cd95f7b86daa2f" providerId="LiveId" clId="{0A1DC79D-782D-493E-B89A-90325507C91B}" dt="2020-11-11T18:43:47.375" v="181" actId="207"/>
          <ac:cxnSpMkLst>
            <pc:docMk/>
            <pc:sldMk cId="2368231979" sldId="2178"/>
            <ac:cxnSpMk id="70" creationId="{00000000-0000-0000-0000-000000000000}"/>
          </ac:cxnSpMkLst>
        </pc:cxnChg>
        <pc:cxnChg chg="mod">
          <ac:chgData name="Hasan Senol Coskun" userId="88cd95f7b86daa2f" providerId="LiveId" clId="{0A1DC79D-782D-493E-B89A-90325507C91B}" dt="2020-11-11T18:43:47.375" v="181" actId="207"/>
          <ac:cxnSpMkLst>
            <pc:docMk/>
            <pc:sldMk cId="2368231979" sldId="2178"/>
            <ac:cxnSpMk id="75" creationId="{00000000-0000-0000-0000-000000000000}"/>
          </ac:cxnSpMkLst>
        </pc:cxnChg>
      </pc:sldChg>
      <pc:sldChg chg="add del">
        <pc:chgData name="Hasan Senol Coskun" userId="88cd95f7b86daa2f" providerId="LiveId" clId="{0A1DC79D-782D-493E-B89A-90325507C91B}" dt="2020-11-11T18:44:26.617" v="183" actId="47"/>
        <pc:sldMkLst>
          <pc:docMk/>
          <pc:sldMk cId="1114210461" sldId="2179"/>
        </pc:sldMkLst>
      </pc:sldChg>
      <pc:sldChg chg="add del">
        <pc:chgData name="Hasan Senol Coskun" userId="88cd95f7b86daa2f" providerId="LiveId" clId="{0A1DC79D-782D-493E-B89A-90325507C91B}" dt="2020-11-11T18:44:46.628" v="185" actId="47"/>
        <pc:sldMkLst>
          <pc:docMk/>
          <pc:sldMk cId="3648627955" sldId="2180"/>
        </pc:sldMkLst>
      </pc:sldChg>
      <pc:sldChg chg="add del">
        <pc:chgData name="Hasan Senol Coskun" userId="88cd95f7b86daa2f" providerId="LiveId" clId="{0A1DC79D-782D-493E-B89A-90325507C91B}" dt="2020-11-11T18:44:48.926" v="186" actId="47"/>
        <pc:sldMkLst>
          <pc:docMk/>
          <pc:sldMk cId="1151738162" sldId="2181"/>
        </pc:sldMkLst>
      </pc:sldChg>
      <pc:sldChg chg="add del">
        <pc:chgData name="Hasan Senol Coskun" userId="88cd95f7b86daa2f" providerId="LiveId" clId="{0A1DC79D-782D-493E-B89A-90325507C91B}" dt="2020-11-11T18:44:52.205" v="187" actId="47"/>
        <pc:sldMkLst>
          <pc:docMk/>
          <pc:sldMk cId="3867325942" sldId="2182"/>
        </pc:sldMkLst>
      </pc:sldChg>
      <pc:sldChg chg="add del">
        <pc:chgData name="Hasan Senol Coskun" userId="88cd95f7b86daa2f" providerId="LiveId" clId="{0A1DC79D-782D-493E-B89A-90325507C91B}" dt="2020-11-11T18:45:00.687" v="188" actId="47"/>
        <pc:sldMkLst>
          <pc:docMk/>
          <pc:sldMk cId="4239042073" sldId="2183"/>
        </pc:sldMkLst>
      </pc:sldChg>
      <pc:sldChg chg="add del">
        <pc:chgData name="Hasan Senol Coskun" userId="88cd95f7b86daa2f" providerId="LiveId" clId="{0A1DC79D-782D-493E-B89A-90325507C91B}" dt="2020-11-11T18:45:02.200" v="189" actId="47"/>
        <pc:sldMkLst>
          <pc:docMk/>
          <pc:sldMk cId="2947123267" sldId="2184"/>
        </pc:sldMkLst>
      </pc:sldChg>
      <pc:sldChg chg="add del">
        <pc:chgData name="Hasan Senol Coskun" userId="88cd95f7b86daa2f" providerId="LiveId" clId="{0A1DC79D-782D-493E-B89A-90325507C91B}" dt="2020-11-11T18:45:07.562" v="190" actId="47"/>
        <pc:sldMkLst>
          <pc:docMk/>
          <pc:sldMk cId="635401564" sldId="2185"/>
        </pc:sldMkLst>
      </pc:sldChg>
      <pc:sldChg chg="add del">
        <pc:chgData name="Hasan Senol Coskun" userId="88cd95f7b86daa2f" providerId="LiveId" clId="{0A1DC79D-782D-493E-B89A-90325507C91B}" dt="2020-11-11T18:45:21.897" v="191" actId="47"/>
        <pc:sldMkLst>
          <pc:docMk/>
          <pc:sldMk cId="3675134527" sldId="2186"/>
        </pc:sldMkLst>
      </pc:sldChg>
      <pc:sldChg chg="add del">
        <pc:chgData name="Hasan Senol Coskun" userId="88cd95f7b86daa2f" providerId="LiveId" clId="{0A1DC79D-782D-493E-B89A-90325507C91B}" dt="2020-11-13T17:43:01.979" v="316" actId="47"/>
        <pc:sldMkLst>
          <pc:docMk/>
          <pc:sldMk cId="271531296" sldId="2187"/>
        </pc:sldMkLst>
      </pc:sldChg>
      <pc:sldChg chg="add del">
        <pc:chgData name="Hasan Senol Coskun" userId="88cd95f7b86daa2f" providerId="LiveId" clId="{0A1DC79D-782D-493E-B89A-90325507C91B}" dt="2020-11-13T17:43:02.532" v="317" actId="47"/>
        <pc:sldMkLst>
          <pc:docMk/>
          <pc:sldMk cId="3204172836" sldId="2188"/>
        </pc:sldMkLst>
      </pc:sldChg>
      <pc:sldChg chg="add del">
        <pc:chgData name="Hasan Senol Coskun" userId="88cd95f7b86daa2f" providerId="LiveId" clId="{0A1DC79D-782D-493E-B89A-90325507C91B}" dt="2020-11-13T17:43:03.021" v="318" actId="47"/>
        <pc:sldMkLst>
          <pc:docMk/>
          <pc:sldMk cId="3364968364" sldId="2189"/>
        </pc:sldMkLst>
      </pc:sldChg>
      <pc:sldChg chg="add del">
        <pc:chgData name="Hasan Senol Coskun" userId="88cd95f7b86daa2f" providerId="LiveId" clId="{0A1DC79D-782D-493E-B89A-90325507C91B}" dt="2020-11-13T17:43:03.591" v="319" actId="47"/>
        <pc:sldMkLst>
          <pc:docMk/>
          <pc:sldMk cId="3730683217" sldId="2190"/>
        </pc:sldMkLst>
      </pc:sldChg>
      <pc:sldChg chg="add del">
        <pc:chgData name="Hasan Senol Coskun" userId="88cd95f7b86daa2f" providerId="LiveId" clId="{0A1DC79D-782D-493E-B89A-90325507C91B}" dt="2020-11-13T17:43:04.003" v="320" actId="47"/>
        <pc:sldMkLst>
          <pc:docMk/>
          <pc:sldMk cId="598006483" sldId="2191"/>
        </pc:sldMkLst>
      </pc:sldChg>
      <pc:sldChg chg="add del">
        <pc:chgData name="Hasan Senol Coskun" userId="88cd95f7b86daa2f" providerId="LiveId" clId="{0A1DC79D-782D-493E-B89A-90325507C91B}" dt="2020-11-13T17:43:04.471" v="321" actId="47"/>
        <pc:sldMkLst>
          <pc:docMk/>
          <pc:sldMk cId="2362364546" sldId="2192"/>
        </pc:sldMkLst>
      </pc:sldChg>
      <pc:sldChg chg="add del">
        <pc:chgData name="Hasan Senol Coskun" userId="88cd95f7b86daa2f" providerId="LiveId" clId="{0A1DC79D-782D-493E-B89A-90325507C91B}" dt="2020-11-13T17:43:04.902" v="322" actId="47"/>
        <pc:sldMkLst>
          <pc:docMk/>
          <pc:sldMk cId="540852248" sldId="2193"/>
        </pc:sldMkLst>
      </pc:sldChg>
      <pc:sldChg chg="add del">
        <pc:chgData name="Hasan Senol Coskun" userId="88cd95f7b86daa2f" providerId="LiveId" clId="{0A1DC79D-782D-493E-B89A-90325507C91B}" dt="2020-11-13T17:43:05.304" v="323" actId="47"/>
        <pc:sldMkLst>
          <pc:docMk/>
          <pc:sldMk cId="1892946244" sldId="2194"/>
        </pc:sldMkLst>
      </pc:sldChg>
      <pc:sldChg chg="add del">
        <pc:chgData name="Hasan Senol Coskun" userId="88cd95f7b86daa2f" providerId="LiveId" clId="{0A1DC79D-782D-493E-B89A-90325507C91B}" dt="2020-11-13T17:43:05.677" v="324" actId="47"/>
        <pc:sldMkLst>
          <pc:docMk/>
          <pc:sldMk cId="3700292176" sldId="2195"/>
        </pc:sldMkLst>
      </pc:sldChg>
      <pc:sldChg chg="add del">
        <pc:chgData name="Hasan Senol Coskun" userId="88cd95f7b86daa2f" providerId="LiveId" clId="{0A1DC79D-782D-493E-B89A-90325507C91B}" dt="2020-11-13T17:43:06.059" v="325" actId="47"/>
        <pc:sldMkLst>
          <pc:docMk/>
          <pc:sldMk cId="2924194322" sldId="2196"/>
        </pc:sldMkLst>
      </pc:sldChg>
      <pc:sldChg chg="add del">
        <pc:chgData name="Hasan Senol Coskun" userId="88cd95f7b86daa2f" providerId="LiveId" clId="{0A1DC79D-782D-493E-B89A-90325507C91B}" dt="2020-11-13T17:43:06.549" v="326" actId="47"/>
        <pc:sldMkLst>
          <pc:docMk/>
          <pc:sldMk cId="3572543655" sldId="2197"/>
        </pc:sldMkLst>
      </pc:sldChg>
      <pc:sldChg chg="add del">
        <pc:chgData name="Hasan Senol Coskun" userId="88cd95f7b86daa2f" providerId="LiveId" clId="{0A1DC79D-782D-493E-B89A-90325507C91B}" dt="2020-11-13T17:43:06.958" v="327" actId="47"/>
        <pc:sldMkLst>
          <pc:docMk/>
          <pc:sldMk cId="780247853" sldId="2198"/>
        </pc:sldMkLst>
      </pc:sldChg>
      <pc:sldChg chg="add del">
        <pc:chgData name="Hasan Senol Coskun" userId="88cd95f7b86daa2f" providerId="LiveId" clId="{0A1DC79D-782D-493E-B89A-90325507C91B}" dt="2020-11-13T17:43:07.449" v="328" actId="47"/>
        <pc:sldMkLst>
          <pc:docMk/>
          <pc:sldMk cId="3963213883" sldId="2199"/>
        </pc:sldMkLst>
      </pc:sldChg>
      <pc:sldChg chg="add del">
        <pc:chgData name="Hasan Senol Coskun" userId="88cd95f7b86daa2f" providerId="LiveId" clId="{0A1DC79D-782D-493E-B89A-90325507C91B}" dt="2020-11-13T17:43:07.942" v="329" actId="47"/>
        <pc:sldMkLst>
          <pc:docMk/>
          <pc:sldMk cId="3865943614" sldId="2200"/>
        </pc:sldMkLst>
      </pc:sldChg>
      <pc:sldChg chg="add del">
        <pc:chgData name="Hasan Senol Coskun" userId="88cd95f7b86daa2f" providerId="LiveId" clId="{0A1DC79D-782D-493E-B89A-90325507C91B}" dt="2020-11-13T17:43:08.757" v="330" actId="47"/>
        <pc:sldMkLst>
          <pc:docMk/>
          <pc:sldMk cId="578738344" sldId="2201"/>
        </pc:sldMkLst>
      </pc:sldChg>
      <pc:sldChg chg="add del">
        <pc:chgData name="Hasan Senol Coskun" userId="88cd95f7b86daa2f" providerId="LiveId" clId="{0A1DC79D-782D-493E-B89A-90325507C91B}" dt="2020-11-13T17:43:09.318" v="331" actId="47"/>
        <pc:sldMkLst>
          <pc:docMk/>
          <pc:sldMk cId="1732017099" sldId="2202"/>
        </pc:sldMkLst>
      </pc:sldChg>
      <pc:sldChg chg="add del">
        <pc:chgData name="Hasan Senol Coskun" userId="88cd95f7b86daa2f" providerId="LiveId" clId="{0A1DC79D-782D-493E-B89A-90325507C91B}" dt="2020-11-13T17:43:10.086" v="332" actId="47"/>
        <pc:sldMkLst>
          <pc:docMk/>
          <pc:sldMk cId="973425696" sldId="2203"/>
        </pc:sldMkLst>
      </pc:sldChg>
      <pc:sldChg chg="add del">
        <pc:chgData name="Hasan Senol Coskun" userId="88cd95f7b86daa2f" providerId="LiveId" clId="{0A1DC79D-782D-493E-B89A-90325507C91B}" dt="2020-11-13T17:43:10.509" v="333" actId="47"/>
        <pc:sldMkLst>
          <pc:docMk/>
          <pc:sldMk cId="3883898458" sldId="2204"/>
        </pc:sldMkLst>
      </pc:sldChg>
      <pc:sldChg chg="add del">
        <pc:chgData name="Hasan Senol Coskun" userId="88cd95f7b86daa2f" providerId="LiveId" clId="{0A1DC79D-782D-493E-B89A-90325507C91B}" dt="2020-11-13T17:43:11.078" v="334" actId="47"/>
        <pc:sldMkLst>
          <pc:docMk/>
          <pc:sldMk cId="1998273671" sldId="2205"/>
        </pc:sldMkLst>
      </pc:sldChg>
      <pc:sldChg chg="add del">
        <pc:chgData name="Hasan Senol Coskun" userId="88cd95f7b86daa2f" providerId="LiveId" clId="{0A1DC79D-782D-493E-B89A-90325507C91B}" dt="2020-11-13T17:43:11.626" v="335" actId="47"/>
        <pc:sldMkLst>
          <pc:docMk/>
          <pc:sldMk cId="920788769" sldId="2206"/>
        </pc:sldMkLst>
      </pc:sldChg>
      <pc:sldChg chg="add del">
        <pc:chgData name="Hasan Senol Coskun" userId="88cd95f7b86daa2f" providerId="LiveId" clId="{0A1DC79D-782D-493E-B89A-90325507C91B}" dt="2020-11-13T17:43:12.093" v="336" actId="47"/>
        <pc:sldMkLst>
          <pc:docMk/>
          <pc:sldMk cId="26705185" sldId="2207"/>
        </pc:sldMkLst>
      </pc:sldChg>
      <pc:sldChg chg="add del">
        <pc:chgData name="Hasan Senol Coskun" userId="88cd95f7b86daa2f" providerId="LiveId" clId="{0A1DC79D-782D-493E-B89A-90325507C91B}" dt="2020-11-13T17:43:12.663" v="337" actId="47"/>
        <pc:sldMkLst>
          <pc:docMk/>
          <pc:sldMk cId="985255548" sldId="2208"/>
        </pc:sldMkLst>
      </pc:sldChg>
      <pc:sldChg chg="add del">
        <pc:chgData name="Hasan Senol Coskun" userId="88cd95f7b86daa2f" providerId="LiveId" clId="{0A1DC79D-782D-493E-B89A-90325507C91B}" dt="2020-11-10T20:32:14.207" v="53" actId="47"/>
        <pc:sldMkLst>
          <pc:docMk/>
          <pc:sldMk cId="3660173857" sldId="2208"/>
        </pc:sldMkLst>
      </pc:sldChg>
      <pc:sldChg chg="add del">
        <pc:chgData name="Hasan Senol Coskun" userId="88cd95f7b86daa2f" providerId="LiveId" clId="{0A1DC79D-782D-493E-B89A-90325507C91B}" dt="2020-11-13T17:43:13.218" v="338" actId="47"/>
        <pc:sldMkLst>
          <pc:docMk/>
          <pc:sldMk cId="1878899616" sldId="2209"/>
        </pc:sldMkLst>
      </pc:sldChg>
      <pc:sldChg chg="add del">
        <pc:chgData name="Hasan Senol Coskun" userId="88cd95f7b86daa2f" providerId="LiveId" clId="{0A1DC79D-782D-493E-B89A-90325507C91B}" dt="2020-11-13T17:43:13.764" v="339" actId="47"/>
        <pc:sldMkLst>
          <pc:docMk/>
          <pc:sldMk cId="1134072409" sldId="2210"/>
        </pc:sldMkLst>
      </pc:sldChg>
      <pc:sldChg chg="add del">
        <pc:chgData name="Hasan Senol Coskun" userId="88cd95f7b86daa2f" providerId="LiveId" clId="{0A1DC79D-782D-493E-B89A-90325507C91B}" dt="2020-11-13T17:43:14.322" v="340" actId="47"/>
        <pc:sldMkLst>
          <pc:docMk/>
          <pc:sldMk cId="3831310655" sldId="2211"/>
        </pc:sldMkLst>
      </pc:sldChg>
      <pc:sldChg chg="add del">
        <pc:chgData name="Hasan Senol Coskun" userId="88cd95f7b86daa2f" providerId="LiveId" clId="{0A1DC79D-782D-493E-B89A-90325507C91B}" dt="2020-11-13T17:43:15.228" v="341" actId="47"/>
        <pc:sldMkLst>
          <pc:docMk/>
          <pc:sldMk cId="1170771589" sldId="2212"/>
        </pc:sldMkLst>
      </pc:sldChg>
      <pc:sldChg chg="add del">
        <pc:chgData name="Hasan Senol Coskun" userId="88cd95f7b86daa2f" providerId="LiveId" clId="{0A1DC79D-782D-493E-B89A-90325507C91B}" dt="2020-11-10T20:32:14.207" v="53" actId="47"/>
        <pc:sldMkLst>
          <pc:docMk/>
          <pc:sldMk cId="1244099391" sldId="2212"/>
        </pc:sldMkLst>
      </pc:sldChg>
      <pc:sldChg chg="add del">
        <pc:chgData name="Hasan Senol Coskun" userId="88cd95f7b86daa2f" providerId="LiveId" clId="{0A1DC79D-782D-493E-B89A-90325507C91B}" dt="2020-11-13T17:43:15.805" v="342" actId="47"/>
        <pc:sldMkLst>
          <pc:docMk/>
          <pc:sldMk cId="2931088555" sldId="2213"/>
        </pc:sldMkLst>
      </pc:sldChg>
      <pc:sldChg chg="add del">
        <pc:chgData name="Hasan Senol Coskun" userId="88cd95f7b86daa2f" providerId="LiveId" clId="{0A1DC79D-782D-493E-B89A-90325507C91B}" dt="2020-11-13T17:43:16.436" v="343" actId="47"/>
        <pc:sldMkLst>
          <pc:docMk/>
          <pc:sldMk cId="327136130" sldId="2214"/>
        </pc:sldMkLst>
      </pc:sldChg>
      <pc:sldChg chg="add del">
        <pc:chgData name="Hasan Senol Coskun" userId="88cd95f7b86daa2f" providerId="LiveId" clId="{0A1DC79D-782D-493E-B89A-90325507C91B}" dt="2020-11-13T17:43:17.162" v="344" actId="47"/>
        <pc:sldMkLst>
          <pc:docMk/>
          <pc:sldMk cId="2900557875" sldId="2215"/>
        </pc:sldMkLst>
      </pc:sldChg>
      <pc:sldChg chg="add del">
        <pc:chgData name="Hasan Senol Coskun" userId="88cd95f7b86daa2f" providerId="LiveId" clId="{0A1DC79D-782D-493E-B89A-90325507C91B}" dt="2020-11-13T17:43:17.783" v="345" actId="47"/>
        <pc:sldMkLst>
          <pc:docMk/>
          <pc:sldMk cId="3217869956" sldId="2216"/>
        </pc:sldMkLst>
      </pc:sldChg>
      <pc:sldChg chg="add del">
        <pc:chgData name="Hasan Senol Coskun" userId="88cd95f7b86daa2f" providerId="LiveId" clId="{0A1DC79D-782D-493E-B89A-90325507C91B}" dt="2020-11-13T17:43:20.380" v="346" actId="47"/>
        <pc:sldMkLst>
          <pc:docMk/>
          <pc:sldMk cId="3992325286" sldId="2217"/>
        </pc:sldMkLst>
      </pc:sldChg>
      <pc:sldChg chg="add del">
        <pc:chgData name="Hasan Senol Coskun" userId="88cd95f7b86daa2f" providerId="LiveId" clId="{0A1DC79D-782D-493E-B89A-90325507C91B}" dt="2020-11-13T17:43:21.143" v="347" actId="47"/>
        <pc:sldMkLst>
          <pc:docMk/>
          <pc:sldMk cId="1131029055" sldId="2218"/>
        </pc:sldMkLst>
      </pc:sldChg>
      <pc:sldChg chg="add del">
        <pc:chgData name="Hasan Senol Coskun" userId="88cd95f7b86daa2f" providerId="LiveId" clId="{0A1DC79D-782D-493E-B89A-90325507C91B}" dt="2020-11-13T17:43:21.706" v="348" actId="47"/>
        <pc:sldMkLst>
          <pc:docMk/>
          <pc:sldMk cId="3574677180" sldId="2219"/>
        </pc:sldMkLst>
      </pc:sldChg>
      <pc:sldChg chg="add del">
        <pc:chgData name="Hasan Senol Coskun" userId="88cd95f7b86daa2f" providerId="LiveId" clId="{0A1DC79D-782D-493E-B89A-90325507C91B}" dt="2020-11-13T17:43:22.382" v="349" actId="47"/>
        <pc:sldMkLst>
          <pc:docMk/>
          <pc:sldMk cId="1399900210" sldId="2220"/>
        </pc:sldMkLst>
      </pc:sldChg>
      <pc:sldChg chg="add del">
        <pc:chgData name="Hasan Senol Coskun" userId="88cd95f7b86daa2f" providerId="LiveId" clId="{0A1DC79D-782D-493E-B89A-90325507C91B}" dt="2020-11-13T17:43:23.251" v="350" actId="47"/>
        <pc:sldMkLst>
          <pc:docMk/>
          <pc:sldMk cId="1852741128" sldId="2221"/>
        </pc:sldMkLst>
      </pc:sldChg>
      <pc:sldChg chg="add del">
        <pc:chgData name="Hasan Senol Coskun" userId="88cd95f7b86daa2f" providerId="LiveId" clId="{0A1DC79D-782D-493E-B89A-90325507C91B}" dt="2020-11-13T17:43:24.642" v="351" actId="47"/>
        <pc:sldMkLst>
          <pc:docMk/>
          <pc:sldMk cId="1783427289" sldId="2222"/>
        </pc:sldMkLst>
      </pc:sldChg>
      <pc:sldChg chg="add del">
        <pc:chgData name="Hasan Senol Coskun" userId="88cd95f7b86daa2f" providerId="LiveId" clId="{0A1DC79D-782D-493E-B89A-90325507C91B}" dt="2020-11-13T17:43:25.335" v="352" actId="47"/>
        <pc:sldMkLst>
          <pc:docMk/>
          <pc:sldMk cId="2536870287" sldId="2223"/>
        </pc:sldMkLst>
      </pc:sldChg>
      <pc:sldChg chg="add del">
        <pc:chgData name="Hasan Senol Coskun" userId="88cd95f7b86daa2f" providerId="LiveId" clId="{0A1DC79D-782D-493E-B89A-90325507C91B}" dt="2020-11-13T17:43:29.052" v="353" actId="47"/>
        <pc:sldMkLst>
          <pc:docMk/>
          <pc:sldMk cId="3417137742" sldId="2224"/>
        </pc:sldMkLst>
      </pc:sldChg>
      <pc:sldChg chg="add del">
        <pc:chgData name="Hasan Senol Coskun" userId="88cd95f7b86daa2f" providerId="LiveId" clId="{0A1DC79D-782D-493E-B89A-90325507C91B}" dt="2020-11-13T17:43:29.989" v="354" actId="47"/>
        <pc:sldMkLst>
          <pc:docMk/>
          <pc:sldMk cId="1943674157" sldId="2225"/>
        </pc:sldMkLst>
      </pc:sldChg>
      <pc:sldChg chg="add del">
        <pc:chgData name="Hasan Senol Coskun" userId="88cd95f7b86daa2f" providerId="LiveId" clId="{0A1DC79D-782D-493E-B89A-90325507C91B}" dt="2020-11-13T17:43:31.055" v="355" actId="47"/>
        <pc:sldMkLst>
          <pc:docMk/>
          <pc:sldMk cId="649197678" sldId="2226"/>
        </pc:sldMkLst>
      </pc:sldChg>
      <pc:sldChg chg="add del">
        <pc:chgData name="Hasan Senol Coskun" userId="88cd95f7b86daa2f" providerId="LiveId" clId="{0A1DC79D-782D-493E-B89A-90325507C91B}" dt="2020-11-13T17:43:31.607" v="356" actId="47"/>
        <pc:sldMkLst>
          <pc:docMk/>
          <pc:sldMk cId="2650435354" sldId="2227"/>
        </pc:sldMkLst>
      </pc:sldChg>
      <pc:sldChg chg="add del">
        <pc:chgData name="Hasan Senol Coskun" userId="88cd95f7b86daa2f" providerId="LiveId" clId="{0A1DC79D-782D-493E-B89A-90325507C91B}" dt="2020-11-13T17:43:32.129" v="357" actId="47"/>
        <pc:sldMkLst>
          <pc:docMk/>
          <pc:sldMk cId="239615854" sldId="2228"/>
        </pc:sldMkLst>
      </pc:sldChg>
      <pc:sldChg chg="add del">
        <pc:chgData name="Hasan Senol Coskun" userId="88cd95f7b86daa2f" providerId="LiveId" clId="{0A1DC79D-782D-493E-B89A-90325507C91B}" dt="2020-11-13T17:43:32.705" v="358" actId="47"/>
        <pc:sldMkLst>
          <pc:docMk/>
          <pc:sldMk cId="2257554822" sldId="2229"/>
        </pc:sldMkLst>
      </pc:sldChg>
      <pc:sldChg chg="add del">
        <pc:chgData name="Hasan Senol Coskun" userId="88cd95f7b86daa2f" providerId="LiveId" clId="{0A1DC79D-782D-493E-B89A-90325507C91B}" dt="2020-11-13T17:43:33.287" v="359" actId="47"/>
        <pc:sldMkLst>
          <pc:docMk/>
          <pc:sldMk cId="1410772995" sldId="2230"/>
        </pc:sldMkLst>
      </pc:sldChg>
      <pc:sldChg chg="add del">
        <pc:chgData name="Hasan Senol Coskun" userId="88cd95f7b86daa2f" providerId="LiveId" clId="{0A1DC79D-782D-493E-B89A-90325507C91B}" dt="2020-11-13T17:43:33.818" v="360" actId="47"/>
        <pc:sldMkLst>
          <pc:docMk/>
          <pc:sldMk cId="278692380" sldId="2231"/>
        </pc:sldMkLst>
      </pc:sldChg>
      <pc:sldChg chg="add del">
        <pc:chgData name="Hasan Senol Coskun" userId="88cd95f7b86daa2f" providerId="LiveId" clId="{0A1DC79D-782D-493E-B89A-90325507C91B}" dt="2020-11-13T17:43:34.631" v="361" actId="47"/>
        <pc:sldMkLst>
          <pc:docMk/>
          <pc:sldMk cId="2930093629" sldId="2232"/>
        </pc:sldMkLst>
      </pc:sldChg>
      <pc:sldChg chg="add del">
        <pc:chgData name="Hasan Senol Coskun" userId="88cd95f7b86daa2f" providerId="LiveId" clId="{0A1DC79D-782D-493E-B89A-90325507C91B}" dt="2020-11-13T17:43:35.188" v="362" actId="47"/>
        <pc:sldMkLst>
          <pc:docMk/>
          <pc:sldMk cId="2074958343" sldId="2233"/>
        </pc:sldMkLst>
      </pc:sldChg>
      <pc:sldChg chg="add del">
        <pc:chgData name="Hasan Senol Coskun" userId="88cd95f7b86daa2f" providerId="LiveId" clId="{0A1DC79D-782D-493E-B89A-90325507C91B}" dt="2020-11-13T17:43:36.232" v="363" actId="47"/>
        <pc:sldMkLst>
          <pc:docMk/>
          <pc:sldMk cId="3690348314" sldId="2234"/>
        </pc:sldMkLst>
      </pc:sldChg>
      <pc:sldChg chg="add del">
        <pc:chgData name="Hasan Senol Coskun" userId="88cd95f7b86daa2f" providerId="LiveId" clId="{0A1DC79D-782D-493E-B89A-90325507C91B}" dt="2020-11-13T17:43:37.218" v="364" actId="47"/>
        <pc:sldMkLst>
          <pc:docMk/>
          <pc:sldMk cId="3181596269" sldId="2235"/>
        </pc:sldMkLst>
      </pc:sldChg>
      <pc:sldChg chg="add del">
        <pc:chgData name="Hasan Senol Coskun" userId="88cd95f7b86daa2f" providerId="LiveId" clId="{0A1DC79D-782D-493E-B89A-90325507C91B}" dt="2020-11-13T17:43:37.945" v="365" actId="47"/>
        <pc:sldMkLst>
          <pc:docMk/>
          <pc:sldMk cId="868530907" sldId="2236"/>
        </pc:sldMkLst>
      </pc:sldChg>
      <pc:sldChg chg="add del">
        <pc:chgData name="Hasan Senol Coskun" userId="88cd95f7b86daa2f" providerId="LiveId" clId="{0A1DC79D-782D-493E-B89A-90325507C91B}" dt="2020-11-13T17:43:38.629" v="366" actId="47"/>
        <pc:sldMkLst>
          <pc:docMk/>
          <pc:sldMk cId="2593076756" sldId="2237"/>
        </pc:sldMkLst>
      </pc:sldChg>
      <pc:sldChg chg="add del">
        <pc:chgData name="Hasan Senol Coskun" userId="88cd95f7b86daa2f" providerId="LiveId" clId="{0A1DC79D-782D-493E-B89A-90325507C91B}" dt="2020-11-13T17:43:39.506" v="367" actId="47"/>
        <pc:sldMkLst>
          <pc:docMk/>
          <pc:sldMk cId="645344700" sldId="2238"/>
        </pc:sldMkLst>
      </pc:sldChg>
      <pc:sldChg chg="add del">
        <pc:chgData name="Hasan Senol Coskun" userId="88cd95f7b86daa2f" providerId="LiveId" clId="{0A1DC79D-782D-493E-B89A-90325507C91B}" dt="2020-11-13T17:43:42.096" v="368" actId="47"/>
        <pc:sldMkLst>
          <pc:docMk/>
          <pc:sldMk cId="377541752" sldId="2239"/>
        </pc:sldMkLst>
      </pc:sldChg>
      <pc:sldChg chg="add del">
        <pc:chgData name="Hasan Senol Coskun" userId="88cd95f7b86daa2f" providerId="LiveId" clId="{0A1DC79D-782D-493E-B89A-90325507C91B}" dt="2020-11-13T17:43:42.980" v="369" actId="47"/>
        <pc:sldMkLst>
          <pc:docMk/>
          <pc:sldMk cId="3021569241" sldId="2240"/>
        </pc:sldMkLst>
      </pc:sldChg>
      <pc:sldChg chg="add del">
        <pc:chgData name="Hasan Senol Coskun" userId="88cd95f7b86daa2f" providerId="LiveId" clId="{0A1DC79D-782D-493E-B89A-90325507C91B}" dt="2020-11-13T17:43:43.573" v="370" actId="47"/>
        <pc:sldMkLst>
          <pc:docMk/>
          <pc:sldMk cId="1643496176" sldId="2241"/>
        </pc:sldMkLst>
      </pc:sldChg>
      <pc:sldChg chg="add del">
        <pc:chgData name="Hasan Senol Coskun" userId="88cd95f7b86daa2f" providerId="LiveId" clId="{0A1DC79D-782D-493E-B89A-90325507C91B}" dt="2020-11-13T17:43:44.728" v="371" actId="47"/>
        <pc:sldMkLst>
          <pc:docMk/>
          <pc:sldMk cId="1282109069" sldId="2242"/>
        </pc:sldMkLst>
      </pc:sldChg>
      <pc:sldChg chg="add del">
        <pc:chgData name="Hasan Senol Coskun" userId="88cd95f7b86daa2f" providerId="LiveId" clId="{0A1DC79D-782D-493E-B89A-90325507C91B}" dt="2020-11-13T17:43:47.061" v="372" actId="47"/>
        <pc:sldMkLst>
          <pc:docMk/>
          <pc:sldMk cId="4256434163" sldId="2243"/>
        </pc:sldMkLst>
      </pc:sldChg>
      <pc:sldChg chg="add del">
        <pc:chgData name="Hasan Senol Coskun" userId="88cd95f7b86daa2f" providerId="LiveId" clId="{0A1DC79D-782D-493E-B89A-90325507C91B}" dt="2020-11-13T17:43:48.675" v="373" actId="47"/>
        <pc:sldMkLst>
          <pc:docMk/>
          <pc:sldMk cId="3973857038" sldId="2244"/>
        </pc:sldMkLst>
      </pc:sldChg>
      <pc:sldChg chg="add del">
        <pc:chgData name="Hasan Senol Coskun" userId="88cd95f7b86daa2f" providerId="LiveId" clId="{0A1DC79D-782D-493E-B89A-90325507C91B}" dt="2020-11-13T17:43:49.656" v="374" actId="47"/>
        <pc:sldMkLst>
          <pc:docMk/>
          <pc:sldMk cId="192450018" sldId="2245"/>
        </pc:sldMkLst>
      </pc:sldChg>
      <pc:sldChg chg="add del">
        <pc:chgData name="Hasan Senol Coskun" userId="88cd95f7b86daa2f" providerId="LiveId" clId="{0A1DC79D-782D-493E-B89A-90325507C91B}" dt="2020-11-13T17:43:50.430" v="375" actId="47"/>
        <pc:sldMkLst>
          <pc:docMk/>
          <pc:sldMk cId="1165084739" sldId="2246"/>
        </pc:sldMkLst>
      </pc:sldChg>
      <pc:sldChg chg="add del">
        <pc:chgData name="Hasan Senol Coskun" userId="88cd95f7b86daa2f" providerId="LiveId" clId="{0A1DC79D-782D-493E-B89A-90325507C91B}" dt="2020-11-13T17:41:48.851" v="278" actId="47"/>
        <pc:sldMkLst>
          <pc:docMk/>
          <pc:sldMk cId="3813951599" sldId="2249"/>
        </pc:sldMkLst>
      </pc:sldChg>
      <pc:sldChg chg="add del">
        <pc:chgData name="Hasan Senol Coskun" userId="88cd95f7b86daa2f" providerId="LiveId" clId="{0A1DC79D-782D-493E-B89A-90325507C91B}" dt="2020-11-13T17:42:21.416" v="304" actId="47"/>
        <pc:sldMkLst>
          <pc:docMk/>
          <pc:sldMk cId="4017853856" sldId="2425"/>
        </pc:sldMkLst>
      </pc:sldChg>
      <pc:sldChg chg="add del">
        <pc:chgData name="Hasan Senol Coskun" userId="88cd95f7b86daa2f" providerId="LiveId" clId="{0A1DC79D-782D-493E-B89A-90325507C91B}" dt="2020-11-13T17:42:21.002" v="303" actId="47"/>
        <pc:sldMkLst>
          <pc:docMk/>
          <pc:sldMk cId="2148857533" sldId="2551"/>
        </pc:sldMkLst>
      </pc:sldChg>
      <pc:sldChg chg="add del">
        <pc:chgData name="Hasan Senol Coskun" userId="88cd95f7b86daa2f" providerId="LiveId" clId="{0A1DC79D-782D-493E-B89A-90325507C91B}" dt="2020-11-13T17:42:21.926" v="305" actId="47"/>
        <pc:sldMkLst>
          <pc:docMk/>
          <pc:sldMk cId="3925103589" sldId="2557"/>
        </pc:sldMkLst>
      </pc:sldChg>
      <pc:sldChg chg="add del">
        <pc:chgData name="Hasan Senol Coskun" userId="88cd95f7b86daa2f" providerId="LiveId" clId="{0A1DC79D-782D-493E-B89A-90325507C91B}" dt="2020-11-13T17:42:23.565" v="308" actId="47"/>
        <pc:sldMkLst>
          <pc:docMk/>
          <pc:sldMk cId="2185042711" sldId="2566"/>
        </pc:sldMkLst>
      </pc:sldChg>
      <pc:sldChg chg="add del">
        <pc:chgData name="Hasan Senol Coskun" userId="88cd95f7b86daa2f" providerId="LiveId" clId="{0A1DC79D-782D-493E-B89A-90325507C91B}" dt="2020-11-13T17:42:23.978" v="309" actId="47"/>
        <pc:sldMkLst>
          <pc:docMk/>
          <pc:sldMk cId="2817014107" sldId="2571"/>
        </pc:sldMkLst>
      </pc:sldChg>
      <pc:sldChg chg="add del">
        <pc:chgData name="Hasan Senol Coskun" userId="88cd95f7b86daa2f" providerId="LiveId" clId="{0A1DC79D-782D-493E-B89A-90325507C91B}" dt="2020-11-13T17:42:24.577" v="310" actId="47"/>
        <pc:sldMkLst>
          <pc:docMk/>
          <pc:sldMk cId="2654026061" sldId="2572"/>
        </pc:sldMkLst>
      </pc:sldChg>
      <pc:sldChg chg="add del">
        <pc:chgData name="Hasan Senol Coskun" userId="88cd95f7b86daa2f" providerId="LiveId" clId="{0A1DC79D-782D-493E-B89A-90325507C91B}" dt="2020-11-13T17:42:02.598" v="291" actId="47"/>
        <pc:sldMkLst>
          <pc:docMk/>
          <pc:sldMk cId="3952233328" sldId="2581"/>
        </pc:sldMkLst>
      </pc:sldChg>
      <pc:sldChg chg="add del">
        <pc:chgData name="Hasan Senol Coskun" userId="88cd95f7b86daa2f" providerId="LiveId" clId="{0A1DC79D-782D-493E-B89A-90325507C91B}" dt="2020-11-13T17:41:45.869" v="273" actId="47"/>
        <pc:sldMkLst>
          <pc:docMk/>
          <pc:sldMk cId="584639879" sldId="1747256575"/>
        </pc:sldMkLst>
      </pc:sldChg>
      <pc:sldChg chg="add del">
        <pc:chgData name="Hasan Senol Coskun" userId="88cd95f7b86daa2f" providerId="LiveId" clId="{0A1DC79D-782D-493E-B89A-90325507C91B}" dt="2020-11-13T17:42:16.756" v="294" actId="47"/>
        <pc:sldMkLst>
          <pc:docMk/>
          <pc:sldMk cId="1578333367" sldId="1747256583"/>
        </pc:sldMkLst>
      </pc:sldChg>
      <pc:sldChg chg="add del">
        <pc:chgData name="Hasan Senol Coskun" userId="88cd95f7b86daa2f" providerId="LiveId" clId="{0A1DC79D-782D-493E-B89A-90325507C91B}" dt="2020-11-13T17:42:17.477" v="296" actId="47"/>
        <pc:sldMkLst>
          <pc:docMk/>
          <pc:sldMk cId="2506804645" sldId="1747256588"/>
        </pc:sldMkLst>
      </pc:sldChg>
      <pc:sldChg chg="add del">
        <pc:chgData name="Hasan Senol Coskun" userId="88cd95f7b86daa2f" providerId="LiveId" clId="{0A1DC79D-782D-493E-B89A-90325507C91B}" dt="2020-11-13T17:42:16.299" v="293" actId="47"/>
        <pc:sldMkLst>
          <pc:docMk/>
          <pc:sldMk cId="1030008166" sldId="1747256590"/>
        </pc:sldMkLst>
      </pc:sldChg>
      <pc:sldChg chg="add del">
        <pc:chgData name="Hasan Senol Coskun" userId="88cd95f7b86daa2f" providerId="LiveId" clId="{0A1DC79D-782D-493E-B89A-90325507C91B}" dt="2020-11-13T17:41:46.547" v="274" actId="47"/>
        <pc:sldMkLst>
          <pc:docMk/>
          <pc:sldMk cId="189534730" sldId="1747256592"/>
        </pc:sldMkLst>
      </pc:sldChg>
      <pc:sldChg chg="add del">
        <pc:chgData name="Hasan Senol Coskun" userId="88cd95f7b86daa2f" providerId="LiveId" clId="{0A1DC79D-782D-493E-B89A-90325507C91B}" dt="2020-11-13T17:41:47.742" v="276" actId="47"/>
        <pc:sldMkLst>
          <pc:docMk/>
          <pc:sldMk cId="666424866" sldId="1747256593"/>
        </pc:sldMkLst>
      </pc:sldChg>
      <pc:sldChg chg="add del">
        <pc:chgData name="Hasan Senol Coskun" userId="88cd95f7b86daa2f" providerId="LiveId" clId="{0A1DC79D-782D-493E-B89A-90325507C91B}" dt="2020-11-13T17:42:22.392" v="306" actId="47"/>
        <pc:sldMkLst>
          <pc:docMk/>
          <pc:sldMk cId="3067146888" sldId="1747256594"/>
        </pc:sldMkLst>
      </pc:sldChg>
      <pc:sldChg chg="add del">
        <pc:chgData name="Hasan Senol Coskun" userId="88cd95f7b86daa2f" providerId="LiveId" clId="{0A1DC79D-782D-493E-B89A-90325507C91B}" dt="2020-11-13T17:41:44.767" v="271" actId="47"/>
        <pc:sldMkLst>
          <pc:docMk/>
          <pc:sldMk cId="2704545481" sldId="1747256601"/>
        </pc:sldMkLst>
      </pc:sldChg>
      <pc:sldChg chg="add del">
        <pc:chgData name="Hasan Senol Coskun" userId="88cd95f7b86daa2f" providerId="LiveId" clId="{0A1DC79D-782D-493E-B89A-90325507C91B}" dt="2020-11-10T20:32:14.207" v="53" actId="47"/>
        <pc:sldMkLst>
          <pc:docMk/>
          <pc:sldMk cId="1676052805" sldId="1747256602"/>
        </pc:sldMkLst>
      </pc:sldChg>
      <pc:sldChg chg="add del">
        <pc:chgData name="Hasan Senol Coskun" userId="88cd95f7b86daa2f" providerId="LiveId" clId="{0A1DC79D-782D-493E-B89A-90325507C91B}" dt="2020-11-13T17:41:48.253" v="277" actId="47"/>
        <pc:sldMkLst>
          <pc:docMk/>
          <pc:sldMk cId="3660173857" sldId="1747256602"/>
        </pc:sldMkLst>
      </pc:sldChg>
      <pc:sldChg chg="add del">
        <pc:chgData name="Hasan Senol Coskun" userId="88cd95f7b86daa2f" providerId="LiveId" clId="{0A1DC79D-782D-493E-B89A-90325507C91B}" dt="2020-11-13T17:41:51.134" v="282" actId="47"/>
        <pc:sldMkLst>
          <pc:docMk/>
          <pc:sldMk cId="1244099391" sldId="1747256603"/>
        </pc:sldMkLst>
      </pc:sldChg>
      <pc:sldChg chg="add del">
        <pc:chgData name="Hasan Senol Coskun" userId="88cd95f7b86daa2f" providerId="LiveId" clId="{0A1DC79D-782D-493E-B89A-90325507C91B}" dt="2020-11-10T20:32:14.207" v="53" actId="47"/>
        <pc:sldMkLst>
          <pc:docMk/>
          <pc:sldMk cId="3007309136" sldId="1747256603"/>
        </pc:sldMkLst>
      </pc:sldChg>
      <pc:sldChg chg="add del">
        <pc:chgData name="Hasan Senol Coskun" userId="88cd95f7b86daa2f" providerId="LiveId" clId="{0A1DC79D-782D-493E-B89A-90325507C91B}" dt="2020-11-13T17:42:20.151" v="302" actId="47"/>
        <pc:sldMkLst>
          <pc:docMk/>
          <pc:sldMk cId="2560432759" sldId="1747256604"/>
        </pc:sldMkLst>
      </pc:sldChg>
      <pc:sldChg chg="add del">
        <pc:chgData name="Hasan Senol Coskun" userId="88cd95f7b86daa2f" providerId="LiveId" clId="{0A1DC79D-782D-493E-B89A-90325507C91B}" dt="2020-11-13T17:41:51.728" v="283" actId="47"/>
        <pc:sldMkLst>
          <pc:docMk/>
          <pc:sldMk cId="2059301563" sldId="1747256605"/>
        </pc:sldMkLst>
      </pc:sldChg>
      <pc:sldChg chg="add del">
        <pc:chgData name="Hasan Senol Coskun" userId="88cd95f7b86daa2f" providerId="LiveId" clId="{0A1DC79D-782D-493E-B89A-90325507C91B}" dt="2020-11-10T20:32:14.207" v="53" actId="47"/>
        <pc:sldMkLst>
          <pc:docMk/>
          <pc:sldMk cId="1620782817" sldId="1747256606"/>
        </pc:sldMkLst>
      </pc:sldChg>
      <pc:sldChg chg="add del">
        <pc:chgData name="Hasan Senol Coskun" userId="88cd95f7b86daa2f" providerId="LiveId" clId="{0A1DC79D-782D-493E-B89A-90325507C91B}" dt="2020-11-13T17:41:55.324" v="289" actId="47"/>
        <pc:sldMkLst>
          <pc:docMk/>
          <pc:sldMk cId="1676052805" sldId="1747256606"/>
        </pc:sldMkLst>
      </pc:sldChg>
      <pc:sldChg chg="add del">
        <pc:chgData name="Hasan Senol Coskun" userId="88cd95f7b86daa2f" providerId="LiveId" clId="{0A1DC79D-782D-493E-B89A-90325507C91B}" dt="2020-11-13T17:42:17.830" v="297" actId="47"/>
        <pc:sldMkLst>
          <pc:docMk/>
          <pc:sldMk cId="3007309136" sldId="1747256607"/>
        </pc:sldMkLst>
      </pc:sldChg>
      <pc:sldChg chg="add del">
        <pc:chgData name="Hasan Senol Coskun" userId="88cd95f7b86daa2f" providerId="LiveId" clId="{0A1DC79D-782D-493E-B89A-90325507C91B}" dt="2020-11-11T19:39:57.893" v="204" actId="47"/>
        <pc:sldMkLst>
          <pc:docMk/>
          <pc:sldMk cId="0" sldId="1747256608"/>
        </pc:sldMkLst>
      </pc:sldChg>
      <pc:sldChg chg="addSp delSp new del mod modClrScheme chgLayout">
        <pc:chgData name="Hasan Senol Coskun" userId="88cd95f7b86daa2f" providerId="LiveId" clId="{0A1DC79D-782D-493E-B89A-90325507C91B}" dt="2020-11-13T17:44:29.713" v="382" actId="47"/>
        <pc:sldMkLst>
          <pc:docMk/>
          <pc:sldMk cId="3150619891" sldId="1747256609"/>
        </pc:sldMkLst>
        <pc:spChg chg="del">
          <ac:chgData name="Hasan Senol Coskun" userId="88cd95f7b86daa2f" providerId="LiveId" clId="{0A1DC79D-782D-493E-B89A-90325507C91B}" dt="2020-11-11T19:39:17.717" v="197" actId="700"/>
          <ac:spMkLst>
            <pc:docMk/>
            <pc:sldMk cId="3150619891" sldId="1747256609"/>
            <ac:spMk id="2" creationId="{DFD31D1B-98F5-4727-B559-DC1605508778}"/>
          </ac:spMkLst>
        </pc:spChg>
        <pc:spChg chg="del">
          <ac:chgData name="Hasan Senol Coskun" userId="88cd95f7b86daa2f" providerId="LiveId" clId="{0A1DC79D-782D-493E-B89A-90325507C91B}" dt="2020-11-11T19:39:17.717" v="197" actId="700"/>
          <ac:spMkLst>
            <pc:docMk/>
            <pc:sldMk cId="3150619891" sldId="1747256609"/>
            <ac:spMk id="3" creationId="{C625967A-77E7-4650-9D6F-E0E41E457582}"/>
          </ac:spMkLst>
        </pc:spChg>
        <pc:spChg chg="del">
          <ac:chgData name="Hasan Senol Coskun" userId="88cd95f7b86daa2f" providerId="LiveId" clId="{0A1DC79D-782D-493E-B89A-90325507C91B}" dt="2020-11-11T19:39:17.717" v="197" actId="700"/>
          <ac:spMkLst>
            <pc:docMk/>
            <pc:sldMk cId="3150619891" sldId="1747256609"/>
            <ac:spMk id="4" creationId="{4594B05B-09B3-4F96-9576-864DCA99436F}"/>
          </ac:spMkLst>
        </pc:spChg>
        <pc:picChg chg="add del">
          <ac:chgData name="Hasan Senol Coskun" userId="88cd95f7b86daa2f" providerId="LiveId" clId="{0A1DC79D-782D-493E-B89A-90325507C91B}" dt="2020-11-11T19:39:32.598" v="201"/>
          <ac:picMkLst>
            <pc:docMk/>
            <pc:sldMk cId="3150619891" sldId="1747256609"/>
            <ac:picMk id="5" creationId="{3D48E2BE-3EF1-4EB1-B4D0-A3D15120C0C1}"/>
          </ac:picMkLst>
        </pc:picChg>
        <pc:picChg chg="add">
          <ac:chgData name="Hasan Senol Coskun" userId="88cd95f7b86daa2f" providerId="LiveId" clId="{0A1DC79D-782D-493E-B89A-90325507C91B}" dt="2020-11-11T19:39:32.629" v="202"/>
          <ac:picMkLst>
            <pc:docMk/>
            <pc:sldMk cId="3150619891" sldId="1747256609"/>
            <ac:picMk id="6" creationId="{ED6E0213-2964-4F83-B820-43DD911F3BDC}"/>
          </ac:picMkLst>
        </pc:picChg>
      </pc:sldChg>
      <pc:sldChg chg="addSp delSp modSp new mod ord modClrScheme chgLayout">
        <pc:chgData name="Hasan Senol Coskun" userId="88cd95f7b86daa2f" providerId="LiveId" clId="{0A1DC79D-782D-493E-B89A-90325507C91B}" dt="2020-11-13T21:52:32.072" v="2973" actId="14100"/>
        <pc:sldMkLst>
          <pc:docMk/>
          <pc:sldMk cId="3090780679" sldId="1747256610"/>
        </pc:sldMkLst>
        <pc:spChg chg="add mod ord">
          <ac:chgData name="Hasan Senol Coskun" userId="88cd95f7b86daa2f" providerId="LiveId" clId="{0A1DC79D-782D-493E-B89A-90325507C91B}" dt="2020-11-13T21:52:32.072" v="2973" actId="14100"/>
          <ac:spMkLst>
            <pc:docMk/>
            <pc:sldMk cId="3090780679" sldId="1747256610"/>
            <ac:spMk id="3" creationId="{F55E286E-2B70-4B6E-86E4-14D389F88A72}"/>
          </ac:spMkLst>
        </pc:spChg>
        <pc:spChg chg="add del mod">
          <ac:chgData name="Hasan Senol Coskun" userId="88cd95f7b86daa2f" providerId="LiveId" clId="{0A1DC79D-782D-493E-B89A-90325507C91B}" dt="2020-11-13T17:51:00.101" v="427" actId="478"/>
          <ac:spMkLst>
            <pc:docMk/>
            <pc:sldMk cId="3090780679" sldId="1747256610"/>
            <ac:spMk id="4" creationId="{C2F7A95D-6DB8-4795-B1E9-35FDA1426B69}"/>
          </ac:spMkLst>
        </pc:spChg>
        <pc:spChg chg="add del mod">
          <ac:chgData name="Hasan Senol Coskun" userId="88cd95f7b86daa2f" providerId="LiveId" clId="{0A1DC79D-782D-493E-B89A-90325507C91B}" dt="2020-11-13T17:51:25.932" v="430" actId="478"/>
          <ac:spMkLst>
            <pc:docMk/>
            <pc:sldMk cId="3090780679" sldId="1747256610"/>
            <ac:spMk id="5" creationId="{D5DAC330-5E1F-4493-9FC7-233DB986C18A}"/>
          </ac:spMkLst>
        </pc:spChg>
        <pc:spChg chg="add del mod">
          <ac:chgData name="Hasan Senol Coskun" userId="88cd95f7b86daa2f" providerId="LiveId" clId="{0A1DC79D-782D-493E-B89A-90325507C91B}" dt="2020-11-13T21:51:29.073" v="2962" actId="12084"/>
          <ac:spMkLst>
            <pc:docMk/>
            <pc:sldMk cId="3090780679" sldId="1747256610"/>
            <ac:spMk id="6" creationId="{6B63258A-5750-4009-94B0-2FBCC06FC826}"/>
          </ac:spMkLst>
        </pc:spChg>
        <pc:graphicFrameChg chg="add del mod">
          <ac:chgData name="Hasan Senol Coskun" userId="88cd95f7b86daa2f" providerId="LiveId" clId="{0A1DC79D-782D-493E-B89A-90325507C91B}" dt="2020-11-13T21:51:02.651" v="2953" actId="12084"/>
          <ac:graphicFrameMkLst>
            <pc:docMk/>
            <pc:sldMk cId="3090780679" sldId="1747256610"/>
            <ac:graphicFrameMk id="7" creationId="{EFBE206A-0C68-4702-BC0C-04CB5BBAA4B0}"/>
          </ac:graphicFrameMkLst>
        </pc:graphicFrameChg>
        <pc:graphicFrameChg chg="add mod">
          <ac:chgData name="Hasan Senol Coskun" userId="88cd95f7b86daa2f" providerId="LiveId" clId="{0A1DC79D-782D-493E-B89A-90325507C91B}" dt="2020-11-13T21:52:09.874" v="2970" actId="113"/>
          <ac:graphicFrameMkLst>
            <pc:docMk/>
            <pc:sldMk cId="3090780679" sldId="1747256610"/>
            <ac:graphicFrameMk id="8" creationId="{DDE8F490-1F2E-420D-AE5D-67CB6D225532}"/>
          </ac:graphicFrameMkLst>
        </pc:graphicFrameChg>
        <pc:picChg chg="add mod">
          <ac:chgData name="Hasan Senol Coskun" userId="88cd95f7b86daa2f" providerId="LiveId" clId="{0A1DC79D-782D-493E-B89A-90325507C91B}" dt="2020-11-13T17:50:19.235" v="423" actId="1076"/>
          <ac:picMkLst>
            <pc:docMk/>
            <pc:sldMk cId="3090780679" sldId="1747256610"/>
            <ac:picMk id="2" creationId="{653641CC-44A3-4C78-9B80-FFB4418C61BD}"/>
          </ac:picMkLst>
        </pc:picChg>
      </pc:sldChg>
      <pc:sldChg chg="del">
        <pc:chgData name="Hasan Senol Coskun" userId="88cd95f7b86daa2f" providerId="LiveId" clId="{0A1DC79D-782D-493E-B89A-90325507C91B}" dt="2020-11-13T16:28:39.899" v="218" actId="47"/>
        <pc:sldMkLst>
          <pc:docMk/>
          <pc:sldMk cId="0" sldId="1747256611"/>
        </pc:sldMkLst>
      </pc:sldChg>
      <pc:sldChg chg="del">
        <pc:chgData name="Hasan Senol Coskun" userId="88cd95f7b86daa2f" providerId="LiveId" clId="{0A1DC79D-782D-493E-B89A-90325507C91B}" dt="2020-11-13T16:28:40.998" v="219" actId="47"/>
        <pc:sldMkLst>
          <pc:docMk/>
          <pc:sldMk cId="0" sldId="1747256612"/>
        </pc:sldMkLst>
      </pc:sldChg>
      <pc:sldChg chg="del">
        <pc:chgData name="Hasan Senol Coskun" userId="88cd95f7b86daa2f" providerId="LiveId" clId="{0A1DC79D-782D-493E-B89A-90325507C91B}" dt="2020-11-13T16:28:41.963" v="220" actId="47"/>
        <pc:sldMkLst>
          <pc:docMk/>
          <pc:sldMk cId="0" sldId="1747256613"/>
        </pc:sldMkLst>
      </pc:sldChg>
      <pc:sldChg chg="addSp delSp modSp mod modClrScheme chgLayout">
        <pc:chgData name="Hasan Senol Coskun" userId="88cd95f7b86daa2f" providerId="LiveId" clId="{0A1DC79D-782D-493E-B89A-90325507C91B}" dt="2020-11-14T09:03:15.907" v="4215" actId="403"/>
        <pc:sldMkLst>
          <pc:docMk/>
          <pc:sldMk cId="3640817028" sldId="1747256614"/>
        </pc:sldMkLst>
        <pc:spChg chg="mod ord">
          <ac:chgData name="Hasan Senol Coskun" userId="88cd95f7b86daa2f" providerId="LiveId" clId="{0A1DC79D-782D-493E-B89A-90325507C91B}" dt="2020-11-14T09:00:22.391" v="4097" actId="700"/>
          <ac:spMkLst>
            <pc:docMk/>
            <pc:sldMk cId="3640817028" sldId="1747256614"/>
            <ac:spMk id="2" creationId="{5BDD4F50-C678-4AAA-B338-D094991F54A5}"/>
          </ac:spMkLst>
        </pc:spChg>
        <pc:spChg chg="add del mod ord">
          <ac:chgData name="Hasan Senol Coskun" userId="88cd95f7b86daa2f" providerId="LiveId" clId="{0A1DC79D-782D-493E-B89A-90325507C91B}" dt="2020-11-14T09:01:36.032" v="4198" actId="12084"/>
          <ac:spMkLst>
            <pc:docMk/>
            <pc:sldMk cId="3640817028" sldId="1747256614"/>
            <ac:spMk id="3" creationId="{6FBB2E84-44DC-430A-8405-EE35EEE8AA69}"/>
          </ac:spMkLst>
        </pc:spChg>
        <pc:graphicFrameChg chg="add mod">
          <ac:chgData name="Hasan Senol Coskun" userId="88cd95f7b86daa2f" providerId="LiveId" clId="{0A1DC79D-782D-493E-B89A-90325507C91B}" dt="2020-11-14T09:03:15.907" v="4215" actId="403"/>
          <ac:graphicFrameMkLst>
            <pc:docMk/>
            <pc:sldMk cId="3640817028" sldId="1747256614"/>
            <ac:graphicFrameMk id="4" creationId="{DF75B052-AA4A-4DB8-BEF9-52683A200739}"/>
          </ac:graphicFrameMkLst>
        </pc:graphicFrameChg>
      </pc:sldChg>
      <pc:sldChg chg="delSp del mod">
        <pc:chgData name="Hasan Senol Coskun" userId="88cd95f7b86daa2f" providerId="LiveId" clId="{0A1DC79D-782D-493E-B89A-90325507C91B}" dt="2020-11-13T20:32:48.809" v="1819" actId="47"/>
        <pc:sldMkLst>
          <pc:docMk/>
          <pc:sldMk cId="908843990" sldId="1747256615"/>
        </pc:sldMkLst>
        <pc:spChg chg="del">
          <ac:chgData name="Hasan Senol Coskun" userId="88cd95f7b86daa2f" providerId="LiveId" clId="{0A1DC79D-782D-493E-B89A-90325507C91B}" dt="2020-11-13T17:57:27.366" v="650" actId="478"/>
          <ac:spMkLst>
            <pc:docMk/>
            <pc:sldMk cId="908843990" sldId="1747256615"/>
            <ac:spMk id="11" creationId="{EE36E824-B57E-4B6B-B468-AAB1E78E176E}"/>
          </ac:spMkLst>
        </pc:spChg>
        <pc:spChg chg="del">
          <ac:chgData name="Hasan Senol Coskun" userId="88cd95f7b86daa2f" providerId="LiveId" clId="{0A1DC79D-782D-493E-B89A-90325507C91B}" dt="2020-11-13T17:57:15.816" v="649" actId="478"/>
          <ac:spMkLst>
            <pc:docMk/>
            <pc:sldMk cId="908843990" sldId="1747256615"/>
            <ac:spMk id="14" creationId="{BF709765-7DBF-4B63-BC02-C5E3AE413A42}"/>
          </ac:spMkLst>
        </pc:spChg>
      </pc:sldChg>
      <pc:sldChg chg="addSp delSp modSp mod modClrScheme chgLayout">
        <pc:chgData name="Hasan Senol Coskun" userId="88cd95f7b86daa2f" providerId="LiveId" clId="{0A1DC79D-782D-493E-B89A-90325507C91B}" dt="2020-11-14T06:28:13.543" v="3267" actId="20577"/>
        <pc:sldMkLst>
          <pc:docMk/>
          <pc:sldMk cId="1012667264" sldId="1747256616"/>
        </pc:sldMkLst>
        <pc:spChg chg="add del mod">
          <ac:chgData name="Hasan Senol Coskun" userId="88cd95f7b86daa2f" providerId="LiveId" clId="{0A1DC79D-782D-493E-B89A-90325507C91B}" dt="2020-11-13T20:33:43.222" v="1823" actId="478"/>
          <ac:spMkLst>
            <pc:docMk/>
            <pc:sldMk cId="1012667264" sldId="1747256616"/>
            <ac:spMk id="2" creationId="{28493CCE-8F7A-40CB-81BF-F69B02FFB9C7}"/>
          </ac:spMkLst>
        </pc:spChg>
        <pc:spChg chg="mod">
          <ac:chgData name="Hasan Senol Coskun" userId="88cd95f7b86daa2f" providerId="LiveId" clId="{0A1DC79D-782D-493E-B89A-90325507C91B}" dt="2020-11-13T20:34:56.346" v="1834" actId="6549"/>
          <ac:spMkLst>
            <pc:docMk/>
            <pc:sldMk cId="1012667264" sldId="1747256616"/>
            <ac:spMk id="15" creationId="{CE439BA1-69C5-4E54-8249-D2AA50ADD0C8}"/>
          </ac:spMkLst>
        </pc:spChg>
        <pc:spChg chg="mod">
          <ac:chgData name="Hasan Senol Coskun" userId="88cd95f7b86daa2f" providerId="LiveId" clId="{0A1DC79D-782D-493E-B89A-90325507C91B}" dt="2020-11-13T20:34:04.457" v="1824" actId="164"/>
          <ac:spMkLst>
            <pc:docMk/>
            <pc:sldMk cId="1012667264" sldId="1747256616"/>
            <ac:spMk id="16" creationId="{A11F5A35-9D9A-47B1-B119-BCE2788FC4EF}"/>
          </ac:spMkLst>
        </pc:spChg>
        <pc:spChg chg="mod">
          <ac:chgData name="Hasan Senol Coskun" userId="88cd95f7b86daa2f" providerId="LiveId" clId="{0A1DC79D-782D-493E-B89A-90325507C91B}" dt="2020-11-13T20:34:04.457" v="1824" actId="164"/>
          <ac:spMkLst>
            <pc:docMk/>
            <pc:sldMk cId="1012667264" sldId="1747256616"/>
            <ac:spMk id="17" creationId="{7F6AA4A4-4C04-49D8-9422-3D64DA48340A}"/>
          </ac:spMkLst>
        </pc:spChg>
        <pc:spChg chg="mod">
          <ac:chgData name="Hasan Senol Coskun" userId="88cd95f7b86daa2f" providerId="LiveId" clId="{0A1DC79D-782D-493E-B89A-90325507C91B}" dt="2020-11-13T20:34:04.457" v="1824" actId="164"/>
          <ac:spMkLst>
            <pc:docMk/>
            <pc:sldMk cId="1012667264" sldId="1747256616"/>
            <ac:spMk id="7173" creationId="{8A641FEB-5769-4DA4-AFF7-36309C445810}"/>
          </ac:spMkLst>
        </pc:spChg>
        <pc:spChg chg="mod ord">
          <ac:chgData name="Hasan Senol Coskun" userId="88cd95f7b86daa2f" providerId="LiveId" clId="{0A1DC79D-782D-493E-B89A-90325507C91B}" dt="2020-11-14T06:28:13.543" v="3267" actId="20577"/>
          <ac:spMkLst>
            <pc:docMk/>
            <pc:sldMk cId="1012667264" sldId="1747256616"/>
            <ac:spMk id="23555" creationId="{D8D1E7D9-6F6E-4AE1-B0A1-C3C5EDF72F09}"/>
          </ac:spMkLst>
        </pc:spChg>
        <pc:spChg chg="del">
          <ac:chgData name="Hasan Senol Coskun" userId="88cd95f7b86daa2f" providerId="LiveId" clId="{0A1DC79D-782D-493E-B89A-90325507C91B}" dt="2020-11-13T20:33:38.823" v="1822" actId="478"/>
          <ac:spMkLst>
            <pc:docMk/>
            <pc:sldMk cId="1012667264" sldId="1747256616"/>
            <ac:spMk id="23556" creationId="{94E243A6-78F8-4E2F-87D2-C9887EC2D00A}"/>
          </ac:spMkLst>
        </pc:spChg>
        <pc:spChg chg="mod">
          <ac:chgData name="Hasan Senol Coskun" userId="88cd95f7b86daa2f" providerId="LiveId" clId="{0A1DC79D-782D-493E-B89A-90325507C91B}" dt="2020-11-13T20:34:04.457" v="1824" actId="164"/>
          <ac:spMkLst>
            <pc:docMk/>
            <pc:sldMk cId="1012667264" sldId="1747256616"/>
            <ac:spMk id="33796" creationId="{675462E9-8597-4953-8AB9-A6DA325AC763}"/>
          </ac:spMkLst>
        </pc:spChg>
        <pc:spChg chg="mod">
          <ac:chgData name="Hasan Senol Coskun" userId="88cd95f7b86daa2f" providerId="LiveId" clId="{0A1DC79D-782D-493E-B89A-90325507C91B}" dt="2020-11-13T20:34:04.457" v="1824" actId="164"/>
          <ac:spMkLst>
            <pc:docMk/>
            <pc:sldMk cId="1012667264" sldId="1747256616"/>
            <ac:spMk id="64514" creationId="{0B410525-86C2-4B5F-A575-D1F2049E24B6}"/>
          </ac:spMkLst>
        </pc:spChg>
        <pc:spChg chg="mod">
          <ac:chgData name="Hasan Senol Coskun" userId="88cd95f7b86daa2f" providerId="LiveId" clId="{0A1DC79D-782D-493E-B89A-90325507C91B}" dt="2020-11-13T20:34:04.457" v="1824" actId="164"/>
          <ac:spMkLst>
            <pc:docMk/>
            <pc:sldMk cId="1012667264" sldId="1747256616"/>
            <ac:spMk id="64518" creationId="{9296FDCD-6B7E-4A8F-AF6C-F31C2CAA257A}"/>
          </ac:spMkLst>
        </pc:spChg>
        <pc:spChg chg="mod">
          <ac:chgData name="Hasan Senol Coskun" userId="88cd95f7b86daa2f" providerId="LiveId" clId="{0A1DC79D-782D-493E-B89A-90325507C91B}" dt="2020-11-13T20:34:04.457" v="1824" actId="164"/>
          <ac:spMkLst>
            <pc:docMk/>
            <pc:sldMk cId="1012667264" sldId="1747256616"/>
            <ac:spMk id="64519" creationId="{1241FF0F-8E92-4110-813F-0D0E3F567BE7}"/>
          </ac:spMkLst>
        </pc:spChg>
        <pc:spChg chg="del">
          <ac:chgData name="Hasan Senol Coskun" userId="88cd95f7b86daa2f" providerId="LiveId" clId="{0A1DC79D-782D-493E-B89A-90325507C91B}" dt="2020-11-13T20:35:03.832" v="1836" actId="478"/>
          <ac:spMkLst>
            <pc:docMk/>
            <pc:sldMk cId="1012667264" sldId="1747256616"/>
            <ac:spMk id="64520" creationId="{DBDDA247-7765-48E4-AB04-229BE464542E}"/>
          </ac:spMkLst>
        </pc:spChg>
        <pc:grpChg chg="add del mod">
          <ac:chgData name="Hasan Senol Coskun" userId="88cd95f7b86daa2f" providerId="LiveId" clId="{0A1DC79D-782D-493E-B89A-90325507C91B}" dt="2020-11-13T20:34:50.393" v="1832" actId="478"/>
          <ac:grpSpMkLst>
            <pc:docMk/>
            <pc:sldMk cId="1012667264" sldId="1747256616"/>
            <ac:grpSpMk id="3" creationId="{1922CCBA-16C2-4612-AEF8-CB5748AECE68}"/>
          </ac:grpSpMkLst>
        </pc:grpChg>
        <pc:grpChg chg="del">
          <ac:chgData name="Hasan Senol Coskun" userId="88cd95f7b86daa2f" providerId="LiveId" clId="{0A1DC79D-782D-493E-B89A-90325507C91B}" dt="2020-11-13T20:34:59.174" v="1835" actId="478"/>
          <ac:grpSpMkLst>
            <pc:docMk/>
            <pc:sldMk cId="1012667264" sldId="1747256616"/>
            <ac:grpSpMk id="13" creationId="{2C3F8AAC-0A8D-4C79-9EA8-0544F356DBB2}"/>
          </ac:grpSpMkLst>
        </pc:grpChg>
        <pc:picChg chg="add del">
          <ac:chgData name="Hasan Senol Coskun" userId="88cd95f7b86daa2f" providerId="LiveId" clId="{0A1DC79D-782D-493E-B89A-90325507C91B}" dt="2020-11-13T20:34:32.540" v="1828" actId="22"/>
          <ac:picMkLst>
            <pc:docMk/>
            <pc:sldMk cId="1012667264" sldId="1747256616"/>
            <ac:picMk id="5" creationId="{CDACEA94-E2A0-400B-823C-57B3A5D0949A}"/>
          </ac:picMkLst>
        </pc:picChg>
        <pc:picChg chg="add mod">
          <ac:chgData name="Hasan Senol Coskun" userId="88cd95f7b86daa2f" providerId="LiveId" clId="{0A1DC79D-782D-493E-B89A-90325507C91B}" dt="2020-11-13T20:36:02.481" v="1841" actId="1076"/>
          <ac:picMkLst>
            <pc:docMk/>
            <pc:sldMk cId="1012667264" sldId="1747256616"/>
            <ac:picMk id="7" creationId="{020FA7A5-B087-459B-9D50-22800B698151}"/>
          </ac:picMkLst>
        </pc:picChg>
        <pc:picChg chg="add mod">
          <ac:chgData name="Hasan Senol Coskun" userId="88cd95f7b86daa2f" providerId="LiveId" clId="{0A1DC79D-782D-493E-B89A-90325507C91B}" dt="2020-11-13T20:36:10.002" v="1844" actId="1076"/>
          <ac:picMkLst>
            <pc:docMk/>
            <pc:sldMk cId="1012667264" sldId="1747256616"/>
            <ac:picMk id="9" creationId="{F82BF91B-789C-4201-902C-2E0066B24E90}"/>
          </ac:picMkLst>
        </pc:picChg>
      </pc:sldChg>
      <pc:sldChg chg="addSp delSp modSp del">
        <pc:chgData name="Hasan Senol Coskun" userId="88cd95f7b86daa2f" providerId="LiveId" clId="{0A1DC79D-782D-493E-B89A-90325507C91B}" dt="2020-11-13T20:36:18.667" v="1845" actId="47"/>
        <pc:sldMkLst>
          <pc:docMk/>
          <pc:sldMk cId="254315913" sldId="1747256617"/>
        </pc:sldMkLst>
        <pc:spChg chg="add del mod">
          <ac:chgData name="Hasan Senol Coskun" userId="88cd95f7b86daa2f" providerId="LiveId" clId="{0A1DC79D-782D-493E-B89A-90325507C91B}" dt="2020-11-13T20:35:46.369" v="1839" actId="478"/>
          <ac:spMkLst>
            <pc:docMk/>
            <pc:sldMk cId="254315913" sldId="1747256617"/>
            <ac:spMk id="2" creationId="{AFF16FC5-A30F-4026-8938-BF34FA8C3FB2}"/>
          </ac:spMkLst>
        </pc:spChg>
        <pc:spChg chg="mod">
          <ac:chgData name="Hasan Senol Coskun" userId="88cd95f7b86daa2f" providerId="LiveId" clId="{0A1DC79D-782D-493E-B89A-90325507C91B}" dt="2020-11-13T20:35:55.860" v="1840" actId="164"/>
          <ac:spMkLst>
            <pc:docMk/>
            <pc:sldMk cId="254315913" sldId="1747256617"/>
            <ac:spMk id="3" creationId="{591087A2-E0E6-4CF7-AF17-3A73E1922C5D}"/>
          </ac:spMkLst>
        </pc:spChg>
        <pc:spChg chg="mod">
          <ac:chgData name="Hasan Senol Coskun" userId="88cd95f7b86daa2f" providerId="LiveId" clId="{0A1DC79D-782D-493E-B89A-90325507C91B}" dt="2020-11-13T20:35:55.860" v="1840" actId="164"/>
          <ac:spMkLst>
            <pc:docMk/>
            <pc:sldMk cId="254315913" sldId="1747256617"/>
            <ac:spMk id="21" creationId="{5460DF59-F7FE-4130-BEC1-73DE9E7ADA5D}"/>
          </ac:spMkLst>
        </pc:spChg>
        <pc:spChg chg="mod">
          <ac:chgData name="Hasan Senol Coskun" userId="88cd95f7b86daa2f" providerId="LiveId" clId="{0A1DC79D-782D-493E-B89A-90325507C91B}" dt="2020-11-13T20:35:55.860" v="1840" actId="164"/>
          <ac:spMkLst>
            <pc:docMk/>
            <pc:sldMk cId="254315913" sldId="1747256617"/>
            <ac:spMk id="22" creationId="{BD385E9A-DC39-44D2-A200-77C8C4B91944}"/>
          </ac:spMkLst>
        </pc:spChg>
        <pc:spChg chg="mod">
          <ac:chgData name="Hasan Senol Coskun" userId="88cd95f7b86daa2f" providerId="LiveId" clId="{0A1DC79D-782D-493E-B89A-90325507C91B}" dt="2020-11-13T20:35:55.860" v="1840" actId="164"/>
          <ac:spMkLst>
            <pc:docMk/>
            <pc:sldMk cId="254315913" sldId="1747256617"/>
            <ac:spMk id="35" creationId="{38E8E666-15A0-42EC-B135-7F124DEE687B}"/>
          </ac:spMkLst>
        </pc:spChg>
        <pc:spChg chg="mod">
          <ac:chgData name="Hasan Senol Coskun" userId="88cd95f7b86daa2f" providerId="LiveId" clId="{0A1DC79D-782D-493E-B89A-90325507C91B}" dt="2020-11-13T20:35:55.860" v="1840" actId="164"/>
          <ac:spMkLst>
            <pc:docMk/>
            <pc:sldMk cId="254315913" sldId="1747256617"/>
            <ac:spMk id="36" creationId="{AFB8142B-E1B5-4B3F-A431-47B1878E497E}"/>
          </ac:spMkLst>
        </pc:spChg>
        <pc:spChg chg="mod">
          <ac:chgData name="Hasan Senol Coskun" userId="88cd95f7b86daa2f" providerId="LiveId" clId="{0A1DC79D-782D-493E-B89A-90325507C91B}" dt="2020-11-13T20:35:55.860" v="1840" actId="164"/>
          <ac:spMkLst>
            <pc:docMk/>
            <pc:sldMk cId="254315913" sldId="1747256617"/>
            <ac:spMk id="39" creationId="{5D956DBF-8AAF-4CDB-A585-8CE91D3320AE}"/>
          </ac:spMkLst>
        </pc:spChg>
        <pc:spChg chg="mod">
          <ac:chgData name="Hasan Senol Coskun" userId="88cd95f7b86daa2f" providerId="LiveId" clId="{0A1DC79D-782D-493E-B89A-90325507C91B}" dt="2020-11-13T20:35:55.860" v="1840" actId="164"/>
          <ac:spMkLst>
            <pc:docMk/>
            <pc:sldMk cId="254315913" sldId="1747256617"/>
            <ac:spMk id="40" creationId="{C6D678D4-493E-4BCA-AA6B-1AD3546DB5DB}"/>
          </ac:spMkLst>
        </pc:spChg>
        <pc:spChg chg="mod">
          <ac:chgData name="Hasan Senol Coskun" userId="88cd95f7b86daa2f" providerId="LiveId" clId="{0A1DC79D-782D-493E-B89A-90325507C91B}" dt="2020-11-13T20:35:55.860" v="1840" actId="164"/>
          <ac:spMkLst>
            <pc:docMk/>
            <pc:sldMk cId="254315913" sldId="1747256617"/>
            <ac:spMk id="42" creationId="{D5EE0D4E-6F33-4E05-B3ED-B6C582CE871E}"/>
          </ac:spMkLst>
        </pc:spChg>
        <pc:spChg chg="mod">
          <ac:chgData name="Hasan Senol Coskun" userId="88cd95f7b86daa2f" providerId="LiveId" clId="{0A1DC79D-782D-493E-B89A-90325507C91B}" dt="2020-11-13T20:35:55.860" v="1840" actId="164"/>
          <ac:spMkLst>
            <pc:docMk/>
            <pc:sldMk cId="254315913" sldId="1747256617"/>
            <ac:spMk id="51" creationId="{E5DCFA0B-C331-43C7-AACF-11613927ACAF}"/>
          </ac:spMkLst>
        </pc:spChg>
        <pc:spChg chg="mod">
          <ac:chgData name="Hasan Senol Coskun" userId="88cd95f7b86daa2f" providerId="LiveId" clId="{0A1DC79D-782D-493E-B89A-90325507C91B}" dt="2020-11-13T20:35:55.860" v="1840" actId="164"/>
          <ac:spMkLst>
            <pc:docMk/>
            <pc:sldMk cId="254315913" sldId="1747256617"/>
            <ac:spMk id="61" creationId="{9075EB31-B371-4FAC-971F-F16EFA416F5B}"/>
          </ac:spMkLst>
        </pc:spChg>
        <pc:spChg chg="del">
          <ac:chgData name="Hasan Senol Coskun" userId="88cd95f7b86daa2f" providerId="LiveId" clId="{0A1DC79D-782D-493E-B89A-90325507C91B}" dt="2020-11-13T20:35:41.838" v="1838" actId="478"/>
          <ac:spMkLst>
            <pc:docMk/>
            <pc:sldMk cId="254315913" sldId="1747256617"/>
            <ac:spMk id="19459" creationId="{A9551F03-E8E1-4716-B8AB-BA389608DA16}"/>
          </ac:spMkLst>
        </pc:spChg>
        <pc:spChg chg="mod">
          <ac:chgData name="Hasan Senol Coskun" userId="88cd95f7b86daa2f" providerId="LiveId" clId="{0A1DC79D-782D-493E-B89A-90325507C91B}" dt="2020-11-13T20:35:55.860" v="1840" actId="164"/>
          <ac:spMkLst>
            <pc:docMk/>
            <pc:sldMk cId="254315913" sldId="1747256617"/>
            <ac:spMk id="19463" creationId="{CD101CCB-2F00-44D2-8507-1AFFE00D6027}"/>
          </ac:spMkLst>
        </pc:spChg>
        <pc:spChg chg="mod">
          <ac:chgData name="Hasan Senol Coskun" userId="88cd95f7b86daa2f" providerId="LiveId" clId="{0A1DC79D-782D-493E-B89A-90325507C91B}" dt="2020-11-13T20:35:55.860" v="1840" actId="164"/>
          <ac:spMkLst>
            <pc:docMk/>
            <pc:sldMk cId="254315913" sldId="1747256617"/>
            <ac:spMk id="19464" creationId="{0B5583C4-59CD-49BE-8AAF-C6237651BFC9}"/>
          </ac:spMkLst>
        </pc:spChg>
        <pc:spChg chg="mod">
          <ac:chgData name="Hasan Senol Coskun" userId="88cd95f7b86daa2f" providerId="LiveId" clId="{0A1DC79D-782D-493E-B89A-90325507C91B}" dt="2020-11-13T20:35:55.860" v="1840" actId="164"/>
          <ac:spMkLst>
            <pc:docMk/>
            <pc:sldMk cId="254315913" sldId="1747256617"/>
            <ac:spMk id="19465" creationId="{B481315F-262E-4C26-895D-801EEC779F8A}"/>
          </ac:spMkLst>
        </pc:spChg>
        <pc:spChg chg="mod">
          <ac:chgData name="Hasan Senol Coskun" userId="88cd95f7b86daa2f" providerId="LiveId" clId="{0A1DC79D-782D-493E-B89A-90325507C91B}" dt="2020-11-13T20:35:55.860" v="1840" actId="164"/>
          <ac:spMkLst>
            <pc:docMk/>
            <pc:sldMk cId="254315913" sldId="1747256617"/>
            <ac:spMk id="19466" creationId="{27EC8A91-9B39-400F-83BE-A5FB0AD5A7A6}"/>
          </ac:spMkLst>
        </pc:spChg>
        <pc:spChg chg="mod">
          <ac:chgData name="Hasan Senol Coskun" userId="88cd95f7b86daa2f" providerId="LiveId" clId="{0A1DC79D-782D-493E-B89A-90325507C91B}" dt="2020-11-13T20:35:55.860" v="1840" actId="164"/>
          <ac:spMkLst>
            <pc:docMk/>
            <pc:sldMk cId="254315913" sldId="1747256617"/>
            <ac:spMk id="19470" creationId="{DC859B44-3946-410F-9510-E3CDB4863FED}"/>
          </ac:spMkLst>
        </pc:spChg>
        <pc:spChg chg="mod">
          <ac:chgData name="Hasan Senol Coskun" userId="88cd95f7b86daa2f" providerId="LiveId" clId="{0A1DC79D-782D-493E-B89A-90325507C91B}" dt="2020-11-13T20:35:55.860" v="1840" actId="164"/>
          <ac:spMkLst>
            <pc:docMk/>
            <pc:sldMk cId="254315913" sldId="1747256617"/>
            <ac:spMk id="19479" creationId="{40A78FBD-18DA-455E-9A64-C101EB310022}"/>
          </ac:spMkLst>
        </pc:spChg>
        <pc:grpChg chg="add mod">
          <ac:chgData name="Hasan Senol Coskun" userId="88cd95f7b86daa2f" providerId="LiveId" clId="{0A1DC79D-782D-493E-B89A-90325507C91B}" dt="2020-11-13T20:35:55.860" v="1840" actId="164"/>
          <ac:grpSpMkLst>
            <pc:docMk/>
            <pc:sldMk cId="254315913" sldId="1747256617"/>
            <ac:grpSpMk id="4" creationId="{29ED6E95-BFFB-4605-9453-1F8B60306D9D}"/>
          </ac:grpSpMkLst>
        </pc:grpChg>
        <pc:grpChg chg="mod">
          <ac:chgData name="Hasan Senol Coskun" userId="88cd95f7b86daa2f" providerId="LiveId" clId="{0A1DC79D-782D-493E-B89A-90325507C91B}" dt="2020-11-13T20:35:55.860" v="1840" actId="164"/>
          <ac:grpSpMkLst>
            <pc:docMk/>
            <pc:sldMk cId="254315913" sldId="1747256617"/>
            <ac:grpSpMk id="62" creationId="{095ACCAA-D83E-41F9-AF8D-29009027AEDB}"/>
          </ac:grpSpMkLst>
        </pc:grpChg>
        <pc:grpChg chg="mod">
          <ac:chgData name="Hasan Senol Coskun" userId="88cd95f7b86daa2f" providerId="LiveId" clId="{0A1DC79D-782D-493E-B89A-90325507C91B}" dt="2020-11-13T20:35:55.860" v="1840" actId="164"/>
          <ac:grpSpMkLst>
            <pc:docMk/>
            <pc:sldMk cId="254315913" sldId="1747256617"/>
            <ac:grpSpMk id="179" creationId="{9D9527AE-1B9C-4D51-9DA5-5C5150DE4C7F}"/>
          </ac:grpSpMkLst>
        </pc:grpChg>
        <pc:grpChg chg="mod">
          <ac:chgData name="Hasan Senol Coskun" userId="88cd95f7b86daa2f" providerId="LiveId" clId="{0A1DC79D-782D-493E-B89A-90325507C91B}" dt="2020-11-13T20:35:55.860" v="1840" actId="164"/>
          <ac:grpSpMkLst>
            <pc:docMk/>
            <pc:sldMk cId="254315913" sldId="1747256617"/>
            <ac:grpSpMk id="215" creationId="{C9D0C548-C782-4E17-A5A7-0FFE73798DE5}"/>
          </ac:grpSpMkLst>
        </pc:grpChg>
        <pc:grpChg chg="del">
          <ac:chgData name="Hasan Senol Coskun" userId="88cd95f7b86daa2f" providerId="LiveId" clId="{0A1DC79D-782D-493E-B89A-90325507C91B}" dt="2020-11-13T20:35:20.615" v="1837" actId="478"/>
          <ac:grpSpMkLst>
            <pc:docMk/>
            <pc:sldMk cId="254315913" sldId="1747256617"/>
            <ac:grpSpMk id="19461" creationId="{2CF8B6E2-8339-4C5E-8429-6B7861057256}"/>
          </ac:grpSpMkLst>
        </pc:grpChg>
      </pc:sldChg>
      <pc:sldChg chg="addSp delSp modSp del mod">
        <pc:chgData name="Hasan Senol Coskun" userId="88cd95f7b86daa2f" providerId="LiveId" clId="{0A1DC79D-782D-493E-B89A-90325507C91B}" dt="2020-11-13T20:38:40.508" v="1866" actId="47"/>
        <pc:sldMkLst>
          <pc:docMk/>
          <pc:sldMk cId="2011315223" sldId="1747256618"/>
        </pc:sldMkLst>
        <pc:spChg chg="add del mod">
          <ac:chgData name="Hasan Senol Coskun" userId="88cd95f7b86daa2f" providerId="LiveId" clId="{0A1DC79D-782D-493E-B89A-90325507C91B}" dt="2020-11-13T20:37:09.753" v="1854" actId="478"/>
          <ac:spMkLst>
            <pc:docMk/>
            <pc:sldMk cId="2011315223" sldId="1747256618"/>
            <ac:spMk id="2" creationId="{69136857-DE30-47D5-9859-47AC73846B88}"/>
          </ac:spMkLst>
        </pc:spChg>
        <pc:spChg chg="mod">
          <ac:chgData name="Hasan Senol Coskun" userId="88cd95f7b86daa2f" providerId="LiveId" clId="{0A1DC79D-782D-493E-B89A-90325507C91B}" dt="2020-11-13T20:37:21.642" v="1855" actId="164"/>
          <ac:spMkLst>
            <pc:docMk/>
            <pc:sldMk cId="2011315223" sldId="1747256618"/>
            <ac:spMk id="5" creationId="{E1DBEEA3-A0E0-4E62-A472-BD8862AE1042}"/>
          </ac:spMkLst>
        </pc:spChg>
        <pc:spChg chg="mod">
          <ac:chgData name="Hasan Senol Coskun" userId="88cd95f7b86daa2f" providerId="LiveId" clId="{0A1DC79D-782D-493E-B89A-90325507C91B}" dt="2020-11-13T20:37:21.642" v="1855" actId="164"/>
          <ac:spMkLst>
            <pc:docMk/>
            <pc:sldMk cId="2011315223" sldId="1747256618"/>
            <ac:spMk id="7" creationId="{E861A24E-6FC6-4B2E-BC7E-2D5D270C44C3}"/>
          </ac:spMkLst>
        </pc:spChg>
        <pc:spChg chg="mod">
          <ac:chgData name="Hasan Senol Coskun" userId="88cd95f7b86daa2f" providerId="LiveId" clId="{0A1DC79D-782D-493E-B89A-90325507C91B}" dt="2020-11-13T20:37:21.642" v="1855" actId="164"/>
          <ac:spMkLst>
            <pc:docMk/>
            <pc:sldMk cId="2011315223" sldId="1747256618"/>
            <ac:spMk id="8" creationId="{0DB1CBDF-9163-451E-A6AA-C5C49D793ABB}"/>
          </ac:spMkLst>
        </pc:spChg>
        <pc:spChg chg="mod">
          <ac:chgData name="Hasan Senol Coskun" userId="88cd95f7b86daa2f" providerId="LiveId" clId="{0A1DC79D-782D-493E-B89A-90325507C91B}" dt="2020-11-13T20:36:55.907" v="1851"/>
          <ac:spMkLst>
            <pc:docMk/>
            <pc:sldMk cId="2011315223" sldId="1747256618"/>
            <ac:spMk id="11" creationId="{5543E1D4-575F-4F81-9358-2D3A0FA06916}"/>
          </ac:spMkLst>
        </pc:spChg>
        <pc:spChg chg="del mod">
          <ac:chgData name="Hasan Senol Coskun" userId="88cd95f7b86daa2f" providerId="LiveId" clId="{0A1DC79D-782D-493E-B89A-90325507C91B}" dt="2020-11-13T20:37:01.604" v="1852" actId="478"/>
          <ac:spMkLst>
            <pc:docMk/>
            <pc:sldMk cId="2011315223" sldId="1747256618"/>
            <ac:spMk id="14" creationId="{A31A2D16-498A-4169-A143-2DDC1E330E99}"/>
          </ac:spMkLst>
        </pc:spChg>
        <pc:spChg chg="mod">
          <ac:chgData name="Hasan Senol Coskun" userId="88cd95f7b86daa2f" providerId="LiveId" clId="{0A1DC79D-782D-493E-B89A-90325507C91B}" dt="2020-11-13T20:37:21.642" v="1855" actId="164"/>
          <ac:spMkLst>
            <pc:docMk/>
            <pc:sldMk cId="2011315223" sldId="1747256618"/>
            <ac:spMk id="15" creationId="{6D1A9D3C-0C97-4EC5-999F-D7C327655B4A}"/>
          </ac:spMkLst>
        </pc:spChg>
        <pc:spChg chg="mod">
          <ac:chgData name="Hasan Senol Coskun" userId="88cd95f7b86daa2f" providerId="LiveId" clId="{0A1DC79D-782D-493E-B89A-90325507C91B}" dt="2020-11-13T20:37:21.642" v="1855" actId="164"/>
          <ac:spMkLst>
            <pc:docMk/>
            <pc:sldMk cId="2011315223" sldId="1747256618"/>
            <ac:spMk id="19" creationId="{03C2F343-1867-4106-B049-73A865850494}"/>
          </ac:spMkLst>
        </pc:spChg>
        <pc:spChg chg="mod">
          <ac:chgData name="Hasan Senol Coskun" userId="88cd95f7b86daa2f" providerId="LiveId" clId="{0A1DC79D-782D-493E-B89A-90325507C91B}" dt="2020-11-13T20:37:21.642" v="1855" actId="164"/>
          <ac:spMkLst>
            <pc:docMk/>
            <pc:sldMk cId="2011315223" sldId="1747256618"/>
            <ac:spMk id="22" creationId="{4A4D2D6F-C31C-405B-ADAF-68F1482D9E4B}"/>
          </ac:spMkLst>
        </pc:spChg>
        <pc:spChg chg="mod">
          <ac:chgData name="Hasan Senol Coskun" userId="88cd95f7b86daa2f" providerId="LiveId" clId="{0A1DC79D-782D-493E-B89A-90325507C91B}" dt="2020-11-13T20:37:21.642" v="1855" actId="164"/>
          <ac:spMkLst>
            <pc:docMk/>
            <pc:sldMk cId="2011315223" sldId="1747256618"/>
            <ac:spMk id="24" creationId="{20BF9AAE-FA46-4629-915A-43E0FC96F2D0}"/>
          </ac:spMkLst>
        </pc:spChg>
        <pc:spChg chg="mod">
          <ac:chgData name="Hasan Senol Coskun" userId="88cd95f7b86daa2f" providerId="LiveId" clId="{0A1DC79D-782D-493E-B89A-90325507C91B}" dt="2020-11-13T20:37:21.642" v="1855" actId="164"/>
          <ac:spMkLst>
            <pc:docMk/>
            <pc:sldMk cId="2011315223" sldId="1747256618"/>
            <ac:spMk id="32" creationId="{CBC43339-8D9B-4197-88D8-A89391A1D5DA}"/>
          </ac:spMkLst>
        </pc:spChg>
        <pc:spChg chg="mod">
          <ac:chgData name="Hasan Senol Coskun" userId="88cd95f7b86daa2f" providerId="LiveId" clId="{0A1DC79D-782D-493E-B89A-90325507C91B}" dt="2020-11-13T20:37:21.642" v="1855" actId="164"/>
          <ac:spMkLst>
            <pc:docMk/>
            <pc:sldMk cId="2011315223" sldId="1747256618"/>
            <ac:spMk id="34" creationId="{8DE5AB0C-7596-4D95-AC13-AF7CD56012F0}"/>
          </ac:spMkLst>
        </pc:spChg>
        <pc:spChg chg="mod">
          <ac:chgData name="Hasan Senol Coskun" userId="88cd95f7b86daa2f" providerId="LiveId" clId="{0A1DC79D-782D-493E-B89A-90325507C91B}" dt="2020-11-13T20:37:21.642" v="1855" actId="164"/>
          <ac:spMkLst>
            <pc:docMk/>
            <pc:sldMk cId="2011315223" sldId="1747256618"/>
            <ac:spMk id="36" creationId="{BF9E5C4D-56A2-4253-9EC0-9F01012BEE4B}"/>
          </ac:spMkLst>
        </pc:spChg>
        <pc:spChg chg="mod">
          <ac:chgData name="Hasan Senol Coskun" userId="88cd95f7b86daa2f" providerId="LiveId" clId="{0A1DC79D-782D-493E-B89A-90325507C91B}" dt="2020-11-13T20:37:21.642" v="1855" actId="164"/>
          <ac:spMkLst>
            <pc:docMk/>
            <pc:sldMk cId="2011315223" sldId="1747256618"/>
            <ac:spMk id="38" creationId="{3DF0F644-0F22-41E3-B833-ABEB1D83F64B}"/>
          </ac:spMkLst>
        </pc:spChg>
        <pc:spChg chg="mod">
          <ac:chgData name="Hasan Senol Coskun" userId="88cd95f7b86daa2f" providerId="LiveId" clId="{0A1DC79D-782D-493E-B89A-90325507C91B}" dt="2020-11-13T20:37:21.642" v="1855" actId="164"/>
          <ac:spMkLst>
            <pc:docMk/>
            <pc:sldMk cId="2011315223" sldId="1747256618"/>
            <ac:spMk id="50" creationId="{D94271FB-5906-4852-9B58-AFF8ACC99723}"/>
          </ac:spMkLst>
        </pc:spChg>
        <pc:spChg chg="mod">
          <ac:chgData name="Hasan Senol Coskun" userId="88cd95f7b86daa2f" providerId="LiveId" clId="{0A1DC79D-782D-493E-B89A-90325507C91B}" dt="2020-11-13T20:37:21.642" v="1855" actId="164"/>
          <ac:spMkLst>
            <pc:docMk/>
            <pc:sldMk cId="2011315223" sldId="1747256618"/>
            <ac:spMk id="51" creationId="{7B44AFB9-E1F6-40AF-991E-0A251A4C921D}"/>
          </ac:spMkLst>
        </pc:spChg>
        <pc:spChg chg="mod">
          <ac:chgData name="Hasan Senol Coskun" userId="88cd95f7b86daa2f" providerId="LiveId" clId="{0A1DC79D-782D-493E-B89A-90325507C91B}" dt="2020-11-13T20:37:21.642" v="1855" actId="164"/>
          <ac:spMkLst>
            <pc:docMk/>
            <pc:sldMk cId="2011315223" sldId="1747256618"/>
            <ac:spMk id="53" creationId="{1ACA3CA3-F0FE-4FE9-A176-1075282142C6}"/>
          </ac:spMkLst>
        </pc:spChg>
        <pc:spChg chg="mod">
          <ac:chgData name="Hasan Senol Coskun" userId="88cd95f7b86daa2f" providerId="LiveId" clId="{0A1DC79D-782D-493E-B89A-90325507C91B}" dt="2020-11-13T20:37:21.642" v="1855" actId="164"/>
          <ac:spMkLst>
            <pc:docMk/>
            <pc:sldMk cId="2011315223" sldId="1747256618"/>
            <ac:spMk id="55" creationId="{03C46503-B0AA-4672-82F2-765F5F2FC2CB}"/>
          </ac:spMkLst>
        </pc:spChg>
        <pc:spChg chg="mod">
          <ac:chgData name="Hasan Senol Coskun" userId="88cd95f7b86daa2f" providerId="LiveId" clId="{0A1DC79D-782D-493E-B89A-90325507C91B}" dt="2020-11-13T20:37:21.642" v="1855" actId="164"/>
          <ac:spMkLst>
            <pc:docMk/>
            <pc:sldMk cId="2011315223" sldId="1747256618"/>
            <ac:spMk id="57" creationId="{BB46F298-EEAE-473E-9A78-88AA3A1C6B96}"/>
          </ac:spMkLst>
        </pc:spChg>
        <pc:grpChg chg="add mod">
          <ac:chgData name="Hasan Senol Coskun" userId="88cd95f7b86daa2f" providerId="LiveId" clId="{0A1DC79D-782D-493E-B89A-90325507C91B}" dt="2020-11-13T20:37:21.642" v="1855" actId="164"/>
          <ac:grpSpMkLst>
            <pc:docMk/>
            <pc:sldMk cId="2011315223" sldId="1747256618"/>
            <ac:grpSpMk id="3" creationId="{9BB8E374-B9BD-46A4-9159-D6E8D5DE26F4}"/>
          </ac:grpSpMkLst>
        </pc:grpChg>
        <pc:grpChg chg="del">
          <ac:chgData name="Hasan Senol Coskun" userId="88cd95f7b86daa2f" providerId="LiveId" clId="{0A1DC79D-782D-493E-B89A-90325507C91B}" dt="2020-11-13T20:37:04.686" v="1853" actId="478"/>
          <ac:grpSpMkLst>
            <pc:docMk/>
            <pc:sldMk cId="2011315223" sldId="1747256618"/>
            <ac:grpSpMk id="9" creationId="{91393BCC-2EB4-4A18-9284-AF1B25C08318}"/>
          </ac:grpSpMkLst>
        </pc:grpChg>
        <pc:cxnChg chg="mod">
          <ac:chgData name="Hasan Senol Coskun" userId="88cd95f7b86daa2f" providerId="LiveId" clId="{0A1DC79D-782D-493E-B89A-90325507C91B}" dt="2020-11-13T20:37:21.642" v="1855" actId="164"/>
          <ac:cxnSpMkLst>
            <pc:docMk/>
            <pc:sldMk cId="2011315223" sldId="1747256618"/>
            <ac:cxnSpMk id="21" creationId="{580C72D7-E759-423D-8592-E98DCD9FD22F}"/>
          </ac:cxnSpMkLst>
        </pc:cxnChg>
        <pc:cxnChg chg="mod">
          <ac:chgData name="Hasan Senol Coskun" userId="88cd95f7b86daa2f" providerId="LiveId" clId="{0A1DC79D-782D-493E-B89A-90325507C91B}" dt="2020-11-13T20:37:21.642" v="1855" actId="164"/>
          <ac:cxnSpMkLst>
            <pc:docMk/>
            <pc:sldMk cId="2011315223" sldId="1747256618"/>
            <ac:cxnSpMk id="26" creationId="{1B2EE585-CA1E-4C7E-94EA-B867EBC271D2}"/>
          </ac:cxnSpMkLst>
        </pc:cxnChg>
        <pc:cxnChg chg="mod">
          <ac:chgData name="Hasan Senol Coskun" userId="88cd95f7b86daa2f" providerId="LiveId" clId="{0A1DC79D-782D-493E-B89A-90325507C91B}" dt="2020-11-13T20:37:21.642" v="1855" actId="164"/>
          <ac:cxnSpMkLst>
            <pc:docMk/>
            <pc:sldMk cId="2011315223" sldId="1747256618"/>
            <ac:cxnSpMk id="28" creationId="{76333885-D53B-44A1-BB83-0FD1D898BA6B}"/>
          </ac:cxnSpMkLst>
        </pc:cxnChg>
        <pc:cxnChg chg="mod">
          <ac:chgData name="Hasan Senol Coskun" userId="88cd95f7b86daa2f" providerId="LiveId" clId="{0A1DC79D-782D-493E-B89A-90325507C91B}" dt="2020-11-13T20:37:21.642" v="1855" actId="164"/>
          <ac:cxnSpMkLst>
            <pc:docMk/>
            <pc:sldMk cId="2011315223" sldId="1747256618"/>
            <ac:cxnSpMk id="30" creationId="{F83193DA-5C09-44E9-A3C6-13A2D93B4600}"/>
          </ac:cxnSpMkLst>
        </pc:cxnChg>
        <pc:cxnChg chg="mod">
          <ac:chgData name="Hasan Senol Coskun" userId="88cd95f7b86daa2f" providerId="LiveId" clId="{0A1DC79D-782D-493E-B89A-90325507C91B}" dt="2020-11-13T20:37:21.642" v="1855" actId="164"/>
          <ac:cxnSpMkLst>
            <pc:docMk/>
            <pc:sldMk cId="2011315223" sldId="1747256618"/>
            <ac:cxnSpMk id="31" creationId="{0B93D406-9DED-4407-AF6C-024ED5033CB7}"/>
          </ac:cxnSpMkLst>
        </pc:cxnChg>
        <pc:cxnChg chg="mod">
          <ac:chgData name="Hasan Senol Coskun" userId="88cd95f7b86daa2f" providerId="LiveId" clId="{0A1DC79D-782D-493E-B89A-90325507C91B}" dt="2020-11-13T20:37:21.642" v="1855" actId="164"/>
          <ac:cxnSpMkLst>
            <pc:docMk/>
            <pc:sldMk cId="2011315223" sldId="1747256618"/>
            <ac:cxnSpMk id="40" creationId="{0CAC4349-9C5E-4988-8210-32D7EAD82A30}"/>
          </ac:cxnSpMkLst>
        </pc:cxnChg>
        <pc:cxnChg chg="mod">
          <ac:chgData name="Hasan Senol Coskun" userId="88cd95f7b86daa2f" providerId="LiveId" clId="{0A1DC79D-782D-493E-B89A-90325507C91B}" dt="2020-11-13T20:37:21.642" v="1855" actId="164"/>
          <ac:cxnSpMkLst>
            <pc:docMk/>
            <pc:sldMk cId="2011315223" sldId="1747256618"/>
            <ac:cxnSpMk id="42" creationId="{25FA20CF-86CF-4865-863D-C05B8EB9DCC2}"/>
          </ac:cxnSpMkLst>
        </pc:cxnChg>
        <pc:cxnChg chg="mod">
          <ac:chgData name="Hasan Senol Coskun" userId="88cd95f7b86daa2f" providerId="LiveId" clId="{0A1DC79D-782D-493E-B89A-90325507C91B}" dt="2020-11-13T20:37:21.642" v="1855" actId="164"/>
          <ac:cxnSpMkLst>
            <pc:docMk/>
            <pc:sldMk cId="2011315223" sldId="1747256618"/>
            <ac:cxnSpMk id="46" creationId="{4078350B-D1F5-4CEA-9970-96BBD0EB5A32}"/>
          </ac:cxnSpMkLst>
        </pc:cxnChg>
        <pc:cxnChg chg="mod">
          <ac:chgData name="Hasan Senol Coskun" userId="88cd95f7b86daa2f" providerId="LiveId" clId="{0A1DC79D-782D-493E-B89A-90325507C91B}" dt="2020-11-13T20:37:21.642" v="1855" actId="164"/>
          <ac:cxnSpMkLst>
            <pc:docMk/>
            <pc:sldMk cId="2011315223" sldId="1747256618"/>
            <ac:cxnSpMk id="48" creationId="{A5DB1899-78B0-4815-991A-7EEB94131046}"/>
          </ac:cxnSpMkLst>
        </pc:cxnChg>
      </pc:sldChg>
      <pc:sldChg chg="addSp delSp modSp del mod">
        <pc:chgData name="Hasan Senol Coskun" userId="88cd95f7b86daa2f" providerId="LiveId" clId="{0A1DC79D-782D-493E-B89A-90325507C91B}" dt="2020-11-13T20:41:56.750" v="1891" actId="47"/>
        <pc:sldMkLst>
          <pc:docMk/>
          <pc:sldMk cId="232117752" sldId="1747256619"/>
        </pc:sldMkLst>
        <pc:spChg chg="mod">
          <ac:chgData name="Hasan Senol Coskun" userId="88cd95f7b86daa2f" providerId="LiveId" clId="{0A1DC79D-782D-493E-B89A-90325507C91B}" dt="2020-11-13T20:39:26.836" v="1872" actId="20577"/>
          <ac:spMkLst>
            <pc:docMk/>
            <pc:sldMk cId="232117752" sldId="1747256619"/>
            <ac:spMk id="3" creationId="{945A83ED-F6DD-4A70-9578-F3D138750F1B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4" creationId="{2374AFD5-81A0-413A-950E-B401D0E487AC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5" creationId="{92AAD939-9394-401F-A38B-3F62D5337388}"/>
          </ac:spMkLst>
        </pc:spChg>
        <pc:spChg chg="del">
          <ac:chgData name="Hasan Senol Coskun" userId="88cd95f7b86daa2f" providerId="LiveId" clId="{0A1DC79D-782D-493E-B89A-90325507C91B}" dt="2020-11-13T20:39:34.311" v="1873" actId="478"/>
          <ac:spMkLst>
            <pc:docMk/>
            <pc:sldMk cId="232117752" sldId="1747256619"/>
            <ac:spMk id="6" creationId="{80A87593-53C4-4F3C-9F10-0D6D45C53D9D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7" creationId="{F3328A13-5DAE-4C6A-A44E-49BD983C61A1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1" creationId="{27B1B0C2-778F-4ED4-83A3-D7D6F41F436C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2" creationId="{749F529B-5E01-4440-8534-6FF8469CC90F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3" creationId="{CCAFB359-3CD4-4D72-B91F-8A1172E9F7AB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4" creationId="{4C38C180-A1E1-44AD-B3BE-213378CB4E14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5" creationId="{3B3AA031-798A-463F-86D4-8578B677306A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6" creationId="{00AF6AA2-9819-444A-A1D8-6F98D7AAE58F}"/>
          </ac:spMkLst>
        </pc:spChg>
        <pc:spChg chg="mod">
          <ac:chgData name="Hasan Senol Coskun" userId="88cd95f7b86daa2f" providerId="LiveId" clId="{0A1DC79D-782D-493E-B89A-90325507C91B}" dt="2020-11-13T20:39:37.921" v="1874" actId="6549"/>
          <ac:spMkLst>
            <pc:docMk/>
            <pc:sldMk cId="232117752" sldId="1747256619"/>
            <ac:spMk id="22" creationId="{787B5491-A111-4A38-8807-7CBF00110E07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51" creationId="{45D0489C-74E2-4AC9-AE7D-B1238698ED8A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52" creationId="{C185E626-F372-48F1-AB64-E78010C72AFE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54" creationId="{57EEC97D-EE6F-4779-8058-5D58623BE059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56" creationId="{3E71AA22-612C-4613-9C2F-DBA2E40298E3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58" creationId="{8A1C7296-B994-4699-B133-39C0FBA38BD7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60" creationId="{082ED133-6352-4505-9ED3-20BA7F065DF3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62" creationId="{72EA6BA0-8DE9-43E8-832C-22898F573A54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64" creationId="{2A13931B-19E0-447D-852F-A6C4B33E59B5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66" creationId="{D7255F3C-B394-4246-9D1D-81713ECC51BD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68" creationId="{4391B905-B11B-4328-8DE8-ADAFCE3AF46C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70" creationId="{558C894E-8DA2-4462-AC75-E9DFD199A4EC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72" creationId="{463C5448-1439-4DB9-9DCC-E76F313895C3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74" creationId="{3869611A-DC57-4A43-B4A3-9B7F615C62FB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76" creationId="{7F887584-C3CA-4D47-8897-141E15923889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78" creationId="{F293627A-5C28-4067-9952-0A56821E52CF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80" creationId="{1D1B996E-D73E-45C5-9CF0-D16CB5E3C596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82" creationId="{365B6004-6836-4C22-B547-76696C3B5107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84" creationId="{BC61995D-3ED4-4A06-92A2-C8A12B1DE67F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86" creationId="{9A45329D-FA27-445E-B159-89784DB68C80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88" creationId="{D89299C9-2AA2-4D0E-86A9-0F1F75C76411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90" creationId="{3F5051FF-6725-484C-99D5-728A35F81A33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92" creationId="{563FD3C3-718C-48EE-B93C-D93909232F08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94" creationId="{93E52DA4-3FFD-49D6-BFBE-02B38C5A958B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96" creationId="{689D746D-46AA-4E9B-B67A-758A07BB65D9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28" creationId="{D661536A-EBE8-48E3-B6DF-B26FF79DF8C5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29" creationId="{44EA9854-12F3-468D-A467-DD10A396D8C0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30" creationId="{07A97DFF-C47B-4CDA-8481-58AEFE8E0CEA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31" creationId="{A8ACC5DB-5C01-418E-BD63-E53F224FBDC6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32" creationId="{1BE94674-8EB2-4745-824F-44A5647D8EC1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33" creationId="{1287086E-44BD-41EC-A97E-E41D76F1DB43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34" creationId="{F730FBFB-152C-49D1-8840-525973607540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35" creationId="{FEFFA93D-79E5-456C-A5EC-98DE3ED56CBC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36" creationId="{C6C30167-E0AE-4CCF-A992-670E3E87196B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37" creationId="{E341CDA1-144A-48D2-80E1-0D12E56773D6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38" creationId="{5131575A-27E4-4D8B-B4A4-3553C6D53DE6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39" creationId="{E9DE6F1C-E1E5-4882-AEC4-0EA0E6A73355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40" creationId="{136F6443-ECB9-4C8E-8A42-BD65F5876E69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41" creationId="{9DFC87D6-DA04-44D5-B617-B4F14F824128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42" creationId="{64490E5F-3336-4BC6-9B1D-2DA491754BA7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43" creationId="{D8FB05E9-D4CC-4779-9E8F-FF1DF5119988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45" creationId="{89388E7A-82A5-4DB5-A65E-7CBAF36FB09D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46" creationId="{1FD1907A-8E48-4567-9089-A1FA3C0B8F40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49" creationId="{0C986016-D11E-480D-987B-1C5880D75A0D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50" creationId="{C58D32DD-98AC-4196-BFBF-673043E35917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53" creationId="{359679E9-51CC-41FE-BD89-2624DA311F18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54" creationId="{AC435B06-3856-48A5-971D-FD9F4C4253B8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55" creationId="{9D3DD74E-1BE3-475D-A52E-2356BF9F19B2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56" creationId="{F2ECC4C1-5C16-4F4C-9164-B3F6F26EE4F4}"/>
          </ac:spMkLst>
        </pc:spChg>
        <pc:spChg chg="mod">
          <ac:chgData name="Hasan Senol Coskun" userId="88cd95f7b86daa2f" providerId="LiveId" clId="{0A1DC79D-782D-493E-B89A-90325507C91B}" dt="2020-11-13T20:39:57.099" v="1876" actId="164"/>
          <ac:spMkLst>
            <pc:docMk/>
            <pc:sldMk cId="232117752" sldId="1747256619"/>
            <ac:spMk id="157" creationId="{B374353D-17FE-40CF-8E73-F7F677AADB79}"/>
          </ac:spMkLst>
        </pc:spChg>
        <pc:grpChg chg="add mod">
          <ac:chgData name="Hasan Senol Coskun" userId="88cd95f7b86daa2f" providerId="LiveId" clId="{0A1DC79D-782D-493E-B89A-90325507C91B}" dt="2020-11-13T20:39:57.099" v="1876" actId="164"/>
          <ac:grpSpMkLst>
            <pc:docMk/>
            <pc:sldMk cId="232117752" sldId="1747256619"/>
            <ac:grpSpMk id="8" creationId="{EE59A99F-5742-431D-824A-6CCC04ECDBF2}"/>
          </ac:grpSpMkLst>
        </pc:grpChg>
        <pc:grpChg chg="del">
          <ac:chgData name="Hasan Senol Coskun" userId="88cd95f7b86daa2f" providerId="LiveId" clId="{0A1DC79D-782D-493E-B89A-90325507C91B}" dt="2020-11-13T20:39:40.609" v="1875" actId="478"/>
          <ac:grpSpMkLst>
            <pc:docMk/>
            <pc:sldMk cId="232117752" sldId="1747256619"/>
            <ac:grpSpMk id="19" creationId="{70F3DC4F-F8FA-4CE2-960B-0F1417376F0D}"/>
          </ac:grpSpMkLst>
        </pc:grp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24" creationId="{3BD49640-478C-4D97-813B-EA664397BE73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26" creationId="{0FD590CD-4BD4-4778-8ECD-B3B6F029F19B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28" creationId="{243C8C59-A3D9-4CA1-B5F0-68B6807F8036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29" creationId="{8A73D4EB-8E4C-48FE-87F0-7F3A5141A530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30" creationId="{53512AFE-C189-4047-8D17-2D8C7752EB5E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31" creationId="{D602B0F1-3EDD-46FA-B15D-E35C8674D533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32" creationId="{7BBB3931-FD59-45F6-9EBC-5CDB4A3D95F6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33" creationId="{485EDBE1-DA47-41B3-97D0-42978194F03E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34" creationId="{4864F117-079B-4287-8054-6A6622D692A7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35" creationId="{70DD63BB-5CC3-4F12-AF0E-039B8449C05B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36" creationId="{7BDE42DA-DCC2-40F2-8815-F5182A91A6C3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37" creationId="{4DE088B7-DB08-403D-93FE-918B5466758C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38" creationId="{C07EE4AD-1E83-4880-B048-14D0EC77BE57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40" creationId="{34969023-D101-4454-99BB-8B8349BE73A8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41" creationId="{5F8A2A94-3A95-4C21-88CC-6D85A57F7BA3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42" creationId="{A6757744-F431-4471-B987-E1304DFB3B8D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43" creationId="{F7BDAF78-67FD-44BA-8A83-FC3C214AA87B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44" creationId="{70C3BE82-F978-4C87-837E-A8B4037BD481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45" creationId="{A470FF1F-54BD-49B4-91A7-7846A5AED047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46" creationId="{D5FEF420-6717-4587-A9A2-AABBC5C6A5F7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47" creationId="{DC1A941A-1EE6-484A-B3B7-1D31759F3217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48" creationId="{6FE6054B-A5F7-4414-BF86-2BC336126C13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49" creationId="{05050C5B-EE94-4DC0-9A05-F0693829DDA2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50" creationId="{8C4B99BE-1266-4A6C-A994-4E233691675B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98" creationId="{68687E4B-3398-42CC-ACF3-1119D88296C5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04" creationId="{F8B46F37-5416-4C67-A577-D6EC51CACF19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05" creationId="{7B58D36B-6AA2-44D4-8E7D-B260BDD0C4F8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06" creationId="{DD6732E7-11B8-4134-ACFE-07B3611728A8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07" creationId="{B37A97F6-A26D-4317-9957-874FBDE0F73E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08" creationId="{E8BD7F7D-2C24-405A-864E-87642BD26333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09" creationId="{67AA8A12-313B-4A8F-B19B-9366B2F218F3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10" creationId="{8929E3B6-720C-4BB9-80EF-7A11D54298FB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11" creationId="{582FFDAA-BB56-4722-85AB-BFDD79205F2D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12" creationId="{7409E809-4753-447F-B80C-DFAFCBF7A69C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13" creationId="{1E3450C8-BF31-4132-9CB0-76A5AC454F86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14" creationId="{EB79EBAD-C8B7-4730-BD7A-CFBEA70AB9AC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15" creationId="{5D542C99-242D-47C7-8B09-D5CCC6113EF9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16" creationId="{0FD72DFB-CD54-4895-8387-0825BD4F00D6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17" creationId="{86C3697E-F85F-4338-BA67-2473E105D140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18" creationId="{99B6DE61-3C61-4C3B-9D93-C1D07F18B414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19" creationId="{D645CDC5-F0B1-4E8D-9DDE-3F1F1A914BF4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20" creationId="{72AFC95E-6EAC-4E82-82F3-82A8D54A557A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21" creationId="{04B9C587-5DA2-4848-BECF-414F52493AC4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22" creationId="{709F0F5F-9101-4889-91C6-D598A3849758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23" creationId="{E5348D5F-208B-463F-A2E6-C4B6E777A471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27" creationId="{2C38B978-0699-4BAF-BE90-5D0C6840B11C}"/>
          </ac:cxnSpMkLst>
        </pc:cxnChg>
        <pc:cxnChg chg="mod">
          <ac:chgData name="Hasan Senol Coskun" userId="88cd95f7b86daa2f" providerId="LiveId" clId="{0A1DC79D-782D-493E-B89A-90325507C91B}" dt="2020-11-13T20:39:57.099" v="1876" actId="164"/>
          <ac:cxnSpMkLst>
            <pc:docMk/>
            <pc:sldMk cId="232117752" sldId="1747256619"/>
            <ac:cxnSpMk id="151" creationId="{B79E0696-E889-47D0-A1BA-FBEF1D0B5AEB}"/>
          </ac:cxnSpMkLst>
        </pc:cxnChg>
      </pc:sldChg>
      <pc:sldChg chg="addSp delSp modSp del mod">
        <pc:chgData name="Hasan Senol Coskun" userId="88cd95f7b86daa2f" providerId="LiveId" clId="{0A1DC79D-782D-493E-B89A-90325507C91B}" dt="2020-11-13T20:45:54.764" v="1929" actId="47"/>
        <pc:sldMkLst>
          <pc:docMk/>
          <pc:sldMk cId="2026632602" sldId="1747256620"/>
        </pc:sldMkLst>
        <pc:spChg chg="mod">
          <ac:chgData name="Hasan Senol Coskun" userId="88cd95f7b86daa2f" providerId="LiveId" clId="{0A1DC79D-782D-493E-B89A-90325507C91B}" dt="2020-11-13T20:42:14.328" v="1896" actId="404"/>
          <ac:spMkLst>
            <pc:docMk/>
            <pc:sldMk cId="2026632602" sldId="1747256620"/>
            <ac:spMk id="2" creationId="{641096D5-E455-42D1-9DEF-1993BC50DFAB}"/>
          </ac:spMkLst>
        </pc:spChg>
        <pc:spChg chg="mod">
          <ac:chgData name="Hasan Senol Coskun" userId="88cd95f7b86daa2f" providerId="LiveId" clId="{0A1DC79D-782D-493E-B89A-90325507C91B}" dt="2020-11-13T20:42:35.175" v="1898" actId="6549"/>
          <ac:spMkLst>
            <pc:docMk/>
            <pc:sldMk cId="2026632602" sldId="1747256620"/>
            <ac:spMk id="11" creationId="{6243CB12-4EB1-43D5-B323-A180569E7743}"/>
          </ac:spMkLst>
        </pc:spChg>
        <pc:spChg chg="del">
          <ac:chgData name="Hasan Senol Coskun" userId="88cd95f7b86daa2f" providerId="LiveId" clId="{0A1DC79D-782D-493E-B89A-90325507C91B}" dt="2020-11-13T20:42:19.353" v="1897" actId="478"/>
          <ac:spMkLst>
            <pc:docMk/>
            <pc:sldMk cId="2026632602" sldId="1747256620"/>
            <ac:spMk id="13" creationId="{9B639C48-01EC-4C4D-8B40-497DF2FC0E5D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14" creationId="{D66ED537-D201-4246-BB17-73B02C7724AA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20" creationId="{4D2F846E-E142-40FC-A6D5-8D5AA654F7DE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21" creationId="{DB9E6168-2DA3-4814-BA41-1C1676DE3ADE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22" creationId="{6A2956EE-3BC1-41C7-A918-D0EEE1600776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23" creationId="{07731821-0563-4739-9B15-6E86668F5BFC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24" creationId="{6BBE1A9E-89F1-402D-B4A2-4A6A50ED8444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25" creationId="{3F445852-A346-4D53-AC80-E346CB5FC03C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27" creationId="{582736BB-FC57-4744-B516-C189BD655E4A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28" creationId="{7AE51AB6-2D58-4F46-A865-4ACE20E4277B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29" creationId="{A663AA43-3211-4796-BB9B-DB42C9B39A46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30" creationId="{4C273077-029A-4184-9798-72459BDFE1C9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31" creationId="{5E5608D1-6873-4360-9225-1ECAB1D76F7D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32" creationId="{CEE64672-8F1D-411B-BD3F-213879F6D06F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33" creationId="{1C3265AE-E340-4A9B-9280-4F7E7D4CE1E6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34" creationId="{2F7B7663-9A30-461A-A184-4559D94BDB31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35" creationId="{5170ABED-FC29-43CA-8CF3-31BA27C7D341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36" creationId="{65FB2E17-56CA-46C0-87A6-668E2F4C42AD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37" creationId="{3363E381-6575-4B28-9B61-264DA6E06457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38" creationId="{1EE47CD2-F561-4513-A611-B25738DE8D93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39" creationId="{6AF24784-FC8E-4AFE-AE4D-DA9C2458C9A3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40" creationId="{80B486E1-4665-4A4D-83A0-A62207DEC498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41" creationId="{98CC1377-7613-4269-8DA4-8786715F0728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42" creationId="{1C41D23C-649B-4130-ABE4-F1CE144BC7FF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43" creationId="{F2D90FFC-6073-4412-84D6-FC3C884F1645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44" creationId="{8F826136-CA85-4A6B-8FCF-9542E1106D2A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45" creationId="{BF78D532-C719-4942-B0AF-702F581757CE}"/>
          </ac:spMkLst>
        </pc:spChg>
        <pc:spChg chg="mod">
          <ac:chgData name="Hasan Senol Coskun" userId="88cd95f7b86daa2f" providerId="LiveId" clId="{0A1DC79D-782D-493E-B89A-90325507C91B}" dt="2020-11-13T20:42:48.321" v="1900" actId="164"/>
          <ac:spMkLst>
            <pc:docMk/>
            <pc:sldMk cId="2026632602" sldId="1747256620"/>
            <ac:spMk id="46" creationId="{534EEFFC-CFD8-4D97-A46D-363D39A084C2}"/>
          </ac:spMkLst>
        </pc:spChg>
        <pc:grpChg chg="add mod">
          <ac:chgData name="Hasan Senol Coskun" userId="88cd95f7b86daa2f" providerId="LiveId" clId="{0A1DC79D-782D-493E-B89A-90325507C91B}" dt="2020-11-13T20:42:48.321" v="1900" actId="164"/>
          <ac:grpSpMkLst>
            <pc:docMk/>
            <pc:sldMk cId="2026632602" sldId="1747256620"/>
            <ac:grpSpMk id="3" creationId="{1D935DFC-1D06-4B8F-B6DB-B9032FE58776}"/>
          </ac:grpSpMkLst>
        </pc:grpChg>
        <pc:grpChg chg="del">
          <ac:chgData name="Hasan Senol Coskun" userId="88cd95f7b86daa2f" providerId="LiveId" clId="{0A1DC79D-782D-493E-B89A-90325507C91B}" dt="2020-11-13T20:42:38.366" v="1899" actId="478"/>
          <ac:grpSpMkLst>
            <pc:docMk/>
            <pc:sldMk cId="2026632602" sldId="1747256620"/>
            <ac:grpSpMk id="9" creationId="{73F4B269-FE9A-4D52-90E9-EA64A21D4BF4}"/>
          </ac:grpSpMkLst>
        </pc:grpChg>
        <pc:grpChg chg="mod">
          <ac:chgData name="Hasan Senol Coskun" userId="88cd95f7b86daa2f" providerId="LiveId" clId="{0A1DC79D-782D-493E-B89A-90325507C91B}" dt="2020-11-13T20:42:48.321" v="1900" actId="164"/>
          <ac:grpSpMkLst>
            <pc:docMk/>
            <pc:sldMk cId="2026632602" sldId="1747256620"/>
            <ac:grpSpMk id="15" creationId="{5660FC20-4000-42F1-AF7E-B2AAD0E183B3}"/>
          </ac:grpSpMkLst>
        </pc:grpChg>
      </pc:sldChg>
      <pc:sldChg chg="addSp delSp modSp mod ord modClrScheme chgLayout modNotesTx">
        <pc:chgData name="Hasan Senol Coskun" userId="88cd95f7b86daa2f" providerId="LiveId" clId="{0A1DC79D-782D-493E-B89A-90325507C91B}" dt="2020-11-14T09:30:18.352" v="4260" actId="20577"/>
        <pc:sldMkLst>
          <pc:docMk/>
          <pc:sldMk cId="2618908578" sldId="1747256621"/>
        </pc:sldMkLst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2" creationId="{3CEF3E41-E7EE-4655-BD5D-252107632B12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4" creationId="{A1E9EF6D-1481-4956-B42F-8148FA077B60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5" creationId="{D207A5FB-E16F-4A1A-9EBB-EF3800BE0944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6" creationId="{5BA8FD04-4603-4BCF-BABB-E327A0A82CC8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10" creationId="{65BF5C38-69AF-4A2A-ACAC-C186368490C5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11" creationId="{1BD54D6C-524A-40E4-A8C7-E22AF1558975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15" creationId="{F72851BB-C62C-4F77-8E90-FDAC4075558B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22" creationId="{FBB960C9-7158-489F-B787-00BCBEF30C90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28" creationId="{D57D49BB-4025-4136-82F5-9ADE4E675914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30" creationId="{FCA61F63-F022-47DB-9E58-1BBE127A244C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32" creationId="{212655FA-B8CE-4659-8470-7C2E0BDE2CD2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36" creationId="{6401E207-9F38-4C3C-8536-1238ADAF297B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43" creationId="{BA4B193A-1A47-485D-8957-2E598D4132B0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45" creationId="{BF9C5639-0225-44CE-B612-99886FA3335D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47" creationId="{F65C46E3-FE85-4F3C-8546-33EDD7B5EC1B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49" creationId="{6833661D-C73D-4B8B-AA80-2A369F97B0EC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51" creationId="{4D754551-6671-4FB8-8552-D96AE1D94AC0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61" creationId="{A8F6E943-A955-47B3-8C8F-4FA39F3E05E3}"/>
          </ac:spMkLst>
        </pc:spChg>
        <pc:spChg chg="mod ord">
          <ac:chgData name="Hasan Senol Coskun" userId="88cd95f7b86daa2f" providerId="LiveId" clId="{0A1DC79D-782D-493E-B89A-90325507C91B}" dt="2020-11-14T09:30:18.352" v="4260" actId="20577"/>
          <ac:spMkLst>
            <pc:docMk/>
            <pc:sldMk cId="2618908578" sldId="1747256621"/>
            <ac:spMk id="67" creationId="{E4D69260-BEC1-486C-8A35-950BBA1B97DF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79" creationId="{2893E19D-E5A9-4096-A49B-37627962390B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81" creationId="{064A43D9-766A-4ECC-9E81-B1CD48360683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83" creationId="{19525ADE-167E-4F5A-9DC2-3B92704E5AB4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85" creationId="{53764A5E-2FAB-4E10-BD33-5718D071EFD7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87" creationId="{2E2E390A-3D1A-4EF3-A230-70182E150569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89" creationId="{98A96204-BB01-4B80-9A28-A7203AB43A4A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93" creationId="{12A62288-1733-42CB-A6AD-00417CCA481E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102" creationId="{CC1A46D7-509B-400D-B125-1D1D65406BAE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104" creationId="{C72BC094-6862-4262-9F71-1F1814226F35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106" creationId="{A480FABD-949A-449E-BC76-6285141A4D46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07" creationId="{7DAEE991-1EF7-439A-B2A0-E70CFD7875CF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108" creationId="{AE097195-B51A-4085-936D-A917FA1D3AE4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09" creationId="{14C33BB0-04B0-4B6A-9B7E-1D64561E00CB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110" creationId="{7D4F3603-7323-4317-AADA-5B74DCC945F9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11" creationId="{8DD7CD98-DD3A-4631-80D4-5097C1D564EF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14" creationId="{12F110CA-C53F-4332-9C1A-800966ED3FDC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22" creationId="{CF74DF1B-5906-49E5-9E99-2FC6D6986C45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31" creationId="{5520E256-363A-4F5C-8655-3DA3E5D600CE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36" creationId="{F2CF9CC5-AD02-4D9B-8239-8A4BB3291FB3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41" creationId="{B4D230F9-61C4-4AA3-9F1F-E77701B9CCE2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43" creationId="{681C44D0-6A5F-45ED-8C21-62F2513875AC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45" creationId="{8EF7D919-F22A-4094-AD8F-B9838882ADA9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153" creationId="{01D52D37-CBEF-41AC-9BF9-BD37BE89572D}"/>
          </ac:spMkLst>
        </pc:spChg>
        <pc:spChg chg="mod">
          <ac:chgData name="Hasan Senol Coskun" userId="88cd95f7b86daa2f" providerId="LiveId" clId="{0A1DC79D-782D-493E-B89A-90325507C91B}" dt="2020-11-13T20:44:41.256" v="1915" actId="164"/>
          <ac:spMkLst>
            <pc:docMk/>
            <pc:sldMk cId="2618908578" sldId="1747256621"/>
            <ac:spMk id="155" creationId="{5FC09089-B8F6-4B7F-B29D-9DAC7C9CA90E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60" creationId="{62751321-B216-4D5B-9D52-74FBEDBBC9A5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61" creationId="{D31695CC-0260-4187-87E5-D4FB4C4B2D26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62" creationId="{C926A872-939F-47D6-BFCF-04EB41FE668B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63" creationId="{29FEFFA4-4B87-43AB-BF48-9FDD4E88A88D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70" creationId="{906AF116-14C8-45A5-9084-6E7B3DEF3630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71" creationId="{E40D3571-1DD9-44FF-BB1B-327043E8A03B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72" creationId="{7AFE588F-8F8F-432B-83A2-75FF069001D6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73" creationId="{D287AC44-F4F3-438C-9260-72BD9308C924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74" creationId="{586EF651-7F45-4FBC-A11C-AD22ECD0ADDB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75" creationId="{02D10760-87A0-4977-938B-3E8A31E05633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84" creationId="{7E836C19-E173-4CC9-AC24-440AA2AE339C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85" creationId="{621FFD0D-A146-467C-BC29-7B92E11D6F77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86" creationId="{073FF90E-10DD-4565-80CB-744EC7F97AEA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87" creationId="{95E6B027-04DF-4C2D-93E0-AB97B488462C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88" creationId="{F74E79DE-48A3-46D7-9752-BC57256A1141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89" creationId="{65CB9C10-0551-4E40-811C-37AD2E845678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90" creationId="{8C2210F1-BB9C-4377-A01D-93E12B5D8FEA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97" creationId="{590AF8D6-35A7-490E-BDF6-034F73B96DC0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98" creationId="{562FED22-E897-4A63-B868-4391E5AB77D7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199" creationId="{8A46950F-8AF4-425B-AD80-D2E2349429E0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200" creationId="{A64BA5B2-E2E6-4B07-8E37-20B18D9C1F6C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201" creationId="{C0DFF13E-AF6C-4479-8BD1-3E4C6A1AF417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209" creationId="{4FCDA370-302A-4D63-ADFE-1C652D2012E1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210" creationId="{DDFE6F23-D645-429E-B8AB-C6DEF4179A50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211" creationId="{44678168-E828-48E8-B5A1-9CAF761E450E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212" creationId="{D4B304F3-62C9-4A70-8073-912654FC48D6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213" creationId="{8B715101-5FA0-4C90-8EC8-5D84BFC98DB2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214" creationId="{4CE8E9CB-8CFF-4B9C-9A25-78D622810FD6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236" creationId="{42F894E9-438B-4592-BB13-7CB2BD343CBB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237" creationId="{DD1CDCB8-621C-4704-A5C4-560E9022E218}"/>
          </ac:spMkLst>
        </pc:spChg>
        <pc:spChg chg="mod">
          <ac:chgData name="Hasan Senol Coskun" userId="88cd95f7b86daa2f" providerId="LiveId" clId="{0A1DC79D-782D-493E-B89A-90325507C91B}" dt="2020-11-14T09:29:54.619" v="4255" actId="1076"/>
          <ac:spMkLst>
            <pc:docMk/>
            <pc:sldMk cId="2618908578" sldId="1747256621"/>
            <ac:spMk id="238" creationId="{E4BB90D1-3867-4D6C-A8F5-A3C6A07EC85E}"/>
          </ac:spMkLst>
        </pc:spChg>
        <pc:grpChg chg="add del mod">
          <ac:chgData name="Hasan Senol Coskun" userId="88cd95f7b86daa2f" providerId="LiveId" clId="{0A1DC79D-782D-493E-B89A-90325507C91B}" dt="2020-11-13T20:44:53.306" v="1916" actId="478"/>
          <ac:grpSpMkLst>
            <pc:docMk/>
            <pc:sldMk cId="2618908578" sldId="1747256621"/>
            <ac:grpSpMk id="7" creationId="{8819F2F2-E730-4BED-98D0-72CAF497891F}"/>
          </ac:grpSpMkLst>
        </pc:grpChg>
        <pc:grpChg chg="del">
          <ac:chgData name="Hasan Senol Coskun" userId="88cd95f7b86daa2f" providerId="LiveId" clId="{0A1DC79D-782D-493E-B89A-90325507C91B}" dt="2020-11-13T20:45:06.461" v="1919" actId="478"/>
          <ac:grpSpMkLst>
            <pc:docMk/>
            <pc:sldMk cId="2618908578" sldId="1747256621"/>
            <ac:grpSpMk id="12" creationId="{00D71829-2530-4322-9CA7-443CE1D4CD60}"/>
          </ac:grpSpMkLst>
        </pc:grpChg>
        <pc:grpChg chg="mod">
          <ac:chgData name="Hasan Senol Coskun" userId="88cd95f7b86daa2f" providerId="LiveId" clId="{0A1DC79D-782D-493E-B89A-90325507C91B}" dt="2020-11-13T20:44:41.256" v="1915" actId="164"/>
          <ac:grpSpMkLst>
            <pc:docMk/>
            <pc:sldMk cId="2618908578" sldId="1747256621"/>
            <ac:grpSpMk id="60" creationId="{F78AB8F8-4216-4004-AD7A-0C78449AF968}"/>
          </ac:grpSpMkLst>
        </pc:grpChg>
        <pc:grpChg chg="mod">
          <ac:chgData name="Hasan Senol Coskun" userId="88cd95f7b86daa2f" providerId="LiveId" clId="{0A1DC79D-782D-493E-B89A-90325507C91B}" dt="2020-11-13T20:44:41.256" v="1915" actId="164"/>
          <ac:grpSpMkLst>
            <pc:docMk/>
            <pc:sldMk cId="2618908578" sldId="1747256621"/>
            <ac:grpSpMk id="91" creationId="{0EF01C2F-0F3E-464B-9AAB-AC58DF4B56AD}"/>
          </ac:grpSpMkLst>
        </pc:grpChg>
        <pc:grpChg chg="add mod">
          <ac:chgData name="Hasan Senol Coskun" userId="88cd95f7b86daa2f" providerId="LiveId" clId="{0A1DC79D-782D-493E-B89A-90325507C91B}" dt="2020-11-14T09:29:54.619" v="4255" actId="1076"/>
          <ac:grpSpMkLst>
            <pc:docMk/>
            <pc:sldMk cId="2618908578" sldId="1747256621"/>
            <ac:grpSpMk id="105" creationId="{26997993-2228-4A8E-9B4F-B6CC86C3B1A4}"/>
          </ac:grpSpMkLst>
        </pc:grpChg>
        <pc:grpChg chg="mod">
          <ac:chgData name="Hasan Senol Coskun" userId="88cd95f7b86daa2f" providerId="LiveId" clId="{0A1DC79D-782D-493E-B89A-90325507C91B}" dt="2020-11-14T09:29:54.619" v="4255" actId="1076"/>
          <ac:grpSpMkLst>
            <pc:docMk/>
            <pc:sldMk cId="2618908578" sldId="1747256621"/>
            <ac:grpSpMk id="113" creationId="{BCD9F749-D3FD-4B24-A932-C928491CC7A8}"/>
          </ac:grpSpMkLst>
        </pc:grpChg>
        <pc:grpChg chg="mod">
          <ac:chgData name="Hasan Senol Coskun" userId="88cd95f7b86daa2f" providerId="LiveId" clId="{0A1DC79D-782D-493E-B89A-90325507C91B}" dt="2020-11-13T20:44:41.256" v="1915" actId="164"/>
          <ac:grpSpMkLst>
            <pc:docMk/>
            <pc:sldMk cId="2618908578" sldId="1747256621"/>
            <ac:grpSpMk id="156" creationId="{7875BB0E-5DF7-402F-8817-33F7244C426A}"/>
          </ac:grpSpMkLst>
        </pc:grpChg>
        <pc:grpChg chg="mod">
          <ac:chgData name="Hasan Senol Coskun" userId="88cd95f7b86daa2f" providerId="LiveId" clId="{0A1DC79D-782D-493E-B89A-90325507C91B}" dt="2020-11-14T09:29:54.619" v="4255" actId="1076"/>
          <ac:grpSpMkLst>
            <pc:docMk/>
            <pc:sldMk cId="2618908578" sldId="1747256621"/>
            <ac:grpSpMk id="183" creationId="{6C48CC99-1618-4C53-A76C-AAD40BA5CCB4}"/>
          </ac:grpSpMkLst>
        </pc:grpChg>
        <pc:grpChg chg="mod">
          <ac:chgData name="Hasan Senol Coskun" userId="88cd95f7b86daa2f" providerId="LiveId" clId="{0A1DC79D-782D-493E-B89A-90325507C91B}" dt="2020-11-14T09:29:54.619" v="4255" actId="1076"/>
          <ac:grpSpMkLst>
            <pc:docMk/>
            <pc:sldMk cId="2618908578" sldId="1747256621"/>
            <ac:grpSpMk id="202" creationId="{3A2FF11F-24CA-4386-8072-5D2FDB87DA47}"/>
          </ac:grpSpMkLst>
        </pc:grpChg>
        <pc:grpChg chg="mod">
          <ac:chgData name="Hasan Senol Coskun" userId="88cd95f7b86daa2f" providerId="LiveId" clId="{0A1DC79D-782D-493E-B89A-90325507C91B}" dt="2020-11-14T09:29:54.619" v="4255" actId="1076"/>
          <ac:grpSpMkLst>
            <pc:docMk/>
            <pc:sldMk cId="2618908578" sldId="1747256621"/>
            <ac:grpSpMk id="203" creationId="{3E4A7C2F-08F4-4903-8DBF-14BD7EDBF6E9}"/>
          </ac:grpSpMkLst>
        </pc:grpChg>
        <pc:grpChg chg="mod">
          <ac:chgData name="Hasan Senol Coskun" userId="88cd95f7b86daa2f" providerId="LiveId" clId="{0A1DC79D-782D-493E-B89A-90325507C91B}" dt="2020-11-14T09:29:54.619" v="4255" actId="1076"/>
          <ac:grpSpMkLst>
            <pc:docMk/>
            <pc:sldMk cId="2618908578" sldId="1747256621"/>
            <ac:grpSpMk id="204" creationId="{A570F82D-A57A-449D-8A8F-ED3C1C641E54}"/>
          </ac:grpSpMkLst>
        </pc:grpChg>
        <pc:grpChg chg="mod">
          <ac:chgData name="Hasan Senol Coskun" userId="88cd95f7b86daa2f" providerId="LiveId" clId="{0A1DC79D-782D-493E-B89A-90325507C91B}" dt="2020-11-14T09:29:54.619" v="4255" actId="1076"/>
          <ac:grpSpMkLst>
            <pc:docMk/>
            <pc:sldMk cId="2618908578" sldId="1747256621"/>
            <ac:grpSpMk id="205" creationId="{7C8EDC18-5B7E-4091-8FB8-34E012C8EDE0}"/>
          </ac:grpSpMkLst>
        </pc:grpChg>
        <pc:grpChg chg="mod">
          <ac:chgData name="Hasan Senol Coskun" userId="88cd95f7b86daa2f" providerId="LiveId" clId="{0A1DC79D-782D-493E-B89A-90325507C91B}" dt="2020-11-14T09:29:54.619" v="4255" actId="1076"/>
          <ac:grpSpMkLst>
            <pc:docMk/>
            <pc:sldMk cId="2618908578" sldId="1747256621"/>
            <ac:grpSpMk id="206" creationId="{929F8753-E65E-4E3B-AC7A-FB12766AD665}"/>
          </ac:grpSpMkLst>
        </pc:grpChg>
        <pc:grpChg chg="mod">
          <ac:chgData name="Hasan Senol Coskun" userId="88cd95f7b86daa2f" providerId="LiveId" clId="{0A1DC79D-782D-493E-B89A-90325507C91B}" dt="2020-11-14T09:29:54.619" v="4255" actId="1076"/>
          <ac:grpSpMkLst>
            <pc:docMk/>
            <pc:sldMk cId="2618908578" sldId="1747256621"/>
            <ac:grpSpMk id="207" creationId="{8BE1481C-634D-4335-B5F9-404457A6362B}"/>
          </ac:grpSpMkLst>
        </pc:grpChg>
        <pc:grpChg chg="mod">
          <ac:chgData name="Hasan Senol Coskun" userId="88cd95f7b86daa2f" providerId="LiveId" clId="{0A1DC79D-782D-493E-B89A-90325507C91B}" dt="2020-11-14T09:29:54.619" v="4255" actId="1076"/>
          <ac:grpSpMkLst>
            <pc:docMk/>
            <pc:sldMk cId="2618908578" sldId="1747256621"/>
            <ac:grpSpMk id="208" creationId="{1732FA13-55CB-4C02-B3BC-228E96726192}"/>
          </ac:grpSpMkLst>
        </pc:grpChg>
        <pc:picChg chg="add mod">
          <ac:chgData name="Hasan Senol Coskun" userId="88cd95f7b86daa2f" providerId="LiveId" clId="{0A1DC79D-782D-493E-B89A-90325507C91B}" dt="2020-11-14T09:30:00.971" v="4256" actId="1076"/>
          <ac:picMkLst>
            <pc:docMk/>
            <pc:sldMk cId="2618908578" sldId="1747256621"/>
            <ac:picMk id="4" creationId="{7FBF9BDF-ECF2-44E4-9115-A7D7453E4CB7}"/>
          </ac:picMkLst>
        </pc:pic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17" creationId="{F254FA54-F872-47C1-8771-B0581E322506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19" creationId="{AEA6A395-3266-4FCF-B745-601B2C00BE77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21" creationId="{10C3EA9C-8222-41FD-A4B1-001BE36D4145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23" creationId="{E6D7315E-C79E-4A51-85E9-7F1467DADDC1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24" creationId="{72A4B8DB-06D1-44D5-8F42-F6787941DEC3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25" creationId="{DDACF972-BF13-4777-B11E-4C1376280F4F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26" creationId="{580DD2A1-171E-41F1-8AB5-FD1261CBC64B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35" creationId="{695F1D36-16BA-4808-BDB6-138875A5E8FD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37" creationId="{3930B4DD-A209-447C-8484-8EB35F5F5D11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38" creationId="{DF9543C0-EB9B-49F1-9D4E-96CB9F9C64AE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39" creationId="{E6FAEDD9-444E-49A5-8F5A-528A2B67BC1E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40" creationId="{72D4D9D3-4C7B-4C6E-A290-926CACE455D9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41" creationId="{23BB7884-53C9-4FF0-A7A8-3408F31E38D1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54" creationId="{AD922B67-8FCD-4877-AA32-A054EE3B517A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56" creationId="{D34B2A63-1180-40F4-B1C2-2E3EFF13F7CB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66" creationId="{336CFFCD-3304-4F4D-B08B-EBC861B8D457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71" creationId="{27263385-21F4-4CAD-8A45-158B9CBA3E21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72" creationId="{74ADB964-5E57-4511-8273-FEE6F7C7590A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73" creationId="{2DDA1139-7FEC-4AE5-AB59-79EDA372A69F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76" creationId="{C4EE2E27-2B52-4D21-AC00-51025D16968C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95" creationId="{D5D0C1B0-B1F6-4E83-ACC4-0A75A03508D0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96" creationId="{4672764B-DD07-487B-B899-17B1D1EE382D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97" creationId="{BEBA269D-7223-416F-A7CD-D4F74E544D52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98" creationId="{F12A636E-DA4C-4561-9505-D1FBF3EC419B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99" creationId="{DD0E08F7-1D24-4B37-9A33-E8C514FCC143}"/>
          </ac:cxnSpMkLst>
        </pc:cxnChg>
        <pc:cxnChg chg="mod">
          <ac:chgData name="Hasan Senol Coskun" userId="88cd95f7b86daa2f" providerId="LiveId" clId="{0A1DC79D-782D-493E-B89A-90325507C91B}" dt="2020-11-13T20:44:41.256" v="1915" actId="164"/>
          <ac:cxnSpMkLst>
            <pc:docMk/>
            <pc:sldMk cId="2618908578" sldId="1747256621"/>
            <ac:cxnSpMk id="100" creationId="{F6A49A84-ACF1-4F26-A0C2-83EB77524584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47" creationId="{66731EAB-95A0-4A98-BB10-499A32454364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49" creationId="{66F888F8-C251-490E-84B8-E373E00083EB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51" creationId="{1FEFD2D9-298D-40FE-A4CF-CCF82DFF4433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54" creationId="{0372C8F3-163A-4CD9-AAB5-74C87B246A3D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57" creationId="{F542E4C7-6B73-460C-850E-4A15E3FF76BB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58" creationId="{B806781E-D80C-4F3E-9D96-E4AA1B6598B8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59" creationId="{E5D5CEC9-D005-47D6-AF5A-F04B8BCD6ED7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64" creationId="{6A685553-8B1C-42FA-B774-17185D7C7ECF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65" creationId="{912CC7EA-B2AD-46C6-981F-67E1F4CCB848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66" creationId="{A64A366C-526D-40E0-A4F8-EB4063D18C78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67" creationId="{C33D26B5-ABF5-4937-ABF8-64A6E0967CCE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68" creationId="{F1BE141A-442E-4FE0-A174-C84394D161C3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69" creationId="{16C4D9CE-A9FC-4DEB-A04F-1901EF7EC3FE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76" creationId="{51F58B47-39A6-4B28-A1B5-51BCE7AF162F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77" creationId="{CD519685-2D8E-4DD1-BFA4-1A530BFB3FB3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78" creationId="{C943FDC9-17B1-4631-9418-31123BAA85E3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79" creationId="{421FB9EC-BE18-4E87-8207-93CD7E1AA9BD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80" creationId="{54775951-7878-4841-B6E7-B80EBECC3F40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81" creationId="{1F7C5A6B-F643-4051-B8D5-A3E3DAF9D47C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82" creationId="{DFF8E94C-C036-45F4-B6F7-6FCC6805BB38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91" creationId="{93CB45A7-6CA8-4586-9516-22A5E1982EA7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92" creationId="{F441B4F6-2B26-4B4E-A34A-03FC71473098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93" creationId="{A1998D27-4DEA-4B4A-B36E-5B022689AD76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94" creationId="{5BB7E469-59E3-442B-8264-E2FEC3D3D0CB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95" creationId="{412841D5-BD5F-4240-A296-72655F1A1AEC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196" creationId="{8E135564-5F5A-405E-9B60-F84A4974B9F7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15" creationId="{03685591-FA3D-4811-9CEC-6E29EA61CBED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16" creationId="{B2CC4ACB-0080-417C-894C-201A60179E22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17" creationId="{FFC12BA7-135E-44A5-A991-8E75264DF16C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18" creationId="{308CFAA5-99C2-455B-8305-11B0A409EDCD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19" creationId="{99A97852-65E6-41D2-81AD-5D304A7A2EB5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20" creationId="{737CCF9B-4A18-48F6-9B9A-D1303D9CB252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21" creationId="{70757919-F2AF-4A31-BD86-E4F81EEED829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22" creationId="{1685CC9C-B0C3-4AC7-81FC-78490BA34764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23" creationId="{E34E87D7-3541-4BE9-9070-D7F265482AB3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24" creationId="{B6944CE1-7802-4547-8F69-C8DCC9F3C23F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25" creationId="{A63C8EF5-5C09-403B-89FF-AE6FB577C34B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26" creationId="{8D292D00-5EA3-4594-83B8-78FD6F7487FE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27" creationId="{BFFE27EF-4A57-4733-BFD7-F44BF7915204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28" creationId="{243A8BF0-5BE7-4D6C-8208-C481C0396B24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29" creationId="{CF9C381B-80EC-4126-AF4C-E51E4D9DED77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30" creationId="{C6B6F250-235F-462F-A48A-B35C13ECEA57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31" creationId="{F63661DA-B726-4BC5-8EEF-69D283C04971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32" creationId="{6E49C599-E474-4134-B17D-F91A82D177B3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33" creationId="{79629A51-A74C-4354-A7CA-50D5ABB78291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34" creationId="{0B4F2453-962B-4405-B2E4-6C538FCDA6E0}"/>
          </ac:cxnSpMkLst>
        </pc:cxnChg>
        <pc:cxnChg chg="mod">
          <ac:chgData name="Hasan Senol Coskun" userId="88cd95f7b86daa2f" providerId="LiveId" clId="{0A1DC79D-782D-493E-B89A-90325507C91B}" dt="2020-11-14T09:29:54.619" v="4255" actId="1076"/>
          <ac:cxnSpMkLst>
            <pc:docMk/>
            <pc:sldMk cId="2618908578" sldId="1747256621"/>
            <ac:cxnSpMk id="235" creationId="{F965D542-A85D-4B88-9DE4-239AF5AF3E94}"/>
          </ac:cxnSpMkLst>
        </pc:cxnChg>
      </pc:sldChg>
      <pc:sldChg chg="addSp delSp modSp mod modNotesTx">
        <pc:chgData name="Hasan Senol Coskun" userId="88cd95f7b86daa2f" providerId="LiveId" clId="{0A1DC79D-782D-493E-B89A-90325507C91B}" dt="2020-11-14T06:31:23.357" v="3292" actId="20577"/>
        <pc:sldMkLst>
          <pc:docMk/>
          <pc:sldMk cId="159857865" sldId="1747256622"/>
        </pc:sldMkLst>
        <pc:spChg chg="del">
          <ac:chgData name="Hasan Senol Coskun" userId="88cd95f7b86daa2f" providerId="LiveId" clId="{0A1DC79D-782D-493E-B89A-90325507C91B}" dt="2020-11-13T20:51:43.775" v="1972" actId="478"/>
          <ac:spMkLst>
            <pc:docMk/>
            <pc:sldMk cId="159857865" sldId="1747256622"/>
            <ac:spMk id="2" creationId="{C0E1F8F4-52C6-462A-AFCE-40A7E2D53E43}"/>
          </ac:spMkLst>
        </pc:spChg>
        <pc:spChg chg="del">
          <ac:chgData name="Hasan Senol Coskun" userId="88cd95f7b86daa2f" providerId="LiveId" clId="{0A1DC79D-782D-493E-B89A-90325507C91B}" dt="2020-11-13T20:52:23.354" v="1986" actId="478"/>
          <ac:spMkLst>
            <pc:docMk/>
            <pc:sldMk cId="159857865" sldId="1747256622"/>
            <ac:spMk id="3" creationId="{B4721E16-E6D6-46E6-90A9-B2996B6C4007}"/>
          </ac:spMkLst>
        </pc:spChg>
        <pc:spChg chg="mod">
          <ac:chgData name="Hasan Senol Coskun" userId="88cd95f7b86daa2f" providerId="LiveId" clId="{0A1DC79D-782D-493E-B89A-90325507C91B}" dt="2020-11-13T20:52:20.371" v="1985" actId="1076"/>
          <ac:spMkLst>
            <pc:docMk/>
            <pc:sldMk cId="159857865" sldId="1747256622"/>
            <ac:spMk id="4" creationId="{223206ED-215D-47E9-BA97-5A737BB07271}"/>
          </ac:spMkLst>
        </pc:spChg>
        <pc:spChg chg="mod">
          <ac:chgData name="Hasan Senol Coskun" userId="88cd95f7b86daa2f" providerId="LiveId" clId="{0A1DC79D-782D-493E-B89A-90325507C91B}" dt="2020-11-13T20:52:16.968" v="1983" actId="1076"/>
          <ac:spMkLst>
            <pc:docMk/>
            <pc:sldMk cId="159857865" sldId="1747256622"/>
            <ac:spMk id="7" creationId="{8A1D3E64-85BA-4269-9D3E-00F47D07F04D}"/>
          </ac:spMkLst>
        </pc:spChg>
        <pc:spChg chg="add del mod">
          <ac:chgData name="Hasan Senol Coskun" userId="88cd95f7b86daa2f" providerId="LiveId" clId="{0A1DC79D-782D-493E-B89A-90325507C91B}" dt="2020-11-13T20:51:46.735" v="1973" actId="478"/>
          <ac:spMkLst>
            <pc:docMk/>
            <pc:sldMk cId="159857865" sldId="1747256622"/>
            <ac:spMk id="10" creationId="{84C381C8-F65D-4AC5-9F9D-450F725089C4}"/>
          </ac:spMkLst>
        </pc:spChg>
        <pc:spChg chg="add del mod">
          <ac:chgData name="Hasan Senol Coskun" userId="88cd95f7b86daa2f" providerId="LiveId" clId="{0A1DC79D-782D-493E-B89A-90325507C91B}" dt="2020-11-13T20:52:28.217" v="1987" actId="478"/>
          <ac:spMkLst>
            <pc:docMk/>
            <pc:sldMk cId="159857865" sldId="1747256622"/>
            <ac:spMk id="11" creationId="{4E98F4A9-8575-43F6-8384-086685E13E8A}"/>
          </ac:spMkLst>
        </pc:spChg>
        <pc:spChg chg="mod">
          <ac:chgData name="Hasan Senol Coskun" userId="88cd95f7b86daa2f" providerId="LiveId" clId="{0A1DC79D-782D-493E-B89A-90325507C91B}" dt="2020-11-13T20:52:42.171" v="1989" actId="208"/>
          <ac:spMkLst>
            <pc:docMk/>
            <pc:sldMk cId="159857865" sldId="1747256622"/>
            <ac:spMk id="12" creationId="{A9D609D3-A3A7-496A-BDF8-D2928748BD36}"/>
          </ac:spMkLst>
        </pc:spChg>
        <pc:spChg chg="add mod">
          <ac:chgData name="Hasan Senol Coskun" userId="88cd95f7b86daa2f" providerId="LiveId" clId="{0A1DC79D-782D-493E-B89A-90325507C91B}" dt="2020-11-14T06:31:23.357" v="3292" actId="20577"/>
          <ac:spMkLst>
            <pc:docMk/>
            <pc:sldMk cId="159857865" sldId="1747256622"/>
            <ac:spMk id="32" creationId="{4AF0BDBA-C26F-401F-AA91-90FC08607610}"/>
          </ac:spMkLst>
        </pc:spChg>
        <pc:spChg chg="add del mod">
          <ac:chgData name="Hasan Senol Coskun" userId="88cd95f7b86daa2f" providerId="LiveId" clId="{0A1DC79D-782D-493E-B89A-90325507C91B}" dt="2020-11-13T20:51:20.151" v="1958"/>
          <ac:spMkLst>
            <pc:docMk/>
            <pc:sldMk cId="159857865" sldId="1747256622"/>
            <ac:spMk id="34" creationId="{55587FB2-53B3-4769-9059-AF83E9BA9393}"/>
          </ac:spMkLst>
        </pc:spChg>
        <pc:spChg chg="add del mod">
          <ac:chgData name="Hasan Senol Coskun" userId="88cd95f7b86daa2f" providerId="LiveId" clId="{0A1DC79D-782D-493E-B89A-90325507C91B}" dt="2020-11-13T20:51:24.756" v="1960"/>
          <ac:spMkLst>
            <pc:docMk/>
            <pc:sldMk cId="159857865" sldId="1747256622"/>
            <ac:spMk id="35" creationId="{AC4B817A-58AD-4AB9-A6DA-B1F09E5338FD}"/>
          </ac:spMkLst>
        </pc:spChg>
        <pc:grpChg chg="del mod">
          <ac:chgData name="Hasan Senol Coskun" userId="88cd95f7b86daa2f" providerId="LiveId" clId="{0A1DC79D-782D-493E-B89A-90325507C91B}" dt="2020-11-13T20:52:18.429" v="1984" actId="478"/>
          <ac:grpSpMkLst>
            <pc:docMk/>
            <pc:sldMk cId="159857865" sldId="1747256622"/>
            <ac:grpSpMk id="5" creationId="{8A460118-2E22-4664-8D70-2BF48DE09749}"/>
          </ac:grpSpMkLst>
        </pc:grpChg>
        <pc:picChg chg="mod">
          <ac:chgData name="Hasan Senol Coskun" userId="88cd95f7b86daa2f" providerId="LiveId" clId="{0A1DC79D-782D-493E-B89A-90325507C91B}" dt="2020-11-13T20:52:16.968" v="1983" actId="1076"/>
          <ac:picMkLst>
            <pc:docMk/>
            <pc:sldMk cId="159857865" sldId="1747256622"/>
            <ac:picMk id="6" creationId="{0F449C3C-F4ED-4B9B-B2B8-CDE74507AC8F}"/>
          </ac:picMkLst>
        </pc:picChg>
      </pc:sldChg>
      <pc:sldChg chg="addSp delSp modSp mod modClrScheme chgLayout modNotesTx">
        <pc:chgData name="Hasan Senol Coskun" userId="88cd95f7b86daa2f" providerId="LiveId" clId="{0A1DC79D-782D-493E-B89A-90325507C91B}" dt="2020-11-14T10:38:40.238" v="4492" actId="20577"/>
        <pc:sldMkLst>
          <pc:docMk/>
          <pc:sldMk cId="1228440813" sldId="1747256623"/>
        </pc:sldMkLst>
        <pc:spChg chg="del mod ord">
          <ac:chgData name="Hasan Senol Coskun" userId="88cd95f7b86daa2f" providerId="LiveId" clId="{0A1DC79D-782D-493E-B89A-90325507C91B}" dt="2020-11-13T20:50:25.293" v="1950" actId="478"/>
          <ac:spMkLst>
            <pc:docMk/>
            <pc:sldMk cId="1228440813" sldId="1747256623"/>
            <ac:spMk id="2" creationId="{C0E1F8F4-52C6-462A-AFCE-40A7E2D53E43}"/>
          </ac:spMkLst>
        </pc:spChg>
        <pc:spChg chg="del">
          <ac:chgData name="Hasan Senol Coskun" userId="88cd95f7b86daa2f" providerId="LiveId" clId="{0A1DC79D-782D-493E-B89A-90325507C91B}" dt="2020-11-13T20:48:15.655" v="1931" actId="478"/>
          <ac:spMkLst>
            <pc:docMk/>
            <pc:sldMk cId="1228440813" sldId="1747256623"/>
            <ac:spMk id="7" creationId="{8A1D3E64-85BA-4269-9D3E-00F47D07F04D}"/>
          </ac:spMkLst>
        </pc:spChg>
        <pc:spChg chg="add del mod">
          <ac:chgData name="Hasan Senol Coskun" userId="88cd95f7b86daa2f" providerId="LiveId" clId="{0A1DC79D-782D-493E-B89A-90325507C91B}" dt="2020-11-13T20:50:28.132" v="1951" actId="478"/>
          <ac:spMkLst>
            <pc:docMk/>
            <pc:sldMk cId="1228440813" sldId="1747256623"/>
            <ac:spMk id="8" creationId="{62A86C5D-5AE8-48D6-B355-161AB83DE239}"/>
          </ac:spMkLst>
        </pc:spChg>
        <pc:spChg chg="mod">
          <ac:chgData name="Hasan Senol Coskun" userId="88cd95f7b86daa2f" providerId="LiveId" clId="{0A1DC79D-782D-493E-B89A-90325507C91B}" dt="2020-11-13T20:48:11.442" v="1930" actId="1076"/>
          <ac:spMkLst>
            <pc:docMk/>
            <pc:sldMk cId="1228440813" sldId="1747256623"/>
            <ac:spMk id="12" creationId="{F6AB2763-1395-4241-8A01-BE9D8DE3C704}"/>
          </ac:spMkLst>
        </pc:spChg>
        <pc:spChg chg="add mod">
          <ac:chgData name="Hasan Senol Coskun" userId="88cd95f7b86daa2f" providerId="LiveId" clId="{0A1DC79D-782D-493E-B89A-90325507C91B}" dt="2020-11-14T10:38:40.238" v="4492" actId="20577"/>
          <ac:spMkLst>
            <pc:docMk/>
            <pc:sldMk cId="1228440813" sldId="1747256623"/>
            <ac:spMk id="52" creationId="{A8B8F0FD-269B-4910-A430-5D1EC0DD7A2A}"/>
          </ac:spMkLst>
        </pc:spChg>
        <pc:grpChg chg="del mod">
          <ac:chgData name="Hasan Senol Coskun" userId="88cd95f7b86daa2f" providerId="LiveId" clId="{0A1DC79D-782D-493E-B89A-90325507C91B}" dt="2020-11-13T20:48:15.655" v="1931" actId="478"/>
          <ac:grpSpMkLst>
            <pc:docMk/>
            <pc:sldMk cId="1228440813" sldId="1747256623"/>
            <ac:grpSpMk id="5" creationId="{8A460118-2E22-4664-8D70-2BF48DE09749}"/>
          </ac:grpSpMkLst>
        </pc:grpChg>
        <pc:picChg chg="del mod">
          <ac:chgData name="Hasan Senol Coskun" userId="88cd95f7b86daa2f" providerId="LiveId" clId="{0A1DC79D-782D-493E-B89A-90325507C91B}" dt="2020-11-13T20:48:35.142" v="1932" actId="478"/>
          <ac:picMkLst>
            <pc:docMk/>
            <pc:sldMk cId="1228440813" sldId="1747256623"/>
            <ac:picMk id="6" creationId="{0F449C3C-F4ED-4B9B-B2B8-CDE74507AC8F}"/>
          </ac:picMkLst>
        </pc:picChg>
      </pc:sldChg>
      <pc:sldChg chg="del">
        <pc:chgData name="Hasan Senol Coskun" userId="88cd95f7b86daa2f" providerId="LiveId" clId="{0A1DC79D-782D-493E-B89A-90325507C91B}" dt="2020-11-13T20:53:56.721" v="1995" actId="47"/>
        <pc:sldMkLst>
          <pc:docMk/>
          <pc:sldMk cId="3538427389" sldId="1747256624"/>
        </pc:sldMkLst>
      </pc:sldChg>
      <pc:sldChg chg="addSp delSp modSp mod modNotesTx">
        <pc:chgData name="Hasan Senol Coskun" userId="88cd95f7b86daa2f" providerId="LiveId" clId="{0A1DC79D-782D-493E-B89A-90325507C91B}" dt="2020-11-14T10:38:24.636" v="4491" actId="20577"/>
        <pc:sldMkLst>
          <pc:docMk/>
          <pc:sldMk cId="151379667" sldId="1747256625"/>
        </pc:sldMkLst>
        <pc:spChg chg="del mod">
          <ac:chgData name="Hasan Senol Coskun" userId="88cd95f7b86daa2f" providerId="LiveId" clId="{0A1DC79D-782D-493E-B89A-90325507C91B}" dt="2020-11-13T20:55:30.862" v="2015" actId="478"/>
          <ac:spMkLst>
            <pc:docMk/>
            <pc:sldMk cId="151379667" sldId="1747256625"/>
            <ac:spMk id="2" creationId="{4C8D9CF4-2511-4585-90B2-532F4FDFEE52}"/>
          </ac:spMkLst>
        </pc:spChg>
        <pc:spChg chg="del mod">
          <ac:chgData name="Hasan Senol Coskun" userId="88cd95f7b86daa2f" providerId="LiveId" clId="{0A1DC79D-782D-493E-B89A-90325507C91B}" dt="2020-11-13T20:55:27.819" v="2014" actId="478"/>
          <ac:spMkLst>
            <pc:docMk/>
            <pc:sldMk cId="151379667" sldId="1747256625"/>
            <ac:spMk id="3" creationId="{FA129214-600A-4479-8616-3F08C2FA7506}"/>
          </ac:spMkLst>
        </pc:spChg>
        <pc:spChg chg="add mod">
          <ac:chgData name="Hasan Senol Coskun" userId="88cd95f7b86daa2f" providerId="LiveId" clId="{0A1DC79D-782D-493E-B89A-90325507C91B}" dt="2020-11-14T10:38:24.636" v="4491" actId="20577"/>
          <ac:spMkLst>
            <pc:docMk/>
            <pc:sldMk cId="151379667" sldId="1747256625"/>
            <ac:spMk id="4" creationId="{1E52D75F-4552-43C9-A21C-8C3D45A3BDFC}"/>
          </ac:spMkLst>
        </pc:spChg>
        <pc:spChg chg="mod">
          <ac:chgData name="Hasan Senol Coskun" userId="88cd95f7b86daa2f" providerId="LiveId" clId="{0A1DC79D-782D-493E-B89A-90325507C91B}" dt="2020-11-13T20:55:51.714" v="2019" actId="404"/>
          <ac:spMkLst>
            <pc:docMk/>
            <pc:sldMk cId="151379667" sldId="1747256625"/>
            <ac:spMk id="6" creationId="{2596F566-CDCF-4FBE-AABF-D661A8F1DCE8}"/>
          </ac:spMkLst>
        </pc:spChg>
        <pc:spChg chg="mod">
          <ac:chgData name="Hasan Senol Coskun" userId="88cd95f7b86daa2f" providerId="LiveId" clId="{0A1DC79D-782D-493E-B89A-90325507C91B}" dt="2020-11-13T20:55:42.767" v="2016" actId="207"/>
          <ac:spMkLst>
            <pc:docMk/>
            <pc:sldMk cId="151379667" sldId="1747256625"/>
            <ac:spMk id="7" creationId="{2A738C4B-B305-4588-A67A-51F6E060009B}"/>
          </ac:spMkLst>
        </pc:spChg>
      </pc:sldChg>
      <pc:sldChg chg="addSp delSp modSp mod modNotesTx">
        <pc:chgData name="Hasan Senol Coskun" userId="88cd95f7b86daa2f" providerId="LiveId" clId="{0A1DC79D-782D-493E-B89A-90325507C91B}" dt="2020-11-13T21:04:09.253" v="2102" actId="571"/>
        <pc:sldMkLst>
          <pc:docMk/>
          <pc:sldMk cId="697585217" sldId="1747256626"/>
        </pc:sldMkLst>
        <pc:spChg chg="del mod">
          <ac:chgData name="Hasan Senol Coskun" userId="88cd95f7b86daa2f" providerId="LiveId" clId="{0A1DC79D-782D-493E-B89A-90325507C91B}" dt="2020-11-13T20:57:08.552" v="2030" actId="478"/>
          <ac:spMkLst>
            <pc:docMk/>
            <pc:sldMk cId="697585217" sldId="1747256626"/>
            <ac:spMk id="2" creationId="{4BAD8560-204E-46BF-BEE5-3533B1C30FF2}"/>
          </ac:spMkLst>
        </pc:spChg>
        <pc:spChg chg="add mod">
          <ac:chgData name="Hasan Senol Coskun" userId="88cd95f7b86daa2f" providerId="LiveId" clId="{0A1DC79D-782D-493E-B89A-90325507C91B}" dt="2020-11-13T20:57:05.296" v="2029" actId="207"/>
          <ac:spMkLst>
            <pc:docMk/>
            <pc:sldMk cId="697585217" sldId="1747256626"/>
            <ac:spMk id="3" creationId="{47B9AD01-53D2-453E-9161-9BE51F276E3F}"/>
          </ac:spMkLst>
        </pc:spChg>
        <pc:spChg chg="del">
          <ac:chgData name="Hasan Senol Coskun" userId="88cd95f7b86daa2f" providerId="LiveId" clId="{0A1DC79D-782D-493E-B89A-90325507C91B}" dt="2020-11-13T20:56:12.681" v="2021" actId="478"/>
          <ac:spMkLst>
            <pc:docMk/>
            <pc:sldMk cId="697585217" sldId="1747256626"/>
            <ac:spMk id="6" creationId="{F15AFECB-E83B-47F1-BCB9-21F431AFA3E8}"/>
          </ac:spMkLst>
        </pc:spChg>
        <pc:spChg chg="add mod">
          <ac:chgData name="Hasan Senol Coskun" userId="88cd95f7b86daa2f" providerId="LiveId" clId="{0A1DC79D-782D-493E-B89A-90325507C91B}" dt="2020-11-13T21:04:09.253" v="2102" actId="571"/>
          <ac:spMkLst>
            <pc:docMk/>
            <pc:sldMk cId="697585217" sldId="1747256626"/>
            <ac:spMk id="242" creationId="{0CBD81CC-3F7D-4F70-B3A8-99A63545DC31}"/>
          </ac:spMkLst>
        </pc:spChg>
        <pc:grpChg chg="del">
          <ac:chgData name="Hasan Senol Coskun" userId="88cd95f7b86daa2f" providerId="LiveId" clId="{0A1DC79D-782D-493E-B89A-90325507C91B}" dt="2020-11-13T20:56:08.139" v="2020" actId="478"/>
          <ac:grpSpMkLst>
            <pc:docMk/>
            <pc:sldMk cId="697585217" sldId="1747256626"/>
            <ac:grpSpMk id="9" creationId="{3AD4377B-8203-4D12-B813-80D2A56D7756}"/>
          </ac:grpSpMkLst>
        </pc:grpChg>
      </pc:sldChg>
      <pc:sldChg chg="addSp delSp modSp mod modNotesTx">
        <pc:chgData name="Hasan Senol Coskun" userId="88cd95f7b86daa2f" providerId="LiveId" clId="{0A1DC79D-782D-493E-B89A-90325507C91B}" dt="2020-11-14T10:21:50.494" v="4298" actId="403"/>
        <pc:sldMkLst>
          <pc:docMk/>
          <pc:sldMk cId="3117966451" sldId="1747256627"/>
        </pc:sldMkLst>
        <pc:spChg chg="add mod">
          <ac:chgData name="Hasan Senol Coskun" userId="88cd95f7b86daa2f" providerId="LiveId" clId="{0A1DC79D-782D-493E-B89A-90325507C91B}" dt="2020-11-14T10:21:50.494" v="4298" actId="403"/>
          <ac:spMkLst>
            <pc:docMk/>
            <pc:sldMk cId="3117966451" sldId="1747256627"/>
            <ac:spMk id="4" creationId="{BB7A3D08-9ABC-4BBD-9D92-36117908CB7C}"/>
          </ac:spMkLst>
        </pc:spChg>
        <pc:spChg chg="mod">
          <ac:chgData name="Hasan Senol Coskun" userId="88cd95f7b86daa2f" providerId="LiveId" clId="{0A1DC79D-782D-493E-B89A-90325507C91B}" dt="2020-11-13T21:00:11.658" v="2058" actId="6549"/>
          <ac:spMkLst>
            <pc:docMk/>
            <pc:sldMk cId="3117966451" sldId="1747256627"/>
            <ac:spMk id="15" creationId="{CE439BA1-69C5-4E54-8249-D2AA50ADD0C8}"/>
          </ac:spMkLst>
        </pc:spChg>
        <pc:spChg chg="mod">
          <ac:chgData name="Hasan Senol Coskun" userId="88cd95f7b86daa2f" providerId="LiveId" clId="{0A1DC79D-782D-493E-B89A-90325507C91B}" dt="2020-11-13T20:58:40.528" v="2044" actId="6549"/>
          <ac:spMkLst>
            <pc:docMk/>
            <pc:sldMk cId="3117966451" sldId="1747256627"/>
            <ac:spMk id="23555" creationId="{D8D1E7D9-6F6E-4AE1-B0A1-C3C5EDF72F09}"/>
          </ac:spMkLst>
        </pc:spChg>
        <pc:spChg chg="mod">
          <ac:chgData name="Hasan Senol Coskun" userId="88cd95f7b86daa2f" providerId="LiveId" clId="{0A1DC79D-782D-493E-B89A-90325507C91B}" dt="2020-11-14T06:33:44.589" v="3296" actId="1076"/>
          <ac:spMkLst>
            <pc:docMk/>
            <pc:sldMk cId="3117966451" sldId="1747256627"/>
            <ac:spMk id="23556" creationId="{94E243A6-78F8-4E2F-87D2-C9887EC2D00A}"/>
          </ac:spMkLst>
        </pc:spChg>
        <pc:spChg chg="mod">
          <ac:chgData name="Hasan Senol Coskun" userId="88cd95f7b86daa2f" providerId="LiveId" clId="{0A1DC79D-782D-493E-B89A-90325507C91B}" dt="2020-11-13T20:57:20.686" v="2031" actId="207"/>
          <ac:spMkLst>
            <pc:docMk/>
            <pc:sldMk cId="3117966451" sldId="1747256627"/>
            <ac:spMk id="64514" creationId="{0B410525-86C2-4B5F-A575-D1F2049E24B6}"/>
          </ac:spMkLst>
        </pc:spChg>
        <pc:grpChg chg="del">
          <ac:chgData name="Hasan Senol Coskun" userId="88cd95f7b86daa2f" providerId="LiveId" clId="{0A1DC79D-782D-493E-B89A-90325507C91B}" dt="2020-11-13T21:00:14.693" v="2059" actId="478"/>
          <ac:grpSpMkLst>
            <pc:docMk/>
            <pc:sldMk cId="3117966451" sldId="1747256627"/>
            <ac:grpSpMk id="13" creationId="{2C3F8AAC-0A8D-4C79-9EA8-0544F356DBB2}"/>
          </ac:grpSpMkLst>
        </pc:grpChg>
        <pc:picChg chg="add del mod">
          <ac:chgData name="Hasan Senol Coskun" userId="88cd95f7b86daa2f" providerId="LiveId" clId="{0A1DC79D-782D-493E-B89A-90325507C91B}" dt="2020-11-13T20:59:13.589" v="2047" actId="478"/>
          <ac:picMkLst>
            <pc:docMk/>
            <pc:sldMk cId="3117966451" sldId="1747256627"/>
            <ac:picMk id="3" creationId="{9A8E4C34-F457-403B-B5D6-DDA5C841EE09}"/>
          </ac:picMkLst>
        </pc:picChg>
      </pc:sldChg>
      <pc:sldChg chg="addSp delSp modSp del mod">
        <pc:chgData name="Hasan Senol Coskun" userId="88cd95f7b86daa2f" providerId="LiveId" clId="{0A1DC79D-782D-493E-B89A-90325507C91B}" dt="2020-11-14T10:22:20.207" v="4299" actId="47"/>
        <pc:sldMkLst>
          <pc:docMk/>
          <pc:sldMk cId="661509449" sldId="1747256628"/>
        </pc:sldMkLst>
        <pc:spChg chg="del mod">
          <ac:chgData name="Hasan Senol Coskun" userId="88cd95f7b86daa2f" providerId="LiveId" clId="{0A1DC79D-782D-493E-B89A-90325507C91B}" dt="2020-11-13T21:01:57.460" v="2075" actId="478"/>
          <ac:spMkLst>
            <pc:docMk/>
            <pc:sldMk cId="661509449" sldId="1747256628"/>
            <ac:spMk id="2" creationId="{DB044CCD-E486-4FD7-B869-B970F773FAC8}"/>
          </ac:spMkLst>
        </pc:spChg>
        <pc:spChg chg="mod">
          <ac:chgData name="Hasan Senol Coskun" userId="88cd95f7b86daa2f" providerId="LiveId" clId="{0A1DC79D-782D-493E-B89A-90325507C91B}" dt="2020-11-13T21:00:59.416" v="2065" actId="6549"/>
          <ac:spMkLst>
            <pc:docMk/>
            <pc:sldMk cId="661509449" sldId="1747256628"/>
            <ac:spMk id="5" creationId="{CB6617CB-ADF7-4B15-8205-2CD400E34468}"/>
          </ac:spMkLst>
        </pc:spChg>
        <pc:spChg chg="add del mod">
          <ac:chgData name="Hasan Senol Coskun" userId="88cd95f7b86daa2f" providerId="LiveId" clId="{0A1DC79D-782D-493E-B89A-90325507C91B}" dt="2020-11-13T21:01:17.697" v="2068" actId="478"/>
          <ac:spMkLst>
            <pc:docMk/>
            <pc:sldMk cId="661509449" sldId="1747256628"/>
            <ac:spMk id="7" creationId="{8AB3541E-8BCC-47AD-882F-FCDA08A99B3F}"/>
          </ac:spMkLst>
        </pc:spChg>
        <pc:spChg chg="add mod">
          <ac:chgData name="Hasan Senol Coskun" userId="88cd95f7b86daa2f" providerId="LiveId" clId="{0A1DC79D-782D-493E-B89A-90325507C91B}" dt="2020-11-13T21:04:01.232" v="2101" actId="1076"/>
          <ac:spMkLst>
            <pc:docMk/>
            <pc:sldMk cId="661509449" sldId="1747256628"/>
            <ac:spMk id="9" creationId="{BA2831F8-90FB-4DBD-AF10-35302A8BC3FF}"/>
          </ac:spMkLst>
        </pc:spChg>
        <pc:spChg chg="del">
          <ac:chgData name="Hasan Senol Coskun" userId="88cd95f7b86daa2f" providerId="LiveId" clId="{0A1DC79D-782D-493E-B89A-90325507C91B}" dt="2020-11-13T21:01:13.004" v="2067" actId="478"/>
          <ac:spMkLst>
            <pc:docMk/>
            <pc:sldMk cId="661509449" sldId="1747256628"/>
            <ac:spMk id="18" creationId="{875FA847-68F8-4A30-928B-E006A30ED995}"/>
          </ac:spMkLst>
        </pc:spChg>
        <pc:grpChg chg="del">
          <ac:chgData name="Hasan Senol Coskun" userId="88cd95f7b86daa2f" providerId="LiveId" clId="{0A1DC79D-782D-493E-B89A-90325507C91B}" dt="2020-11-13T21:01:04.792" v="2066" actId="478"/>
          <ac:grpSpMkLst>
            <pc:docMk/>
            <pc:sldMk cId="661509449" sldId="1747256628"/>
            <ac:grpSpMk id="3" creationId="{01A0CAE9-1552-4215-BEAA-3A84F423879B}"/>
          </ac:grpSpMkLst>
        </pc:grpChg>
      </pc:sldChg>
      <pc:sldChg chg="addSp delSp modSp del mod modNotesTx">
        <pc:chgData name="Hasan Senol Coskun" userId="88cd95f7b86daa2f" providerId="LiveId" clId="{0A1DC79D-782D-493E-B89A-90325507C91B}" dt="2020-11-14T10:22:21.815" v="4300" actId="47"/>
        <pc:sldMkLst>
          <pc:docMk/>
          <pc:sldMk cId="4270373084" sldId="1747256629"/>
        </pc:sldMkLst>
        <pc:spChg chg="del mod">
          <ac:chgData name="Hasan Senol Coskun" userId="88cd95f7b86daa2f" providerId="LiveId" clId="{0A1DC79D-782D-493E-B89A-90325507C91B}" dt="2020-11-13T21:02:34.971" v="2085" actId="478"/>
          <ac:spMkLst>
            <pc:docMk/>
            <pc:sldMk cId="4270373084" sldId="1747256629"/>
            <ac:spMk id="2" creationId="{DB044CCD-E486-4FD7-B869-B970F773FAC8}"/>
          </ac:spMkLst>
        </pc:spChg>
        <pc:spChg chg="add mod">
          <ac:chgData name="Hasan Senol Coskun" userId="88cd95f7b86daa2f" providerId="LiveId" clId="{0A1DC79D-782D-493E-B89A-90325507C91B}" dt="2020-11-13T21:02:30.377" v="2084" actId="20577"/>
          <ac:spMkLst>
            <pc:docMk/>
            <pc:sldMk cId="4270373084" sldId="1747256629"/>
            <ac:spMk id="6" creationId="{AD50502D-8B6D-4CE1-B6D6-15B709F70352}"/>
          </ac:spMkLst>
        </pc:spChg>
        <pc:spChg chg="add del mod">
          <ac:chgData name="Hasan Senol Coskun" userId="88cd95f7b86daa2f" providerId="LiveId" clId="{0A1DC79D-782D-493E-B89A-90325507C91B}" dt="2020-11-13T21:03:57.160" v="2100" actId="478"/>
          <ac:spMkLst>
            <pc:docMk/>
            <pc:sldMk cId="4270373084" sldId="1747256629"/>
            <ac:spMk id="7" creationId="{D9282D79-F3D7-4ED1-A5CC-85FD89B56ADD}"/>
          </ac:spMkLst>
        </pc:spChg>
        <pc:spChg chg="add del mod">
          <ac:chgData name="Hasan Senol Coskun" userId="88cd95f7b86daa2f" providerId="LiveId" clId="{0A1DC79D-782D-493E-B89A-90325507C91B}" dt="2020-11-13T21:02:45.633" v="2087" actId="478"/>
          <ac:spMkLst>
            <pc:docMk/>
            <pc:sldMk cId="4270373084" sldId="1747256629"/>
            <ac:spMk id="8" creationId="{CE98F691-6D9F-4D44-B4A0-19E9AABB981D}"/>
          </ac:spMkLst>
        </pc:spChg>
        <pc:spChg chg="del">
          <ac:chgData name="Hasan Senol Coskun" userId="88cd95f7b86daa2f" providerId="LiveId" clId="{0A1DC79D-782D-493E-B89A-90325507C91B}" dt="2020-11-13T21:02:38.299" v="2086" actId="478"/>
          <ac:spMkLst>
            <pc:docMk/>
            <pc:sldMk cId="4270373084" sldId="1747256629"/>
            <ac:spMk id="30" creationId="{744FB974-AF4C-438F-8BAF-DACD9460210D}"/>
          </ac:spMkLst>
        </pc:spChg>
        <pc:grpChg chg="del">
          <ac:chgData name="Hasan Senol Coskun" userId="88cd95f7b86daa2f" providerId="LiveId" clId="{0A1DC79D-782D-493E-B89A-90325507C91B}" dt="2020-11-13T21:02:50.155" v="2088" actId="478"/>
          <ac:grpSpMkLst>
            <pc:docMk/>
            <pc:sldMk cId="4270373084" sldId="1747256629"/>
            <ac:grpSpMk id="3" creationId="{01A0CAE9-1552-4215-BEAA-3A84F423879B}"/>
          </ac:grpSpMkLst>
        </pc:grpChg>
      </pc:sldChg>
      <pc:sldChg chg="del">
        <pc:chgData name="Hasan Senol Coskun" userId="88cd95f7b86daa2f" providerId="LiveId" clId="{0A1DC79D-782D-493E-B89A-90325507C91B}" dt="2020-11-13T21:03:01.916" v="2090" actId="47"/>
        <pc:sldMkLst>
          <pc:docMk/>
          <pc:sldMk cId="2138332823" sldId="1747256630"/>
        </pc:sldMkLst>
      </pc:sldChg>
      <pc:sldChg chg="addSp modSp mod modNotesTx">
        <pc:chgData name="Hasan Senol Coskun" userId="88cd95f7b86daa2f" providerId="LiveId" clId="{0A1DC79D-782D-493E-B89A-90325507C91B}" dt="2020-11-14T06:34:14.898" v="3298" actId="14100"/>
        <pc:sldMkLst>
          <pc:docMk/>
          <pc:sldMk cId="3584985024" sldId="1747256631"/>
        </pc:sldMkLst>
        <pc:spChg chg="add mod">
          <ac:chgData name="Hasan Senol Coskun" userId="88cd95f7b86daa2f" providerId="LiveId" clId="{0A1DC79D-782D-493E-B89A-90325507C91B}" dt="2020-11-14T06:34:14.898" v="3298" actId="14100"/>
          <ac:spMkLst>
            <pc:docMk/>
            <pc:sldMk cId="3584985024" sldId="1747256631"/>
            <ac:spMk id="2" creationId="{6835F67B-28D3-43EF-9A83-62681252036C}"/>
          </ac:spMkLst>
        </pc:spChg>
        <pc:spChg chg="mod">
          <ac:chgData name="Hasan Senol Coskun" userId="88cd95f7b86daa2f" providerId="LiveId" clId="{0A1DC79D-782D-493E-B89A-90325507C91B}" dt="2020-11-13T21:04:24.767" v="2105" actId="27636"/>
          <ac:spMkLst>
            <pc:docMk/>
            <pc:sldMk cId="3584985024" sldId="1747256631"/>
            <ac:spMk id="5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1:03:47.394" v="2099" actId="14100"/>
          <ac:spMkLst>
            <pc:docMk/>
            <pc:sldMk cId="3584985024" sldId="1747256631"/>
            <ac:spMk id="6" creationId="{D79CA427-FF14-46EB-BC09-002512FFAA11}"/>
          </ac:spMkLst>
        </pc:spChg>
        <pc:spChg chg="mod">
          <ac:chgData name="Hasan Senol Coskun" userId="88cd95f7b86daa2f" providerId="LiveId" clId="{0A1DC79D-782D-493E-B89A-90325507C91B}" dt="2020-11-13T21:05:40.498" v="2119" actId="113"/>
          <ac:spMkLst>
            <pc:docMk/>
            <pc:sldMk cId="3584985024" sldId="1747256631"/>
            <ac:spMk id="8" creationId="{602B2D2F-B48A-446F-9D9F-E33A106A7744}"/>
          </ac:spMkLst>
        </pc:spChg>
      </pc:sldChg>
      <pc:sldChg chg="modSp del mod ord modClrScheme chgLayout">
        <pc:chgData name="Hasan Senol Coskun" userId="88cd95f7b86daa2f" providerId="LiveId" clId="{0A1DC79D-782D-493E-B89A-90325507C91B}" dt="2020-11-13T21:56:38.686" v="3046" actId="47"/>
        <pc:sldMkLst>
          <pc:docMk/>
          <pc:sldMk cId="11546697" sldId="1747256632"/>
        </pc:sldMkLst>
        <pc:spChg chg="mod ord">
          <ac:chgData name="Hasan Senol Coskun" userId="88cd95f7b86daa2f" providerId="LiveId" clId="{0A1DC79D-782D-493E-B89A-90325507C91B}" dt="2020-11-13T18:16:12.163" v="805" actId="20577"/>
          <ac:spMkLst>
            <pc:docMk/>
            <pc:sldMk cId="11546697" sldId="1747256632"/>
            <ac:spMk id="2" creationId="{9DB70BE3-D57C-4B2B-82C5-B19B3A2BE726}"/>
          </ac:spMkLst>
        </pc:spChg>
      </pc:sldChg>
      <pc:sldChg chg="del">
        <pc:chgData name="Hasan Senol Coskun" userId="88cd95f7b86daa2f" providerId="LiveId" clId="{0A1DC79D-782D-493E-B89A-90325507C91B}" dt="2020-11-13T18:21:13.288" v="971" actId="47"/>
        <pc:sldMkLst>
          <pc:docMk/>
          <pc:sldMk cId="1339621388" sldId="1747256633"/>
        </pc:sldMkLst>
      </pc:sldChg>
      <pc:sldChg chg="addSp modSp del mod modClrScheme chgLayout">
        <pc:chgData name="Hasan Senol Coskun" userId="88cd95f7b86daa2f" providerId="LiveId" clId="{0A1DC79D-782D-493E-B89A-90325507C91B}" dt="2020-11-13T20:30:35.133" v="1800" actId="47"/>
        <pc:sldMkLst>
          <pc:docMk/>
          <pc:sldMk cId="3444528434" sldId="1747256634"/>
        </pc:sldMkLst>
        <pc:spChg chg="mod ord">
          <ac:chgData name="Hasan Senol Coskun" userId="88cd95f7b86daa2f" providerId="LiveId" clId="{0A1DC79D-782D-493E-B89A-90325507C91B}" dt="2020-11-13T20:29:51.895" v="1797" actId="700"/>
          <ac:spMkLst>
            <pc:docMk/>
            <pc:sldMk cId="3444528434" sldId="1747256634"/>
            <ac:spMk id="2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47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48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49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50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51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52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53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54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55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56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57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58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59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60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61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62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63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64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65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66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67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68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69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70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71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72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30:17.440" v="1799" actId="208"/>
          <ac:spMkLst>
            <pc:docMk/>
            <pc:sldMk cId="3444528434" sldId="1747256634"/>
            <ac:spMk id="75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78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79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0:30:10.689" v="1798" actId="208"/>
          <ac:spMkLst>
            <pc:docMk/>
            <pc:sldMk cId="3444528434" sldId="1747256634"/>
            <ac:spMk id="80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81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82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83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84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18:22:12.705" v="972" actId="164"/>
          <ac:spMkLst>
            <pc:docMk/>
            <pc:sldMk cId="3444528434" sldId="1747256634"/>
            <ac:spMk id="87" creationId="{00000000-0000-0000-0000-000000000000}"/>
          </ac:spMkLst>
        </pc:spChg>
        <pc:grpChg chg="add mod">
          <ac:chgData name="Hasan Senol Coskun" userId="88cd95f7b86daa2f" providerId="LiveId" clId="{0A1DC79D-782D-493E-B89A-90325507C91B}" dt="2020-11-13T18:22:12.705" v="972" actId="164"/>
          <ac:grpSpMkLst>
            <pc:docMk/>
            <pc:sldMk cId="3444528434" sldId="1747256634"/>
            <ac:grpSpMk id="3" creationId="{3326380E-AED4-41CA-91CC-5942C0FD3EFD}"/>
          </ac:grpSpMkLst>
        </pc:grpChg>
        <pc:grpChg chg="mod">
          <ac:chgData name="Hasan Senol Coskun" userId="88cd95f7b86daa2f" providerId="LiveId" clId="{0A1DC79D-782D-493E-B89A-90325507C91B}" dt="2020-11-13T18:22:12.705" v="972" actId="164"/>
          <ac:grpSpMkLst>
            <pc:docMk/>
            <pc:sldMk cId="3444528434" sldId="1747256634"/>
            <ac:grpSpMk id="73" creationId="{00000000-0000-0000-0000-000000000000}"/>
          </ac:grpSpMkLst>
        </pc:grpChg>
      </pc:sldChg>
      <pc:sldChg chg="addSp modSp del">
        <pc:chgData name="Hasan Senol Coskun" userId="88cd95f7b86daa2f" providerId="LiveId" clId="{0A1DC79D-782D-493E-B89A-90325507C91B}" dt="2020-11-13T20:29:38" v="1796" actId="47"/>
        <pc:sldMkLst>
          <pc:docMk/>
          <pc:sldMk cId="4153699377" sldId="1747256635"/>
        </pc:sldMkLst>
        <pc:spChg chg="mod">
          <ac:chgData name="Hasan Senol Coskun" userId="88cd95f7b86daa2f" providerId="LiveId" clId="{0A1DC79D-782D-493E-B89A-90325507C91B}" dt="2020-11-13T18:23:48.157" v="998" actId="164"/>
          <ac:spMkLst>
            <pc:docMk/>
            <pc:sldMk cId="4153699377" sldId="1747256635"/>
            <ac:spMk id="15" creationId="{A2AE5398-ECD3-4E09-8E4D-7B9F86B2CC78}"/>
          </ac:spMkLst>
        </pc:spChg>
        <pc:spChg chg="mod">
          <ac:chgData name="Hasan Senol Coskun" userId="88cd95f7b86daa2f" providerId="LiveId" clId="{0A1DC79D-782D-493E-B89A-90325507C91B}" dt="2020-11-13T18:23:48.157" v="998" actId="164"/>
          <ac:spMkLst>
            <pc:docMk/>
            <pc:sldMk cId="4153699377" sldId="1747256635"/>
            <ac:spMk id="21" creationId="{C771E7DF-CBB7-489B-BBBD-CAF0F0233C77}"/>
          </ac:spMkLst>
        </pc:spChg>
        <pc:spChg chg="mod">
          <ac:chgData name="Hasan Senol Coskun" userId="88cd95f7b86daa2f" providerId="LiveId" clId="{0A1DC79D-782D-493E-B89A-90325507C91B}" dt="2020-11-13T18:23:48.157" v="998" actId="164"/>
          <ac:spMkLst>
            <pc:docMk/>
            <pc:sldMk cId="4153699377" sldId="1747256635"/>
            <ac:spMk id="22" creationId="{4F4010DC-6314-46FD-B560-65837F97C4CF}"/>
          </ac:spMkLst>
        </pc:spChg>
        <pc:grpChg chg="add mod">
          <ac:chgData name="Hasan Senol Coskun" userId="88cd95f7b86daa2f" providerId="LiveId" clId="{0A1DC79D-782D-493E-B89A-90325507C91B}" dt="2020-11-13T18:23:48.157" v="998" actId="164"/>
          <ac:grpSpMkLst>
            <pc:docMk/>
            <pc:sldMk cId="4153699377" sldId="1747256635"/>
            <ac:grpSpMk id="3" creationId="{2F6AFA33-4656-436B-A6F1-227FA6FE8E55}"/>
          </ac:grpSpMkLst>
        </pc:grpChg>
        <pc:picChg chg="mod">
          <ac:chgData name="Hasan Senol Coskun" userId="88cd95f7b86daa2f" providerId="LiveId" clId="{0A1DC79D-782D-493E-B89A-90325507C91B}" dt="2020-11-13T18:23:48.157" v="998" actId="164"/>
          <ac:picMkLst>
            <pc:docMk/>
            <pc:sldMk cId="4153699377" sldId="1747256635"/>
            <ac:picMk id="8" creationId="{7C5B02EF-2488-41DA-83A9-EC5648E8B073}"/>
          </ac:picMkLst>
        </pc:picChg>
        <pc:picChg chg="mod">
          <ac:chgData name="Hasan Senol Coskun" userId="88cd95f7b86daa2f" providerId="LiveId" clId="{0A1DC79D-782D-493E-B89A-90325507C91B}" dt="2020-11-13T18:23:48.157" v="998" actId="164"/>
          <ac:picMkLst>
            <pc:docMk/>
            <pc:sldMk cId="4153699377" sldId="1747256635"/>
            <ac:picMk id="10" creationId="{4F772D51-8CEF-4E54-AC12-1F88D667C7D5}"/>
          </ac:picMkLst>
        </pc:picChg>
        <pc:picChg chg="mod">
          <ac:chgData name="Hasan Senol Coskun" userId="88cd95f7b86daa2f" providerId="LiveId" clId="{0A1DC79D-782D-493E-B89A-90325507C91B}" dt="2020-11-13T18:23:48.157" v="998" actId="164"/>
          <ac:picMkLst>
            <pc:docMk/>
            <pc:sldMk cId="4153699377" sldId="1747256635"/>
            <ac:picMk id="2051" creationId="{00000000-0000-0000-0000-000000000000}"/>
          </ac:picMkLst>
        </pc:picChg>
      </pc:sldChg>
      <pc:sldChg chg="addSp delSp modSp mod modNotesTx">
        <pc:chgData name="Hasan Senol Coskun" userId="88cd95f7b86daa2f" providerId="LiveId" clId="{0A1DC79D-782D-493E-B89A-90325507C91B}" dt="2020-11-13T22:04:20.931" v="3167" actId="20577"/>
        <pc:sldMkLst>
          <pc:docMk/>
          <pc:sldMk cId="3894512702" sldId="1747256636"/>
        </pc:sldMkLst>
        <pc:spChg chg="del">
          <ac:chgData name="Hasan Senol Coskun" userId="88cd95f7b86daa2f" providerId="LiveId" clId="{0A1DC79D-782D-493E-B89A-90325507C91B}" dt="2020-11-13T22:02:11.660" v="3129" actId="478"/>
          <ac:spMkLst>
            <pc:docMk/>
            <pc:sldMk cId="3894512702" sldId="1747256636"/>
            <ac:spMk id="2" creationId="{CA47626F-302A-48AC-9638-93FAECF72DEB}"/>
          </ac:spMkLst>
        </pc:spChg>
        <pc:spChg chg="add del mod">
          <ac:chgData name="Hasan Senol Coskun" userId="88cd95f7b86daa2f" providerId="LiveId" clId="{0A1DC79D-782D-493E-B89A-90325507C91B}" dt="2020-11-13T22:02:33.928" v="3131" actId="478"/>
          <ac:spMkLst>
            <pc:docMk/>
            <pc:sldMk cId="3894512702" sldId="1747256636"/>
            <ac:spMk id="3" creationId="{F7F9EA97-808A-49B2-A1BA-8213DC9532E3}"/>
          </ac:spMkLst>
        </pc:spChg>
        <pc:spChg chg="mod">
          <ac:chgData name="Hasan Senol Coskun" userId="88cd95f7b86daa2f" providerId="LiveId" clId="{0A1DC79D-782D-493E-B89A-90325507C91B}" dt="2020-11-13T22:03:50.839" v="3164" actId="208"/>
          <ac:spMkLst>
            <pc:docMk/>
            <pc:sldMk cId="3894512702" sldId="1747256636"/>
            <ac:spMk id="4" creationId="{EB5AD536-EBC0-412B-9DBF-A26D1E22108E}"/>
          </ac:spMkLst>
        </pc:spChg>
        <pc:spChg chg="mod">
          <ac:chgData name="Hasan Senol Coskun" userId="88cd95f7b86daa2f" providerId="LiveId" clId="{0A1DC79D-782D-493E-B89A-90325507C91B}" dt="2020-11-13T22:04:06.360" v="3165" actId="6549"/>
          <ac:spMkLst>
            <pc:docMk/>
            <pc:sldMk cId="3894512702" sldId="1747256636"/>
            <ac:spMk id="18" creationId="{FC7EBE32-18CF-494B-83A3-CCFF010E4F39}"/>
          </ac:spMkLst>
        </pc:spChg>
        <pc:spChg chg="del">
          <ac:chgData name="Hasan Senol Coskun" userId="88cd95f7b86daa2f" providerId="LiveId" clId="{0A1DC79D-782D-493E-B89A-90325507C91B}" dt="2020-11-13T22:02:31.384" v="3130" actId="478"/>
          <ac:spMkLst>
            <pc:docMk/>
            <pc:sldMk cId="3894512702" sldId="1747256636"/>
            <ac:spMk id="19" creationId="{2A9445DA-26E4-4A4F-B7B4-891351EE68B0}"/>
          </ac:spMkLst>
        </pc:spChg>
        <pc:spChg chg="add mod">
          <ac:chgData name="Hasan Senol Coskun" userId="88cd95f7b86daa2f" providerId="LiveId" clId="{0A1DC79D-782D-493E-B89A-90325507C91B}" dt="2020-11-13T22:03:09.613" v="3158" actId="14100"/>
          <ac:spMkLst>
            <pc:docMk/>
            <pc:sldMk cId="3894512702" sldId="1747256636"/>
            <ac:spMk id="22" creationId="{589288BE-CE2C-4920-BB34-6453A3448028}"/>
          </ac:spMkLst>
        </pc:spChg>
        <pc:grpChg chg="del">
          <ac:chgData name="Hasan Senol Coskun" userId="88cd95f7b86daa2f" providerId="LiveId" clId="{0A1DC79D-782D-493E-B89A-90325507C91B}" dt="2020-11-13T22:04:16.319" v="3166" actId="478"/>
          <ac:grpSpMkLst>
            <pc:docMk/>
            <pc:sldMk cId="3894512702" sldId="1747256636"/>
            <ac:grpSpMk id="16" creationId="{F8290CDA-84CF-44AA-9A36-8751BDBF1C70}"/>
          </ac:grpSpMkLst>
        </pc:grpChg>
      </pc:sldChg>
      <pc:sldChg chg="addSp delSp modSp mod modClrScheme chgLayout">
        <pc:chgData name="Hasan Senol Coskun" userId="88cd95f7b86daa2f" providerId="LiveId" clId="{0A1DC79D-782D-493E-B89A-90325507C91B}" dt="2020-11-13T22:08:16.124" v="3212" actId="1076"/>
        <pc:sldMkLst>
          <pc:docMk/>
          <pc:sldMk cId="3335380977" sldId="1747256637"/>
        </pc:sldMkLst>
        <pc:spChg chg="del mod">
          <ac:chgData name="Hasan Senol Coskun" userId="88cd95f7b86daa2f" providerId="LiveId" clId="{0A1DC79D-782D-493E-B89A-90325507C91B}" dt="2020-11-13T22:05:07.426" v="3173" actId="478"/>
          <ac:spMkLst>
            <pc:docMk/>
            <pc:sldMk cId="3335380977" sldId="1747256637"/>
            <ac:spMk id="3" creationId="{D49A90BD-5FDE-4531-A43A-F1FEC0AB9C00}"/>
          </ac:spMkLst>
        </pc:spChg>
        <pc:spChg chg="add del mod">
          <ac:chgData name="Hasan Senol Coskun" userId="88cd95f7b86daa2f" providerId="LiveId" clId="{0A1DC79D-782D-493E-B89A-90325507C91B}" dt="2020-11-13T22:05:37.250" v="3177" actId="478"/>
          <ac:spMkLst>
            <pc:docMk/>
            <pc:sldMk cId="3335380977" sldId="1747256637"/>
            <ac:spMk id="4" creationId="{ACD19C1A-92DB-47D7-8D43-39408BFAD2FC}"/>
          </ac:spMkLst>
        </pc:spChg>
        <pc:spChg chg="del">
          <ac:chgData name="Hasan Senol Coskun" userId="88cd95f7b86daa2f" providerId="LiveId" clId="{0A1DC79D-782D-493E-B89A-90325507C91B}" dt="2020-11-13T22:07:45.515" v="3206" actId="478"/>
          <ac:spMkLst>
            <pc:docMk/>
            <pc:sldMk cId="3335380977" sldId="1747256637"/>
            <ac:spMk id="8" creationId="{34DE3AD3-2D14-480F-96AE-8F568CD6BA2B}"/>
          </ac:spMkLst>
        </pc:spChg>
        <pc:spChg chg="del">
          <ac:chgData name="Hasan Senol Coskun" userId="88cd95f7b86daa2f" providerId="LiveId" clId="{0A1DC79D-782D-493E-B89A-90325507C91B}" dt="2020-11-13T22:05:23.800" v="3176" actId="478"/>
          <ac:spMkLst>
            <pc:docMk/>
            <pc:sldMk cId="3335380977" sldId="1747256637"/>
            <ac:spMk id="9" creationId="{5D7EDE86-E5E1-44D9-9DAE-8EB40F6463E8}"/>
          </ac:spMkLst>
        </pc:spChg>
        <pc:spChg chg="del">
          <ac:chgData name="Hasan Senol Coskun" userId="88cd95f7b86daa2f" providerId="LiveId" clId="{0A1DC79D-782D-493E-B89A-90325507C91B}" dt="2020-11-13T22:05:23.800" v="3176" actId="478"/>
          <ac:spMkLst>
            <pc:docMk/>
            <pc:sldMk cId="3335380977" sldId="1747256637"/>
            <ac:spMk id="10" creationId="{3AFED477-E6F0-46DA-BF4A-EF5CBE9BD2B8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11" creationId="{F8FB9D87-E526-4EB1-8120-D822A2DEF764}"/>
          </ac:spMkLst>
        </pc:spChg>
        <pc:spChg chg="add del mod">
          <ac:chgData name="Hasan Senol Coskun" userId="88cd95f7b86daa2f" providerId="LiveId" clId="{0A1DC79D-782D-493E-B89A-90325507C91B}" dt="2020-11-13T22:05:57.491" v="3180" actId="478"/>
          <ac:spMkLst>
            <pc:docMk/>
            <pc:sldMk cId="3335380977" sldId="1747256637"/>
            <ac:spMk id="12" creationId="{F55FDA4D-D3F4-44F1-A8A9-04BAC99F7E3F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14" creationId="{634B8F14-37F2-4707-A4FB-6132F459BCAF}"/>
          </ac:spMkLst>
        </pc:spChg>
        <pc:spChg chg="add del mod ord">
          <ac:chgData name="Hasan Senol Coskun" userId="88cd95f7b86daa2f" providerId="LiveId" clId="{0A1DC79D-782D-493E-B89A-90325507C91B}" dt="2020-11-13T22:08:00.601" v="3209" actId="478"/>
          <ac:spMkLst>
            <pc:docMk/>
            <pc:sldMk cId="3335380977" sldId="1747256637"/>
            <ac:spMk id="15" creationId="{9415AF18-2354-4AAA-BCA1-E94A64CD8BEF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17" creationId="{47029354-13DA-4355-93A5-DFB837F27677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18" creationId="{592D7036-1A34-4045-BBAD-1A60D47060B2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21" creationId="{78AF5ED6-97E1-41F0-835E-FCF10BDE1480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22" creationId="{3082AB10-8233-4558-A1C9-DE9012FF2B2A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23" creationId="{FC191E07-9A86-4D8C-B024-D5DFA98F8E94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24" creationId="{BE619ACA-DAEB-49E1-8BE1-29576BB3074E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25" creationId="{F111231D-A446-4E5D-B512-EBE63E59C05B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26" creationId="{013C4817-3934-44BB-BD64-5722BD1E0CA1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27" creationId="{3B6B8FAC-7556-46E6-B050-018719722C8B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28" creationId="{DA0BACF3-1F44-439B-B007-D3748453D2E3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29" creationId="{BC8F47CC-E948-49A8-BAEA-26862B2B9806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30" creationId="{8A23EDBF-45EE-4EA3-B57B-3742EFF3BEF4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31" creationId="{1BEBD2A1-9E70-4E53-8EE7-CDF20A807152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32" creationId="{DC00E499-3614-4728-B460-8B85E7F49B8A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33" creationId="{DE377E9F-0CA7-4D51-94DF-8E6761BBC420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34" creationId="{89A1BDFB-73FA-4FDD-96DA-0C27CC6BA7C0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35" creationId="{729EF2CB-8053-4633-AB06-C3BC4D752003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36" creationId="{C2520034-14C6-426B-A101-327FBD60B8CD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37" creationId="{3D39AB1E-041E-4C85-8249-3A66F309D355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38" creationId="{E00B3273-08ED-4235-9E24-72938B6D6904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39" creationId="{0AA6CF44-1939-43BB-9C85-42E873D811A5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40" creationId="{CD35CB8E-6C71-4D3F-886F-D04FBBE05D00}"/>
          </ac:spMkLst>
        </pc:spChg>
        <pc:spChg chg="add del mod">
          <ac:chgData name="Hasan Senol Coskun" userId="88cd95f7b86daa2f" providerId="LiveId" clId="{0A1DC79D-782D-493E-B89A-90325507C91B}" dt="2020-11-13T22:08:05.277" v="3210" actId="478"/>
          <ac:spMkLst>
            <pc:docMk/>
            <pc:sldMk cId="3335380977" sldId="1747256637"/>
            <ac:spMk id="42" creationId="{FE345DEF-36A0-4F1D-8C08-36B9D79F9A64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44" creationId="{03756AC5-673B-4D72-8C46-5609CA1823C2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45" creationId="{A8AC5443-5EC0-4E80-84E9-DDABA28560CA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46" creationId="{1AB36C6E-C7F8-4614-8F6B-04543E736266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47" creationId="{AFEF9F8C-9CBC-47ED-A250-0D02696CE5BF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48" creationId="{5DAE93DF-5E71-4535-A2AF-595BC90350DA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49" creationId="{185D7022-9F8C-4600-B9C1-DFC8E19CF116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50" creationId="{220E22A0-67C4-4C9F-B317-CBDC2E49DAA8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51" creationId="{9242CD9F-0EA9-4FD4-8008-BBDECF152BC5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52" creationId="{80ADC470-2431-4B20-B7A6-37270C4CE43A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53" creationId="{B0BFF350-C9A4-4436-AB45-D22C86283637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54" creationId="{0A1DD51C-3B26-45E9-AFA7-99E53885CDB2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55" creationId="{CCFE4585-58DB-4A9F-8565-7AB2839EED0B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56" creationId="{4928B446-1B09-49BF-943E-3599C1ABACE7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57" creationId="{06169D2B-B7A3-4483-889F-2824315C3CC5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58" creationId="{517D5DEC-756D-4955-8669-7335D2808618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87" creationId="{E4CDBE1C-8529-4F5F-AB05-FF4656722CE0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88" creationId="{70BA6D66-BFA5-4AB6-95FE-AA2D7C901355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89" creationId="{897C1B75-B3D7-4481-82D9-058FC97129E4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90" creationId="{34470906-9945-49FF-860C-6B3FFED7B266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94" creationId="{366E9A97-2298-4B42-B507-24AC0F2F3557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95" creationId="{E2B67A77-DDFC-4E11-84E0-BC55B3F3FEC4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97" creationId="{00EB1D4A-EDDA-402D-A362-F9927C18CB65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175" creationId="{F740D0F6-4A2F-4B80-BA15-36DDDEE2F3B9}"/>
          </ac:spMkLst>
        </pc:spChg>
        <pc:spChg chg="del">
          <ac:chgData name="Hasan Senol Coskun" userId="88cd95f7b86daa2f" providerId="LiveId" clId="{0A1DC79D-782D-493E-B89A-90325507C91B}" dt="2020-11-13T22:05:23.800" v="3176" actId="478"/>
          <ac:spMkLst>
            <pc:docMk/>
            <pc:sldMk cId="3335380977" sldId="1747256637"/>
            <ac:spMk id="325" creationId="{F004F2B8-9E32-42F9-8EE7-99627AD09384}"/>
          </ac:spMkLst>
        </pc:spChg>
        <pc:spChg chg="add del mod">
          <ac:chgData name="Hasan Senol Coskun" userId="88cd95f7b86daa2f" providerId="LiveId" clId="{0A1DC79D-782D-493E-B89A-90325507C91B}" dt="2020-11-13T22:05:11.247" v="3174" actId="478"/>
          <ac:spMkLst>
            <pc:docMk/>
            <pc:sldMk cId="3335380977" sldId="1747256637"/>
            <ac:spMk id="416" creationId="{73952FC9-83DC-450B-BD3C-4539CB941F70}"/>
          </ac:spMkLst>
        </pc:spChg>
        <pc:spChg chg="add del mod">
          <ac:chgData name="Hasan Senol Coskun" userId="88cd95f7b86daa2f" providerId="LiveId" clId="{0A1DC79D-782D-493E-B89A-90325507C91B}" dt="2020-11-13T22:05:53.146" v="3179" actId="478"/>
          <ac:spMkLst>
            <pc:docMk/>
            <pc:sldMk cId="3335380977" sldId="1747256637"/>
            <ac:spMk id="418" creationId="{1C7BB529-3870-4ED2-AB13-0E61C600E15E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667" creationId="{7AD9FCC0-A45D-40A1-A104-5B2A6D004383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674" creationId="{5000381D-2C9D-4D47-8176-23589EB53FB1}"/>
          </ac:spMkLst>
        </pc:spChg>
        <pc:spChg chg="mod">
          <ac:chgData name="Hasan Senol Coskun" userId="88cd95f7b86daa2f" providerId="LiveId" clId="{0A1DC79D-782D-493E-B89A-90325507C91B}" dt="2020-11-13T22:06:07.195" v="3181" actId="164"/>
          <ac:spMkLst>
            <pc:docMk/>
            <pc:sldMk cId="3335380977" sldId="1747256637"/>
            <ac:spMk id="675" creationId="{249F2770-5F5A-4541-BCDD-B1BCCA866861}"/>
          </ac:spMkLst>
        </pc:spChg>
        <pc:spChg chg="del">
          <ac:chgData name="Hasan Senol Coskun" userId="88cd95f7b86daa2f" providerId="LiveId" clId="{0A1DC79D-782D-493E-B89A-90325507C91B}" dt="2020-11-13T22:05:23.800" v="3176" actId="478"/>
          <ac:spMkLst>
            <pc:docMk/>
            <pc:sldMk cId="3335380977" sldId="1747256637"/>
            <ac:spMk id="676" creationId="{7C1B3C00-222A-4AAE-931D-B5A4E414C737}"/>
          </ac:spMkLst>
        </pc:spChg>
        <pc:grpChg chg="mod">
          <ac:chgData name="Hasan Senol Coskun" userId="88cd95f7b86daa2f" providerId="LiveId" clId="{0A1DC79D-782D-493E-B89A-90325507C91B}" dt="2020-11-13T22:06:07.195" v="3181" actId="164"/>
          <ac:grpSpMkLst>
            <pc:docMk/>
            <pc:sldMk cId="3335380977" sldId="1747256637"/>
            <ac:grpSpMk id="2" creationId="{22F9C71F-C4C2-4F68-A8DA-06CC44EB5789}"/>
          </ac:grpSpMkLst>
        </pc:grpChg>
        <pc:grpChg chg="del">
          <ac:chgData name="Hasan Senol Coskun" userId="88cd95f7b86daa2f" providerId="LiveId" clId="{0A1DC79D-782D-493E-B89A-90325507C91B}" dt="2020-11-13T22:05:15.241" v="3175" actId="478"/>
          <ac:grpSpMkLst>
            <pc:docMk/>
            <pc:sldMk cId="3335380977" sldId="1747256637"/>
            <ac:grpSpMk id="5" creationId="{87CD820D-79A2-4C0C-B968-4A4A7C3D739B}"/>
          </ac:grpSpMkLst>
        </pc:grpChg>
        <pc:grpChg chg="add del mod">
          <ac:chgData name="Hasan Senol Coskun" userId="88cd95f7b86daa2f" providerId="LiveId" clId="{0A1DC79D-782D-493E-B89A-90325507C91B}" dt="2020-11-13T22:06:22.675" v="3184" actId="478"/>
          <ac:grpSpMkLst>
            <pc:docMk/>
            <pc:sldMk cId="3335380977" sldId="1747256637"/>
            <ac:grpSpMk id="13" creationId="{5C0B6D06-CF58-478C-B1C8-2CF35E27A8A0}"/>
          </ac:grpSpMkLst>
        </pc:grpChg>
        <pc:grpChg chg="mod">
          <ac:chgData name="Hasan Senol Coskun" userId="88cd95f7b86daa2f" providerId="LiveId" clId="{0A1DC79D-782D-493E-B89A-90325507C91B}" dt="2020-11-13T22:06:07.195" v="3181" actId="164"/>
          <ac:grpSpMkLst>
            <pc:docMk/>
            <pc:sldMk cId="3335380977" sldId="1747256637"/>
            <ac:grpSpMk id="307" creationId="{E5EEC948-0BAB-4743-980C-25A3D041745E}"/>
          </ac:grpSpMkLst>
        </pc:grpChg>
        <pc:grpChg chg="mod">
          <ac:chgData name="Hasan Senol Coskun" userId="88cd95f7b86daa2f" providerId="LiveId" clId="{0A1DC79D-782D-493E-B89A-90325507C91B}" dt="2020-11-13T22:06:07.195" v="3181" actId="164"/>
          <ac:grpSpMkLst>
            <pc:docMk/>
            <pc:sldMk cId="3335380977" sldId="1747256637"/>
            <ac:grpSpMk id="677" creationId="{4C3B8A79-2EFF-406C-B0EA-33EE3DCC81B6}"/>
          </ac:grpSpMkLst>
        </pc:grpChg>
        <pc:picChg chg="add mod">
          <ac:chgData name="Hasan Senol Coskun" userId="88cd95f7b86daa2f" providerId="LiveId" clId="{0A1DC79D-782D-493E-B89A-90325507C91B}" dt="2020-11-13T22:08:12.073" v="3211" actId="1076"/>
          <ac:picMkLst>
            <pc:docMk/>
            <pc:sldMk cId="3335380977" sldId="1747256637"/>
            <ac:picMk id="19" creationId="{83DB630E-B9C4-45C1-A7EF-911518BEA9D7}"/>
          </ac:picMkLst>
        </pc:picChg>
        <pc:picChg chg="add mod">
          <ac:chgData name="Hasan Senol Coskun" userId="88cd95f7b86daa2f" providerId="LiveId" clId="{0A1DC79D-782D-493E-B89A-90325507C91B}" dt="2020-11-13T22:08:16.124" v="3212" actId="1076"/>
          <ac:picMkLst>
            <pc:docMk/>
            <pc:sldMk cId="3335380977" sldId="1747256637"/>
            <ac:picMk id="41" creationId="{2B6F1C50-50BE-4FA9-BBC7-2CAE07FD0599}"/>
          </ac:picMkLst>
        </pc:picChg>
        <pc:cxnChg chg="mod">
          <ac:chgData name="Hasan Senol Coskun" userId="88cd95f7b86daa2f" providerId="LiveId" clId="{0A1DC79D-782D-493E-B89A-90325507C91B}" dt="2020-11-13T22:06:07.195" v="3181" actId="164"/>
          <ac:cxnSpMkLst>
            <pc:docMk/>
            <pc:sldMk cId="3335380977" sldId="1747256637"/>
            <ac:cxnSpMk id="124" creationId="{E71E0705-1AF2-4CA5-A1B7-56D5C2642F4D}"/>
          </ac:cxnSpMkLst>
        </pc:cxnChg>
        <pc:cxnChg chg="mod">
          <ac:chgData name="Hasan Senol Coskun" userId="88cd95f7b86daa2f" providerId="LiveId" clId="{0A1DC79D-782D-493E-B89A-90325507C91B}" dt="2020-11-13T22:06:07.195" v="3181" actId="164"/>
          <ac:cxnSpMkLst>
            <pc:docMk/>
            <pc:sldMk cId="3335380977" sldId="1747256637"/>
            <ac:cxnSpMk id="669" creationId="{5A3CDF9B-BB59-49DB-A479-8026FBC3816B}"/>
          </ac:cxnSpMkLst>
        </pc:cxnChg>
        <pc:cxnChg chg="mod">
          <ac:chgData name="Hasan Senol Coskun" userId="88cd95f7b86daa2f" providerId="LiveId" clId="{0A1DC79D-782D-493E-B89A-90325507C91B}" dt="2020-11-13T22:06:07.195" v="3181" actId="164"/>
          <ac:cxnSpMkLst>
            <pc:docMk/>
            <pc:sldMk cId="3335380977" sldId="1747256637"/>
            <ac:cxnSpMk id="670" creationId="{BAB57C59-B76B-43DC-B4DD-27A7B1AAB0B2}"/>
          </ac:cxnSpMkLst>
        </pc:cxnChg>
        <pc:cxnChg chg="mod">
          <ac:chgData name="Hasan Senol Coskun" userId="88cd95f7b86daa2f" providerId="LiveId" clId="{0A1DC79D-782D-493E-B89A-90325507C91B}" dt="2020-11-13T22:06:07.195" v="3181" actId="164"/>
          <ac:cxnSpMkLst>
            <pc:docMk/>
            <pc:sldMk cId="3335380977" sldId="1747256637"/>
            <ac:cxnSpMk id="671" creationId="{A2BF436D-435D-4436-BEBC-476731391AC6}"/>
          </ac:cxnSpMkLst>
        </pc:cxnChg>
        <pc:cxnChg chg="mod">
          <ac:chgData name="Hasan Senol Coskun" userId="88cd95f7b86daa2f" providerId="LiveId" clId="{0A1DC79D-782D-493E-B89A-90325507C91B}" dt="2020-11-13T22:06:07.195" v="3181" actId="164"/>
          <ac:cxnSpMkLst>
            <pc:docMk/>
            <pc:sldMk cId="3335380977" sldId="1747256637"/>
            <ac:cxnSpMk id="672" creationId="{7EE01F3F-F0A8-4142-BB6C-D992C40E714D}"/>
          </ac:cxnSpMkLst>
        </pc:cxnChg>
        <pc:cxnChg chg="mod">
          <ac:chgData name="Hasan Senol Coskun" userId="88cd95f7b86daa2f" providerId="LiveId" clId="{0A1DC79D-782D-493E-B89A-90325507C91B}" dt="2020-11-13T22:06:07.195" v="3181" actId="164"/>
          <ac:cxnSpMkLst>
            <pc:docMk/>
            <pc:sldMk cId="3335380977" sldId="1747256637"/>
            <ac:cxnSpMk id="673" creationId="{DC123448-43F8-4C69-B48B-DDF9C0B8C5AE}"/>
          </ac:cxnSpMkLst>
        </pc:cxnChg>
      </pc:sldChg>
      <pc:sldChg chg="addSp delSp modSp del mod modClrScheme chgLayout">
        <pc:chgData name="Hasan Senol Coskun" userId="88cd95f7b86daa2f" providerId="LiveId" clId="{0A1DC79D-782D-493E-B89A-90325507C91B}" dt="2020-11-13T22:08:32.841" v="3214" actId="47"/>
        <pc:sldMkLst>
          <pc:docMk/>
          <pc:sldMk cId="3210314675" sldId="1747256638"/>
        </pc:sldMkLst>
        <pc:spChg chg="mod ord">
          <ac:chgData name="Hasan Senol Coskun" userId="88cd95f7b86daa2f" providerId="LiveId" clId="{0A1DC79D-782D-493E-B89A-90325507C91B}" dt="2020-11-13T22:07:13.126" v="3199" actId="20577"/>
          <ac:spMkLst>
            <pc:docMk/>
            <pc:sldMk cId="3210314675" sldId="1747256638"/>
            <ac:spMk id="2" creationId="{E76F3D68-1794-4D6F-A24D-D7B927C7F2A6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" creationId="{1327B94F-958F-425D-8A39-A826C4E5C051}"/>
          </ac:spMkLst>
        </pc:spChg>
        <pc:spChg chg="del mod">
          <ac:chgData name="Hasan Senol Coskun" userId="88cd95f7b86daa2f" providerId="LiveId" clId="{0A1DC79D-782D-493E-B89A-90325507C91B}" dt="2020-11-13T22:07:24.505" v="3202" actId="478"/>
          <ac:spMkLst>
            <pc:docMk/>
            <pc:sldMk cId="3210314675" sldId="1747256638"/>
            <ac:spMk id="7" creationId="{8DD0244C-6DE8-473D-A201-704DFEAF73DD}"/>
          </ac:spMkLst>
        </pc:spChg>
        <pc:spChg chg="del">
          <ac:chgData name="Hasan Senol Coskun" userId="88cd95f7b86daa2f" providerId="LiveId" clId="{0A1DC79D-782D-493E-B89A-90325507C91B}" dt="2020-11-13T22:07:19.025" v="3200" actId="478"/>
          <ac:spMkLst>
            <pc:docMk/>
            <pc:sldMk cId="3210314675" sldId="1747256638"/>
            <ac:spMk id="8" creationId="{E9332232-A9FE-42E0-A8A7-3175D27B47CA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0" creationId="{61982B3C-A6EB-4DC3-9DFF-5CD6B32F792D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3" creationId="{7ED09C69-9581-439A-974C-263A325234B3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9" creationId="{5F7F1F52-1873-4158-923C-92F8E559C777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1" creationId="{49CC29B0-5754-4DCA-AF27-C560DEAC3DFC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2" creationId="{4093178C-7844-40CC-930D-58DF21844842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4" creationId="{F25CBBC5-B896-46A0-A4DB-835B33B8AC04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5" creationId="{3CF27DC2-64B6-4A36-9A66-8F10A606A1A5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6" creationId="{1EF2CB9F-CE01-4589-BE91-EDB74D9D9378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7" creationId="{DCF49925-B4F2-4708-89CB-E349B14EDFE0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9" creationId="{3DAA2FFB-9655-4430-B4A3-2BBAD9BDADFF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41" creationId="{F67C8071-AF4D-4F06-847D-B12715849005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42" creationId="{08BB3E99-E556-410E-B787-2FD71CC71F70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48" creationId="{72779E3D-EDEA-4866-AD9C-A037D654D19D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49" creationId="{AC962BA5-25AE-4AF2-8555-05EE40BF580E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51" creationId="{0E325FF2-8BDF-4562-BC68-E83C13EEB41B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53" creationId="{B7DCB6DC-89BE-4457-85A2-5189D2A7AF6C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83" creationId="{5743D9EC-9CBA-4C24-BDDF-5BDB248653AF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36" creationId="{63034A15-E79B-448D-A7B2-E2E12F4362F8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38" creationId="{C127AEF9-BDCA-47E5-8B9D-344864FEE19F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40" creationId="{E67D0085-481C-433D-B5E3-272E5D0FCAF3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42" creationId="{0E3FA16E-3365-4C79-9565-0CCE1A59C43B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44" creationId="{7107BDA9-46EB-4BAD-B1E6-0A50C808915D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46" creationId="{C89F8B1D-74DB-4804-9A4A-417450676146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47" creationId="{A5A5E49B-3069-41DB-BDB1-286F15A73F1A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49" creationId="{55CC5B4A-5AB4-47BA-AF0D-4DFD758884B5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50" creationId="{E62FC423-4849-48D0-A032-350419C590E6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51" creationId="{2BAEEC8B-499F-4AD0-BA08-61C39F509D69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52" creationId="{1998C090-6377-4315-8907-393E933097B9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53" creationId="{946588B1-1CCA-4330-BC9F-9C30ADEC94C3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54" creationId="{F5F55015-3E44-4033-B8E1-F235E7906608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55" creationId="{C3DD5987-26DF-48E6-9240-974ACFA371AE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56" creationId="{4CC18E4E-8FB0-40B9-B414-71C7EC06BBB5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57" creationId="{31E174BF-B64D-4983-ACC0-9FD0E7B768F4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58" creationId="{40F2DAAC-CE10-4945-9049-35B421C66925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59" creationId="{CB4752AB-C967-47AB-A4F7-A9EF3CD6C92B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60" creationId="{B88448DF-0971-437B-B8FB-823424F63D6D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61" creationId="{E8FF721C-F488-4FC8-B6D0-0FA4C286DEB2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86" creationId="{1F08AD46-9242-4F77-B007-DD889FB8D147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97" creationId="{284CFB1C-2F32-45DD-A037-B908C17911C0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98" creationId="{11F7DE3D-9869-4E7D-82A9-61BDE1D7E3F4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199" creationId="{7103296B-3FAC-4173-A585-8D260965503E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00" creationId="{271320C5-5ED1-4425-A1D8-8CC12BA8BEEB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01" creationId="{5E396A4C-3A04-41F1-97D6-1A2840E25AC8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02" creationId="{8B7AF918-97B2-44A7-B59E-BAF21B7E4331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21" creationId="{8799724A-9426-4956-84A0-F448D062AF87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22" creationId="{76A07BE9-5195-47F7-945C-92C35B2AC027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23" creationId="{BF5D6F1D-1A22-41F6-A762-7AFA8389D907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24" creationId="{BB3DFAB4-24BE-40BB-9436-CBB3E6834404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25" creationId="{C79A150E-1379-42C8-8FE0-42539543AE41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26" creationId="{EF612D42-F503-44AB-8F2E-A9C4DF37D8E9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27" creationId="{CC5D9978-3586-4A5C-A624-E84AF4978ADC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28" creationId="{1F80D530-27AF-47B9-9F79-6AE6419FBEF1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29" creationId="{AA3BAB4E-B407-49E1-8673-8864D5609721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30" creationId="{9813F5D6-9B21-418D-9169-4451F703E449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31" creationId="{A81037A6-8978-4751-AC3C-253C8FFB3933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32" creationId="{90443F67-FDE9-479E-AB49-615FAE165FF3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33" creationId="{FEC36EFF-CD94-4279-9C76-314188ADF4D6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40" creationId="{F017571E-49B6-404E-9621-E6B0F9F0E533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41" creationId="{B5456DE4-4C4D-4211-9A79-8AAF14BD5012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42" creationId="{4CB029F8-027E-44B0-8809-5404BD8530D2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43" creationId="{AADF977C-E73D-4F7F-A196-10A8CAF8A5F6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44" creationId="{3DB0D0CC-4ED2-4224-AF8C-DC68F577FF5B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45" creationId="{2BDF30C4-B4BF-4BCF-8964-C0EB00184C9A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56" creationId="{96175405-FD3C-4E10-A377-663F38655933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57" creationId="{E85417C0-1D6D-45DF-89FF-E7B4CA24A098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65" creationId="{E2155195-1FEF-45B3-A1DA-45B3BC76AFDC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66" creationId="{6ECCD745-F763-4EC6-8D0D-12046AD8F238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96" creationId="{4CA6106C-20FE-4532-AF6E-BB7F5C7248CB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298" creationId="{262662A3-DF56-4702-AEB8-95371507B3A3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00" creationId="{F9AB6FED-4984-4F59-8E0F-7D18E5A40245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02" creationId="{8EDE9D5F-69A6-45E2-A148-D4556088C351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04" creationId="{4B61E51E-CE7A-41B6-83C1-76851106AC7D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06" creationId="{D72D0D8F-D472-4155-A165-4DA643A967AC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07" creationId="{D05325F6-E577-47F6-9DEA-B36A754A564D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08" creationId="{5559C5EC-9A5F-43E6-8E55-D8B8100733BB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09" creationId="{5F6880AB-BFEE-4512-922B-BDEDC46E46E7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10" creationId="{2D215B27-AEF4-4E3E-888F-6EB7B0AF8E0A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11" creationId="{98C2004B-82F8-4134-9BC3-5A965EE82E58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12" creationId="{F785F4E1-FE0B-4E99-959F-95C5FE4D750E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13" creationId="{D1E63F93-427E-45C7-B23E-C77867ACFE54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14" creationId="{DE9117D7-09B8-49A8-A819-A99CD19634C4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15" creationId="{BE35DC8E-38CF-4C4B-9650-8BD6FC293D61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16" creationId="{83E8832D-2316-4359-8957-75601A158F6D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17" creationId="{C48D798F-3594-4707-95AC-BBF2D46B890E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18" creationId="{DE0D1180-E793-4226-A21B-36EBFC295E35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19" creationId="{521B328A-0C92-44CF-96DD-2D7D2F238762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20" creationId="{798434A0-C71C-4DDA-92C1-E311BBDEFA02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21" creationId="{13184DD8-638C-417D-AE83-544A8B95BFB1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22" creationId="{A98B90E1-BC56-414D-9804-1B28BF90426B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25" creationId="{B3717379-6B88-4DE6-A7C1-575E8F75B694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30" creationId="{E82F44AB-6178-4033-83A8-63F06844F8C1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32" creationId="{C829223A-85F5-407B-97B7-FE7EC66A0123}"/>
          </ac:spMkLst>
        </pc:spChg>
        <pc:spChg chg="mod">
          <ac:chgData name="Hasan Senol Coskun" userId="88cd95f7b86daa2f" providerId="LiveId" clId="{0A1DC79D-782D-493E-B89A-90325507C91B}" dt="2020-11-13T20:28:40.315" v="1793" actId="1076"/>
          <ac:spMkLst>
            <pc:docMk/>
            <pc:sldMk cId="3210314675" sldId="1747256638"/>
            <ac:spMk id="335" creationId="{A4610C4E-FDE8-47F3-8C31-C65832F998DE}"/>
          </ac:spMkLst>
        </pc:spChg>
        <pc:grpChg chg="del">
          <ac:chgData name="Hasan Senol Coskun" userId="88cd95f7b86daa2f" providerId="LiveId" clId="{0A1DC79D-782D-493E-B89A-90325507C91B}" dt="2020-11-13T22:06:46.866" v="3190" actId="478"/>
          <ac:grpSpMkLst>
            <pc:docMk/>
            <pc:sldMk cId="3210314675" sldId="1747256638"/>
            <ac:grpSpMk id="4" creationId="{EC605B4E-4D10-443F-8BEC-31B709DEF24D}"/>
          </ac:grpSpMkLst>
        </pc:grpChg>
        <pc:grpChg chg="add del mod">
          <ac:chgData name="Hasan Senol Coskun" userId="88cd95f7b86daa2f" providerId="LiveId" clId="{0A1DC79D-782D-493E-B89A-90325507C91B}" dt="2020-11-13T22:06:56.450" v="3191" actId="478"/>
          <ac:grpSpMkLst>
            <pc:docMk/>
            <pc:sldMk cId="3210314675" sldId="1747256638"/>
            <ac:grpSpMk id="9" creationId="{93CDB039-0F8C-4E8F-85A5-5F6595BCAC06}"/>
          </ac:grpSpMkLst>
        </pc:grpChg>
        <pc:picChg chg="add">
          <ac:chgData name="Hasan Senol Coskun" userId="88cd95f7b86daa2f" providerId="LiveId" clId="{0A1DC79D-782D-493E-B89A-90325507C91B}" dt="2020-11-13T22:06:59.761" v="3192" actId="22"/>
          <ac:picMkLst>
            <pc:docMk/>
            <pc:sldMk cId="3210314675" sldId="1747256638"/>
            <ac:picMk id="14" creationId="{F8575714-43DE-405D-AD3E-684F87BA0CCB}"/>
          </ac:picMkLst>
        </pc:pic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2" creationId="{E1CED981-7526-4296-9729-2EC1A3C4F4E0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86" creationId="{D413053B-A16C-4CE4-9F5A-40ADB644C5A3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87" creationId="{BEBB7E46-1D66-407E-A17C-CABC1860B0AE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88" creationId="{AE001FA6-808D-470A-9A03-BC8914302913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07" creationId="{263EE37C-7007-41AB-BA1D-26D9094956FF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08" creationId="{5A8C67FC-96AC-4231-95E6-54284A6D8A49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09" creationId="{7163A691-3D50-4F79-91C6-03D03E985570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11" creationId="{23093FEA-A264-4F11-BCCE-9CDCB70B636C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13" creationId="{1447245F-9AE4-475F-8278-F788C33A411F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15" creationId="{23DE3D1C-AC79-42A4-8180-E6EC9545F363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17" creationId="{D7FC6E42-130B-4789-8CB3-945812A59C5A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19" creationId="{E2C9D898-953A-4CA5-B88B-DC134C7AC497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20" creationId="{806C4AD5-1A86-40C7-BD12-26E9339ABC4A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21" creationId="{E77E3878-4322-4C67-AFB3-11F61DF3BC57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22" creationId="{919C82B8-CD09-481F-800E-A1F2C6246AE8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23" creationId="{6B8B3F0E-EB39-4F61-9E45-108BDBE70FE4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24" creationId="{A4002DFE-9DB1-4EF6-8417-7137D16DB124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25" creationId="{9286F433-E489-472D-9E38-63C07C46FE17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26" creationId="{73088BD4-48D1-4749-B005-079EDFCE5761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27" creationId="{C314A597-4CEE-4335-AA42-4F93AF698595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28" creationId="{65F699C7-2C6E-459D-A5C7-348D365CB96E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29" creationId="{936C2EFE-093A-40FD-BA12-27FCE0B80AF4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30" creationId="{4ADC0260-F944-4F32-9436-54D63B4EECBD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31" creationId="{1A6AAB94-FF34-440F-AC24-0FAD35CF88F6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32" creationId="{BA6DC9FF-1FD7-4DD4-85A9-983FA4B9DD46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33" creationId="{B9B4C6B6-CE93-459F-8AE2-A0A1A4692D05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34" creationId="{A249CE26-224C-486D-A7E5-13206456685A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35" creationId="{EEB81353-9E4D-4E31-A246-75951C30339A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63" creationId="{B507265E-FC87-402D-BFDE-1168B6C48F35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69" creationId="{8DD12B5C-92BF-44D3-A54E-5AA1987F0009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70" creationId="{5C69753D-5844-4F12-963C-50FF7D922646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71" creationId="{95B070A0-D558-4DAE-8C3F-67D8A7FE3EEE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72" creationId="{B8E9BAB2-F7DF-44E8-9C19-258DD1549429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91" creationId="{CEACB2A7-ADCA-46D0-ADD1-8AA3BCE0C2E8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92" creationId="{36B990F9-7788-4A86-97B9-B4A952FC7426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93" creationId="{CD45D85B-F925-4F69-8408-B28B2AACDAAF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94" creationId="{B284B6FE-A2D9-4343-8D90-29EF3567242B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95" creationId="{5FA245CA-1A9F-40CE-8B7E-E4795BC5CB22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196" creationId="{8C81970B-787F-4A4A-AC0D-7D060BF6340B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03" creationId="{5F146C10-FE53-4063-9820-B26D3342B93F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04" creationId="{B156BE5E-C3AD-4DCB-8310-DB09ECC5E02E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05" creationId="{73722E0B-7D69-4B84-B209-4277DD6DB6EC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06" creationId="{C7004A97-0CB2-4D19-BE33-27F5572BCC61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07" creationId="{14F13597-5D3C-4017-AB26-7AB5DF369FDD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08" creationId="{077F3991-DCB1-4972-84F0-B1990E094F9B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09" creationId="{BB1C4EA6-959C-4B77-87C2-75BFFCF071E8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10" creationId="{23D51AE2-B4CE-4E4A-9A75-562A73116E6D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11" creationId="{679AF89D-F480-481D-9148-64D92DC77375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12" creationId="{4838062C-05C1-4DD2-BF99-E080C3384D32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13" creationId="{60DF3860-D160-438A-BCD6-E26F4449DD47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14" creationId="{0F037EC7-526C-40E9-BD8F-1220CBC893DD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15" creationId="{CF5768B0-5550-4D77-BC5C-F55446956C5C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16" creationId="{015F4C8B-9EB6-40EC-B1C0-A3478C3E4816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17" creationId="{7D2EA415-30F9-49AD-B35D-05D775AC1B11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18" creationId="{15457DAB-EEAE-4348-B42F-2067FE7096A6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19" creationId="{13A7399A-64FA-459C-B442-8B88AA81FB31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35" creationId="{19C4B22D-0A5B-424A-B75C-A499248A1A92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36" creationId="{7508C175-AA0A-4826-8ECD-F648E4E425F1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37" creationId="{11D51B21-3619-4EFB-A5EC-8CC4A77542A7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38" creationId="{38BE9A77-D073-4A60-8365-1A1A69725D98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39" creationId="{D0D213DC-3567-4127-84DC-0AF12A741DFD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67" creationId="{ED83DD04-53A9-4AFE-B597-05221837F25B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68" creationId="{74F4D93C-FA3C-44E1-9CF5-6145DBE70EF9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69" creationId="{55DBBAC3-918A-4273-B622-58C33D904C44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71" creationId="{C42CCB56-1582-4B98-B396-B87708F7230F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73" creationId="{66DBE287-3D88-4B7E-BBEB-74BD6798C135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75" creationId="{2DF766F0-2833-4391-9F1E-A506695A3991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77" creationId="{87122FB5-CB81-48DE-96AB-E56043AD3A2F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79" creationId="{DB7F9106-EB10-4229-9BE1-415404858161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80" creationId="{E5D46D31-0E34-4D8D-838C-19102429C5CD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81" creationId="{6D2BD3D8-DAA1-44D2-9E93-A18EC29881FD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82" creationId="{0093E9AE-4F2F-42A3-9B92-326B4808CF99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83" creationId="{AECEE4A7-943D-4853-A68C-52F867198797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84" creationId="{AA57DC39-9B1D-46E0-93AF-A730B5163DFB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85" creationId="{2D018F5D-6AFD-461C-B7F2-FB2B9442242C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86" creationId="{591AEA7E-E7FA-4EF5-A189-9FB962800F58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87" creationId="{D83FF145-D470-4F77-9159-7B578B8C2E4B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88" creationId="{1839415B-78ED-41F3-AA1B-1919D9558F3C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89" creationId="{EA86447F-0F39-41B0-838F-90DA45FA8D67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90" creationId="{CA0FF7A7-60CE-4BFA-A1A5-765EFBEEEEAD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91" creationId="{E255F76C-B264-4AFC-AF43-A506315A8AFB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92" creationId="{2A37CF11-BA53-44F8-90E0-A13779B4A2F6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93" creationId="{1FB89E31-8056-47EF-A38E-96A3DA39DB52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94" creationId="{EFBA4DF8-C8C2-4FA5-B6A4-850F5DC00EB6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295" creationId="{0EF0E3A9-02CD-4D65-AAB5-C21547465502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326" creationId="{9264A065-E2CE-41A7-AE40-1BD8322CA30E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327" creationId="{45FB543F-8ADE-4902-B5DC-3F18D1CE268C}"/>
          </ac:cxnSpMkLst>
        </pc:cxnChg>
        <pc:cxnChg chg="mod">
          <ac:chgData name="Hasan Senol Coskun" userId="88cd95f7b86daa2f" providerId="LiveId" clId="{0A1DC79D-782D-493E-B89A-90325507C91B}" dt="2020-11-13T20:28:40.315" v="1793" actId="1076"/>
          <ac:cxnSpMkLst>
            <pc:docMk/>
            <pc:sldMk cId="3210314675" sldId="1747256638"/>
            <ac:cxnSpMk id="329" creationId="{79401BF9-5813-4621-B9C9-D49FA8D51F11}"/>
          </ac:cxnSpMkLst>
        </pc:cxnChg>
      </pc:sldChg>
      <pc:sldChg chg="del">
        <pc:chgData name="Hasan Senol Coskun" userId="88cd95f7b86daa2f" providerId="LiveId" clId="{0A1DC79D-782D-493E-B89A-90325507C91B}" dt="2020-11-13T22:08:36.653" v="3215" actId="47"/>
        <pc:sldMkLst>
          <pc:docMk/>
          <pc:sldMk cId="494505730" sldId="1747256639"/>
        </pc:sldMkLst>
      </pc:sldChg>
      <pc:sldChg chg="modSp mod modClrScheme chgLayout">
        <pc:chgData name="Hasan Senol Coskun" userId="88cd95f7b86daa2f" providerId="LiveId" clId="{0A1DC79D-782D-493E-B89A-90325507C91B}" dt="2020-11-13T18:01:00.436" v="656" actId="20577"/>
        <pc:sldMkLst>
          <pc:docMk/>
          <pc:sldMk cId="3083135992" sldId="1747256640"/>
        </pc:sldMkLst>
        <pc:spChg chg="mod ord">
          <ac:chgData name="Hasan Senol Coskun" userId="88cd95f7b86daa2f" providerId="LiveId" clId="{0A1DC79D-782D-493E-B89A-90325507C91B}" dt="2020-11-13T18:01:00.436" v="656" actId="20577"/>
          <ac:spMkLst>
            <pc:docMk/>
            <pc:sldMk cId="3083135992" sldId="1747256640"/>
            <ac:spMk id="3" creationId="{322D5EAC-B3D0-4CD6-96A8-3391193D6DE2}"/>
          </ac:spMkLst>
        </pc:spChg>
      </pc:sldChg>
      <pc:sldChg chg="addSp delSp modSp mod modClrScheme chgLayout">
        <pc:chgData name="Hasan Senol Coskun" userId="88cd95f7b86daa2f" providerId="LiveId" clId="{0A1DC79D-782D-493E-B89A-90325507C91B}" dt="2020-11-14T08:20:16.256" v="3617" actId="20577"/>
        <pc:sldMkLst>
          <pc:docMk/>
          <pc:sldMk cId="569108160" sldId="1747256641"/>
        </pc:sldMkLst>
        <pc:spChg chg="mod ord">
          <ac:chgData name="Hasan Senol Coskun" userId="88cd95f7b86daa2f" providerId="LiveId" clId="{0A1DC79D-782D-493E-B89A-90325507C91B}" dt="2020-11-13T20:19:21.930" v="1686" actId="20577"/>
          <ac:spMkLst>
            <pc:docMk/>
            <pc:sldMk cId="569108160" sldId="1747256641"/>
            <ac:spMk id="2" creationId="{00000000-0000-0000-0000-000000000000}"/>
          </ac:spMkLst>
        </pc:spChg>
        <pc:spChg chg="del mod ord">
          <ac:chgData name="Hasan Senol Coskun" userId="88cd95f7b86daa2f" providerId="LiveId" clId="{0A1DC79D-782D-493E-B89A-90325507C91B}" dt="2020-11-13T18:01:44.771" v="660" actId="12084"/>
          <ac:spMkLst>
            <pc:docMk/>
            <pc:sldMk cId="569108160" sldId="1747256641"/>
            <ac:spMk id="3" creationId="{00000000-0000-0000-0000-000000000000}"/>
          </ac:spMkLst>
        </pc:spChg>
        <pc:spChg chg="del">
          <ac:chgData name="Hasan Senol Coskun" userId="88cd95f7b86daa2f" providerId="LiveId" clId="{0A1DC79D-782D-493E-B89A-90325507C91B}" dt="2020-11-13T18:01:33.863" v="659" actId="478"/>
          <ac:spMkLst>
            <pc:docMk/>
            <pc:sldMk cId="569108160" sldId="1747256641"/>
            <ac:spMk id="5" creationId="{E0DA0873-E73D-472E-8822-D4325F2D261E}"/>
          </ac:spMkLst>
        </pc:spChg>
        <pc:spChg chg="mod">
          <ac:chgData name="Hasan Senol Coskun" userId="88cd95f7b86daa2f" providerId="LiveId" clId="{0A1DC79D-782D-493E-B89A-90325507C91B}" dt="2020-11-13T18:01:28.664" v="658" actId="6549"/>
          <ac:spMkLst>
            <pc:docMk/>
            <pc:sldMk cId="569108160" sldId="1747256641"/>
            <ac:spMk id="8" creationId="{25190A17-DD02-47F2-8D98-D5539E7835D0}"/>
          </ac:spMkLst>
        </pc:spChg>
        <pc:grpChg chg="del">
          <ac:chgData name="Hasan Senol Coskun" userId="88cd95f7b86daa2f" providerId="LiveId" clId="{0A1DC79D-782D-493E-B89A-90325507C91B}" dt="2020-11-13T18:01:33.863" v="659" actId="478"/>
          <ac:grpSpMkLst>
            <pc:docMk/>
            <pc:sldMk cId="569108160" sldId="1747256641"/>
            <ac:grpSpMk id="6" creationId="{8906F813-E445-496D-8AFC-1D06BDE72044}"/>
          </ac:grpSpMkLst>
        </pc:grpChg>
        <pc:graphicFrameChg chg="add mod">
          <ac:chgData name="Hasan Senol Coskun" userId="88cd95f7b86daa2f" providerId="LiveId" clId="{0A1DC79D-782D-493E-B89A-90325507C91B}" dt="2020-11-14T08:20:16.256" v="3617" actId="20577"/>
          <ac:graphicFrameMkLst>
            <pc:docMk/>
            <pc:sldMk cId="569108160" sldId="1747256641"/>
            <ac:graphicFrameMk id="4" creationId="{8B23EE11-BE8C-4CAA-A91E-FF9D1928A65E}"/>
          </ac:graphicFrameMkLst>
        </pc:graphicFrameChg>
      </pc:sldChg>
      <pc:sldChg chg="addSp delSp modSp mod">
        <pc:chgData name="Hasan Senol Coskun" userId="88cd95f7b86daa2f" providerId="LiveId" clId="{0A1DC79D-782D-493E-B89A-90325507C91B}" dt="2020-11-14T10:35:18.334" v="4458" actId="20577"/>
        <pc:sldMkLst>
          <pc:docMk/>
          <pc:sldMk cId="0" sldId="1747256642"/>
        </pc:sldMkLst>
        <pc:spChg chg="mod">
          <ac:chgData name="Hasan Senol Coskun" userId="88cd95f7b86daa2f" providerId="LiveId" clId="{0A1DC79D-782D-493E-B89A-90325507C91B}" dt="2020-11-13T21:36:53.106" v="2782" actId="404"/>
          <ac:spMkLst>
            <pc:docMk/>
            <pc:sldMk cId="0" sldId="1747256642"/>
            <ac:spMk id="5" creationId="{087A9A35-9B88-45DC-A7A1-9A70820F5A9E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17" creationId="{026F2934-BA81-44DA-A40F-84A72AFC5078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18" creationId="{CE159D96-B953-4042-962A-AAE3A2A4F0C0}"/>
          </ac:spMkLst>
        </pc:spChg>
        <pc:spChg chg="mod">
          <ac:chgData name="Hasan Senol Coskun" userId="88cd95f7b86daa2f" providerId="LiveId" clId="{0A1DC79D-782D-493E-B89A-90325507C91B}" dt="2020-11-13T21:38:21.538" v="2799" actId="1076"/>
          <ac:spMkLst>
            <pc:docMk/>
            <pc:sldMk cId="0" sldId="1747256642"/>
            <ac:spMk id="21" creationId="{D7A84B76-E893-4798-99CB-43F1343A8F6D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22" creationId="{C37A31D3-38BA-4587-9E3E-5BC9DA8896F3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23" creationId="{1ECC6198-9207-4697-A584-D6F944328D62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24" creationId="{E7356C12-20F1-4173-8C66-256D7E526AF5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26" creationId="{60593B26-500B-44F2-80D7-2A18B4A7861A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27" creationId="{2F94F97B-8878-43AC-8702-7B5995E6C22F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28" creationId="{7625A29A-B826-443D-8C38-98E4F57ADEEF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29" creationId="{70D6E275-FA21-4C34-A7A8-004B03443FAD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43" creationId="{31FA1EAD-3B41-4666-8D29-542F1CB4FE0D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44" creationId="{631C8ABF-33FE-4C88-BA3A-3EDE1E3B19E7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45" creationId="{0987D0E2-03DB-43FB-B40B-D8F0597F3269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46" creationId="{01F78E15-310C-49B4-AEBA-D38004283EFF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47" creationId="{44D5919C-57ED-439B-AF5D-78FCBBA3C881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48" creationId="{3751029C-69AC-4083-AC86-595EDF1BFFF7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49" creationId="{57E47413-7B94-4DDD-82D1-7887F16FAFEB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50" creationId="{D127B32C-CB5D-4728-986C-4621D9743A3B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59" creationId="{C8FD0301-8FB1-4B0B-A1B5-D530239BAD4E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60" creationId="{AD52DD0C-C95F-4373-B8F1-6212975E847D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61" creationId="{ABFAF032-5F2E-4066-A4AD-5F5EAAB6C63B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62" creationId="{8F1F09C7-DCD7-4146-96CF-5BB5F91453CF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63" creationId="{8D7A26FC-1366-4818-B05C-8B404583B892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64" creationId="{F1A56A80-3919-40AF-B5BA-F86E009D6B70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65" creationId="{3D88A8E5-2F8C-43A8-AD3D-37EE14448CB1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66" creationId="{48F32563-8273-462C-B607-B0E19AC2A374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67" creationId="{898F9BBF-E29A-42A8-895D-AF5A0BBA9AFB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68" creationId="{D0A4B6EF-8739-40E8-945C-2AE9C8C7D14D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69" creationId="{B2D567C0-B933-4D13-833F-E35F6B841970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70" creationId="{D015686D-9BB5-4E3C-9F22-0D3451DB7C24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71" creationId="{F2047F85-7610-462D-87E1-B4736AB24872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72" creationId="{FA611345-3880-4BD0-BF39-CD81C5B44F60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73" creationId="{F0B76D99-0DFA-4BD4-95FF-77E0981BA2FA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74" creationId="{A7264FC8-7C50-4509-97A9-BAE35D5A2AEE}"/>
          </ac:spMkLst>
        </pc:spChg>
        <pc:spChg chg="add del mod">
          <ac:chgData name="Hasan Senol Coskun" userId="88cd95f7b86daa2f" providerId="LiveId" clId="{0A1DC79D-782D-493E-B89A-90325507C91B}" dt="2020-11-13T21:37:05.339" v="2785"/>
          <ac:spMkLst>
            <pc:docMk/>
            <pc:sldMk cId="0" sldId="1747256642"/>
            <ac:spMk id="75" creationId="{3EF86EC5-BE29-432C-9D46-649E03093D9B}"/>
          </ac:spMkLst>
        </pc:spChg>
        <pc:spChg chg="add mod">
          <ac:chgData name="Hasan Senol Coskun" userId="88cd95f7b86daa2f" providerId="LiveId" clId="{0A1DC79D-782D-493E-B89A-90325507C91B}" dt="2020-11-14T10:35:18.334" v="4458" actId="20577"/>
          <ac:spMkLst>
            <pc:docMk/>
            <pc:sldMk cId="0" sldId="1747256642"/>
            <ac:spMk id="76" creationId="{C6C0E4E8-C9D0-4394-B2F4-EBE23F26B44D}"/>
          </ac:spMkLst>
        </pc:spChg>
        <pc:spChg chg="del mod">
          <ac:chgData name="Hasan Senol Coskun" userId="88cd95f7b86daa2f" providerId="LiveId" clId="{0A1DC79D-782D-493E-B89A-90325507C91B}" dt="2020-11-13T21:38:28.197" v="2801" actId="478"/>
          <ac:spMkLst>
            <pc:docMk/>
            <pc:sldMk cId="0" sldId="1747256642"/>
            <ac:spMk id="19458" creationId="{F65B5284-A016-40AE-8211-CECB2CF27933}"/>
          </ac:spMkLst>
        </pc:spChg>
        <pc:grpChg chg="del mod">
          <ac:chgData name="Hasan Senol Coskun" userId="88cd95f7b86daa2f" providerId="LiveId" clId="{0A1DC79D-782D-493E-B89A-90325507C91B}" dt="2020-11-13T21:38:23.234" v="2800" actId="478"/>
          <ac:grpSpMkLst>
            <pc:docMk/>
            <pc:sldMk cId="0" sldId="1747256642"/>
            <ac:grpSpMk id="19" creationId="{1C71F672-C732-4354-B0A8-68B6F59E7D09}"/>
          </ac:grpSpMkLst>
        </pc:grpChg>
        <pc:graphicFrameChg chg="add del mod">
          <ac:chgData name="Hasan Senol Coskun" userId="88cd95f7b86daa2f" providerId="LiveId" clId="{0A1DC79D-782D-493E-B89A-90325507C91B}" dt="2020-11-13T21:37:05.339" v="2785"/>
          <ac:graphicFrameMkLst>
            <pc:docMk/>
            <pc:sldMk cId="0" sldId="1747256642"/>
            <ac:graphicFrameMk id="25" creationId="{7FD95585-8390-471E-8326-BE2608CA461B}"/>
          </ac:graphicFrameMkLst>
        </pc:graphicFrameChg>
        <pc:picChg chg="mod">
          <ac:chgData name="Hasan Senol Coskun" userId="88cd95f7b86daa2f" providerId="LiveId" clId="{0A1DC79D-782D-493E-B89A-90325507C91B}" dt="2020-11-13T21:38:21.538" v="2799" actId="1076"/>
          <ac:picMkLst>
            <pc:docMk/>
            <pc:sldMk cId="0" sldId="1747256642"/>
            <ac:picMk id="20" creationId="{AAC37539-5F68-4ED9-8188-E6C146B4236C}"/>
          </ac:picMkLst>
        </pc:pic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30" creationId="{60546676-5983-4A52-A6C1-C5B9F9D1119B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31" creationId="{5A833642-F338-4A99-B542-90E616DB6B78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32" creationId="{8681A340-E4DE-44C7-9CF8-879024E0A34B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33" creationId="{DC5346C2-263B-4898-85DC-F54542D72529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34" creationId="{4EB35DD8-2745-40EB-B4F4-053855AB443A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35" creationId="{96B277AB-378C-481B-AA78-ABC96635FF7E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36" creationId="{E7DD3059-1DF6-4CB5-8BA9-84D0F7C51F47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37" creationId="{954BEF61-E715-4BD4-945B-C2D31EA83F8D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38" creationId="{74CF4103-6D83-4E97-970B-471369DD0B40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39" creationId="{C1160B7E-E534-4E6A-8914-A296E98B41EB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40" creationId="{C38D0594-740A-441F-8F7C-03242CE3D5FA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41" creationId="{992B8183-8971-4528-9C2D-A66DCD7B2BBB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42" creationId="{0406DC6F-45F5-4D99-9256-42D1D3ABEA06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51" creationId="{AEA761DD-BB9A-43E1-AF3C-BC99753FA679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52" creationId="{9C56A837-41EB-4AD3-AE28-690F9462BC39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53" creationId="{D264C2B3-95C5-4837-AECA-1CE3E36B8924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54" creationId="{49B9C978-9E50-45E9-ABD9-F9C03457DB1F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55" creationId="{4126CC17-C06C-434A-86D3-8C83BE441AC0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56" creationId="{69ED8ABB-7764-4FC3-9370-F5110C47BD50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57" creationId="{C67A457F-587C-4281-87C1-BD0EF5C77DAC}"/>
          </ac:cxnSpMkLst>
        </pc:cxnChg>
        <pc:cxnChg chg="add del mod">
          <ac:chgData name="Hasan Senol Coskun" userId="88cd95f7b86daa2f" providerId="LiveId" clId="{0A1DC79D-782D-493E-B89A-90325507C91B}" dt="2020-11-13T21:37:05.339" v="2785"/>
          <ac:cxnSpMkLst>
            <pc:docMk/>
            <pc:sldMk cId="0" sldId="1747256642"/>
            <ac:cxnSpMk id="58" creationId="{3BAB27EC-7C0C-4D01-B329-276015AD1284}"/>
          </ac:cxnSpMkLst>
        </pc:cxnChg>
      </pc:sldChg>
      <pc:sldChg chg="addSp delSp modSp del mod">
        <pc:chgData name="Hasan Senol Coskun" userId="88cd95f7b86daa2f" providerId="LiveId" clId="{0A1DC79D-782D-493E-B89A-90325507C91B}" dt="2020-11-14T10:26:12.980" v="4320" actId="47"/>
        <pc:sldMkLst>
          <pc:docMk/>
          <pc:sldMk cId="515309400" sldId="1747256643"/>
        </pc:sldMkLst>
        <pc:spChg chg="del">
          <ac:chgData name="Hasan Senol Coskun" userId="88cd95f7b86daa2f" providerId="LiveId" clId="{0A1DC79D-782D-493E-B89A-90325507C91B}" dt="2020-11-13T21:35:56.850" v="2779" actId="478"/>
          <ac:spMkLst>
            <pc:docMk/>
            <pc:sldMk cId="515309400" sldId="1747256643"/>
            <ac:spMk id="2" creationId="{3BD9A913-B045-4100-AAC0-2441F877C3C8}"/>
          </ac:spMkLst>
        </pc:spChg>
        <pc:spChg chg="add del mod">
          <ac:chgData name="Hasan Senol Coskun" userId="88cd95f7b86daa2f" providerId="LiveId" clId="{0A1DC79D-782D-493E-B89A-90325507C91B}" dt="2020-11-13T21:39:23.648" v="2810" actId="478"/>
          <ac:spMkLst>
            <pc:docMk/>
            <pc:sldMk cId="515309400" sldId="1747256643"/>
            <ac:spMk id="3" creationId="{885EA288-BD59-41BC-8C32-5A3004A9D0D1}"/>
          </ac:spMkLst>
        </pc:spChg>
        <pc:spChg chg="add del mod">
          <ac:chgData name="Hasan Senol Coskun" userId="88cd95f7b86daa2f" providerId="LiveId" clId="{0A1DC79D-782D-493E-B89A-90325507C91B}" dt="2020-11-13T21:38:49.304" v="2803" actId="478"/>
          <ac:spMkLst>
            <pc:docMk/>
            <pc:sldMk cId="515309400" sldId="1747256643"/>
            <ac:spMk id="5" creationId="{36BC2FE7-7299-42B2-979C-98EE60935361}"/>
          </ac:spMkLst>
        </pc:spChg>
        <pc:spChg chg="add mod">
          <ac:chgData name="Hasan Senol Coskun" userId="88cd95f7b86daa2f" providerId="LiveId" clId="{0A1DC79D-782D-493E-B89A-90325507C91B}" dt="2020-11-13T21:39:27.054" v="2811" actId="207"/>
          <ac:spMkLst>
            <pc:docMk/>
            <pc:sldMk cId="515309400" sldId="1747256643"/>
            <ac:spMk id="8" creationId="{9726F822-2FAE-46EA-93AD-B0BCBACE9106}"/>
          </ac:spMkLst>
        </pc:spChg>
      </pc:sldChg>
      <pc:sldChg chg="addSp delSp modSp del mod">
        <pc:chgData name="Hasan Senol Coskun" userId="88cd95f7b86daa2f" providerId="LiveId" clId="{0A1DC79D-782D-493E-B89A-90325507C91B}" dt="2020-11-14T10:26:16.524" v="4321" actId="47"/>
        <pc:sldMkLst>
          <pc:docMk/>
          <pc:sldMk cId="638309257" sldId="1747256644"/>
        </pc:sldMkLst>
        <pc:spChg chg="add mod">
          <ac:chgData name="Hasan Senol Coskun" userId="88cd95f7b86daa2f" providerId="LiveId" clId="{0A1DC79D-782D-493E-B89A-90325507C91B}" dt="2020-11-14T08:33:59.854" v="3945" actId="1076"/>
          <ac:spMkLst>
            <pc:docMk/>
            <pc:sldMk cId="638309257" sldId="1747256644"/>
            <ac:spMk id="4" creationId="{9601F1F1-FC2C-4F4D-8C6C-681BA523569E}"/>
          </ac:spMkLst>
        </pc:spChg>
        <pc:spChg chg="del mod">
          <ac:chgData name="Hasan Senol Coskun" userId="88cd95f7b86daa2f" providerId="LiveId" clId="{0A1DC79D-782D-493E-B89A-90325507C91B}" dt="2020-11-13T21:40:04.523" v="2817" actId="478"/>
          <ac:spMkLst>
            <pc:docMk/>
            <pc:sldMk cId="638309257" sldId="1747256644"/>
            <ac:spMk id="5" creationId="{DA652F5C-E541-437D-BB32-F88EFA4AD60A}"/>
          </ac:spMkLst>
        </pc:spChg>
      </pc:sldChg>
      <pc:sldChg chg="modSp del mod modClrScheme chgLayout">
        <pc:chgData name="Hasan Senol Coskun" userId="88cd95f7b86daa2f" providerId="LiveId" clId="{0A1DC79D-782D-493E-B89A-90325507C91B}" dt="2020-11-13T21:32:45.917" v="2753" actId="47"/>
        <pc:sldMkLst>
          <pc:docMk/>
          <pc:sldMk cId="923043796" sldId="1747256645"/>
        </pc:sldMkLst>
        <pc:spChg chg="mod ord">
          <ac:chgData name="Hasan Senol Coskun" userId="88cd95f7b86daa2f" providerId="LiveId" clId="{0A1DC79D-782D-493E-B89A-90325507C91B}" dt="2020-11-13T18:58:38.324" v="1303" actId="700"/>
          <ac:spMkLst>
            <pc:docMk/>
            <pc:sldMk cId="923043796" sldId="1747256645"/>
            <ac:spMk id="3" creationId="{87C2141B-A228-450C-A2C0-76267F493DAC}"/>
          </ac:spMkLst>
        </pc:spChg>
      </pc:sldChg>
      <pc:sldChg chg="addSp delSp modSp mod ord modClrScheme chgLayout">
        <pc:chgData name="Hasan Senol Coskun" userId="88cd95f7b86daa2f" providerId="LiveId" clId="{0A1DC79D-782D-493E-B89A-90325507C91B}" dt="2020-11-13T18:08:30.322" v="741" actId="20577"/>
        <pc:sldMkLst>
          <pc:docMk/>
          <pc:sldMk cId="2986422636" sldId="1747256646"/>
        </pc:sldMkLst>
        <pc:spChg chg="del mod ord">
          <ac:chgData name="Hasan Senol Coskun" userId="88cd95f7b86daa2f" providerId="LiveId" clId="{0A1DC79D-782D-493E-B89A-90325507C91B}" dt="2020-11-13T18:06:21.656" v="709" actId="478"/>
          <ac:spMkLst>
            <pc:docMk/>
            <pc:sldMk cId="2986422636" sldId="1747256646"/>
            <ac:spMk id="2" creationId="{00000000-0000-0000-0000-000000000000}"/>
          </ac:spMkLst>
        </pc:spChg>
        <pc:spChg chg="add del mod">
          <ac:chgData name="Hasan Senol Coskun" userId="88cd95f7b86daa2f" providerId="LiveId" clId="{0A1DC79D-782D-493E-B89A-90325507C91B}" dt="2020-11-13T18:06:24.937" v="710" actId="478"/>
          <ac:spMkLst>
            <pc:docMk/>
            <pc:sldMk cId="2986422636" sldId="1747256646"/>
            <ac:spMk id="3" creationId="{7524D04D-53E8-423C-A950-8663945DA658}"/>
          </ac:spMkLst>
        </pc:spChg>
        <pc:spChg chg="del">
          <ac:chgData name="Hasan Senol Coskun" userId="88cd95f7b86daa2f" providerId="LiveId" clId="{0A1DC79D-782D-493E-B89A-90325507C91B}" dt="2020-11-13T18:07:48.563" v="719" actId="478"/>
          <ac:spMkLst>
            <pc:docMk/>
            <pc:sldMk cId="2986422636" sldId="1747256646"/>
            <ac:spMk id="4" creationId="{00000000-0000-0000-0000-000000000000}"/>
          </ac:spMkLst>
        </pc:spChg>
        <pc:spChg chg="del">
          <ac:chgData name="Hasan Senol Coskun" userId="88cd95f7b86daa2f" providerId="LiveId" clId="{0A1DC79D-782D-493E-B89A-90325507C91B}" dt="2020-11-13T18:07:43.085" v="718" actId="478"/>
          <ac:spMkLst>
            <pc:docMk/>
            <pc:sldMk cId="2986422636" sldId="1747256646"/>
            <ac:spMk id="6" creationId="{00000000-0000-0000-0000-000000000000}"/>
          </ac:spMkLst>
        </pc:spChg>
        <pc:spChg chg="del">
          <ac:chgData name="Hasan Senol Coskun" userId="88cd95f7b86daa2f" providerId="LiveId" clId="{0A1DC79D-782D-493E-B89A-90325507C91B}" dt="2020-11-13T18:06:31.998" v="711" actId="478"/>
          <ac:spMkLst>
            <pc:docMk/>
            <pc:sldMk cId="2986422636" sldId="1747256646"/>
            <ac:spMk id="7" creationId="{721E3602-0F26-4ECF-B46B-5178268A17C1}"/>
          </ac:spMkLst>
        </pc:spChg>
        <pc:spChg chg="add mod ord">
          <ac:chgData name="Hasan Senol Coskun" userId="88cd95f7b86daa2f" providerId="LiveId" clId="{0A1DC79D-782D-493E-B89A-90325507C91B}" dt="2020-11-13T18:08:30.322" v="741" actId="20577"/>
          <ac:spMkLst>
            <pc:docMk/>
            <pc:sldMk cId="2986422636" sldId="1747256646"/>
            <ac:spMk id="8" creationId="{284F9BBA-0904-4A2B-A38A-8A7EBC98F152}"/>
          </ac:spMkLst>
        </pc:spChg>
        <pc:spChg chg="mod">
          <ac:chgData name="Hasan Senol Coskun" userId="88cd95f7b86daa2f" providerId="LiveId" clId="{0A1DC79D-782D-493E-B89A-90325507C91B}" dt="2020-11-13T18:06:50.744" v="712" actId="164"/>
          <ac:spMkLst>
            <pc:docMk/>
            <pc:sldMk cId="2986422636" sldId="1747256646"/>
            <ac:spMk id="13" creationId="{F1A7AECB-1076-4163-A251-B85E244D6755}"/>
          </ac:spMkLst>
        </pc:spChg>
        <pc:spChg chg="mod">
          <ac:chgData name="Hasan Senol Coskun" userId="88cd95f7b86daa2f" providerId="LiveId" clId="{0A1DC79D-782D-493E-B89A-90325507C91B}" dt="2020-11-13T18:06:50.744" v="712" actId="164"/>
          <ac:spMkLst>
            <pc:docMk/>
            <pc:sldMk cId="2986422636" sldId="1747256646"/>
            <ac:spMk id="14" creationId="{B7ABBAA4-F219-43ED-9424-482A0EFEF52F}"/>
          </ac:spMkLst>
        </pc:spChg>
        <pc:spChg chg="mod">
          <ac:chgData name="Hasan Senol Coskun" userId="88cd95f7b86daa2f" providerId="LiveId" clId="{0A1DC79D-782D-493E-B89A-90325507C91B}" dt="2020-11-13T18:06:50.744" v="712" actId="164"/>
          <ac:spMkLst>
            <pc:docMk/>
            <pc:sldMk cId="2986422636" sldId="1747256646"/>
            <ac:spMk id="15" creationId="{5ED5A752-66E1-4482-A5E2-A64C0275CE05}"/>
          </ac:spMkLst>
        </pc:spChg>
        <pc:spChg chg="mod">
          <ac:chgData name="Hasan Senol Coskun" userId="88cd95f7b86daa2f" providerId="LiveId" clId="{0A1DC79D-782D-493E-B89A-90325507C91B}" dt="2020-11-13T18:06:50.744" v="712" actId="164"/>
          <ac:spMkLst>
            <pc:docMk/>
            <pc:sldMk cId="2986422636" sldId="1747256646"/>
            <ac:spMk id="16" creationId="{60BC84CB-1DC0-4D56-82C5-95AE29593889}"/>
          </ac:spMkLst>
        </pc:spChg>
        <pc:spChg chg="mod">
          <ac:chgData name="Hasan Senol Coskun" userId="88cd95f7b86daa2f" providerId="LiveId" clId="{0A1DC79D-782D-493E-B89A-90325507C91B}" dt="2020-11-13T18:06:50.744" v="712" actId="164"/>
          <ac:spMkLst>
            <pc:docMk/>
            <pc:sldMk cId="2986422636" sldId="1747256646"/>
            <ac:spMk id="17" creationId="{4F857498-4336-4772-B22B-C69DF580F35A}"/>
          </ac:spMkLst>
        </pc:spChg>
        <pc:spChg chg="mod">
          <ac:chgData name="Hasan Senol Coskun" userId="88cd95f7b86daa2f" providerId="LiveId" clId="{0A1DC79D-782D-493E-B89A-90325507C91B}" dt="2020-11-13T18:06:50.744" v="712" actId="164"/>
          <ac:spMkLst>
            <pc:docMk/>
            <pc:sldMk cId="2986422636" sldId="1747256646"/>
            <ac:spMk id="18" creationId="{D102C4E4-26CD-41E2-9E27-3B720B891823}"/>
          </ac:spMkLst>
        </pc:spChg>
        <pc:spChg chg="mod">
          <ac:chgData name="Hasan Senol Coskun" userId="88cd95f7b86daa2f" providerId="LiveId" clId="{0A1DC79D-782D-493E-B89A-90325507C91B}" dt="2020-11-13T18:06:50.744" v="712" actId="164"/>
          <ac:spMkLst>
            <pc:docMk/>
            <pc:sldMk cId="2986422636" sldId="1747256646"/>
            <ac:spMk id="19" creationId="{F8D08F9E-3E53-454E-97E8-1225D3148955}"/>
          </ac:spMkLst>
        </pc:spChg>
        <pc:spChg chg="mod">
          <ac:chgData name="Hasan Senol Coskun" userId="88cd95f7b86daa2f" providerId="LiveId" clId="{0A1DC79D-782D-493E-B89A-90325507C91B}" dt="2020-11-13T18:06:50.744" v="712" actId="164"/>
          <ac:spMkLst>
            <pc:docMk/>
            <pc:sldMk cId="2986422636" sldId="1747256646"/>
            <ac:spMk id="20" creationId="{519DC442-5D72-4FDF-8DC0-C3CE35000862}"/>
          </ac:spMkLst>
        </pc:spChg>
        <pc:spChg chg="mod">
          <ac:chgData name="Hasan Senol Coskun" userId="88cd95f7b86daa2f" providerId="LiveId" clId="{0A1DC79D-782D-493E-B89A-90325507C91B}" dt="2020-11-13T18:06:50.744" v="712" actId="164"/>
          <ac:spMkLst>
            <pc:docMk/>
            <pc:sldMk cId="2986422636" sldId="1747256646"/>
            <ac:spMk id="21" creationId="{EEEDE8ED-75A9-4155-8615-A165072F7504}"/>
          </ac:spMkLst>
        </pc:spChg>
        <pc:spChg chg="mod">
          <ac:chgData name="Hasan Senol Coskun" userId="88cd95f7b86daa2f" providerId="LiveId" clId="{0A1DC79D-782D-493E-B89A-90325507C91B}" dt="2020-11-13T18:06:50.744" v="712" actId="164"/>
          <ac:spMkLst>
            <pc:docMk/>
            <pc:sldMk cId="2986422636" sldId="1747256646"/>
            <ac:spMk id="22" creationId="{32530410-DDDD-4ED0-A52B-40EEE3DEABB6}"/>
          </ac:spMkLst>
        </pc:spChg>
        <pc:spChg chg="mod">
          <ac:chgData name="Hasan Senol Coskun" userId="88cd95f7b86daa2f" providerId="LiveId" clId="{0A1DC79D-782D-493E-B89A-90325507C91B}" dt="2020-11-13T18:06:50.744" v="712" actId="164"/>
          <ac:spMkLst>
            <pc:docMk/>
            <pc:sldMk cId="2986422636" sldId="1747256646"/>
            <ac:spMk id="23" creationId="{8FA1C217-FD90-41C1-A4FF-5082DC4F99DD}"/>
          </ac:spMkLst>
        </pc:spChg>
        <pc:spChg chg="mod">
          <ac:chgData name="Hasan Senol Coskun" userId="88cd95f7b86daa2f" providerId="LiveId" clId="{0A1DC79D-782D-493E-B89A-90325507C91B}" dt="2020-11-13T18:06:50.744" v="712" actId="164"/>
          <ac:spMkLst>
            <pc:docMk/>
            <pc:sldMk cId="2986422636" sldId="1747256646"/>
            <ac:spMk id="24" creationId="{D8869C50-A94C-4756-B63D-E9AF44271D49}"/>
          </ac:spMkLst>
        </pc:spChg>
        <pc:spChg chg="mod">
          <ac:chgData name="Hasan Senol Coskun" userId="88cd95f7b86daa2f" providerId="LiveId" clId="{0A1DC79D-782D-493E-B89A-90325507C91B}" dt="2020-11-13T18:06:50.744" v="712" actId="164"/>
          <ac:spMkLst>
            <pc:docMk/>
            <pc:sldMk cId="2986422636" sldId="1747256646"/>
            <ac:spMk id="25" creationId="{BED52F4B-520D-48A4-ACA1-744C81B2D563}"/>
          </ac:spMkLst>
        </pc:spChg>
        <pc:spChg chg="mod">
          <ac:chgData name="Hasan Senol Coskun" userId="88cd95f7b86daa2f" providerId="LiveId" clId="{0A1DC79D-782D-493E-B89A-90325507C91B}" dt="2020-11-13T18:06:50.744" v="712" actId="164"/>
          <ac:spMkLst>
            <pc:docMk/>
            <pc:sldMk cId="2986422636" sldId="1747256646"/>
            <ac:spMk id="26" creationId="{9D996659-17DF-4FE3-9FE4-B049444B2FAD}"/>
          </ac:spMkLst>
        </pc:spChg>
        <pc:spChg chg="mod">
          <ac:chgData name="Hasan Senol Coskun" userId="88cd95f7b86daa2f" providerId="LiveId" clId="{0A1DC79D-782D-493E-B89A-90325507C91B}" dt="2020-11-13T18:06:50.744" v="712" actId="164"/>
          <ac:spMkLst>
            <pc:docMk/>
            <pc:sldMk cId="2986422636" sldId="1747256646"/>
            <ac:spMk id="27" creationId="{5636F45C-C086-48E1-9992-FCD05A87889E}"/>
          </ac:spMkLst>
        </pc:spChg>
        <pc:spChg chg="mod">
          <ac:chgData name="Hasan Senol Coskun" userId="88cd95f7b86daa2f" providerId="LiveId" clId="{0A1DC79D-782D-493E-B89A-90325507C91B}" dt="2020-11-13T18:06:50.744" v="712" actId="164"/>
          <ac:spMkLst>
            <pc:docMk/>
            <pc:sldMk cId="2986422636" sldId="1747256646"/>
            <ac:spMk id="28" creationId="{4BDDDD1C-D17B-44C9-AEAE-5CCCE0C63787}"/>
          </ac:spMkLst>
        </pc:spChg>
        <pc:spChg chg="mod">
          <ac:chgData name="Hasan Senol Coskun" userId="88cd95f7b86daa2f" providerId="LiveId" clId="{0A1DC79D-782D-493E-B89A-90325507C91B}" dt="2020-11-13T18:06:50.744" v="712" actId="164"/>
          <ac:spMkLst>
            <pc:docMk/>
            <pc:sldMk cId="2986422636" sldId="1747256646"/>
            <ac:spMk id="29" creationId="{5A76D6F2-2258-4520-8764-D9F11122514D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61" creationId="{650C26B2-B326-47DB-8BDC-B42DFAB8F7F6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62" creationId="{E98053D4-053E-4833-9B2A-D93A3A8859B2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63" creationId="{361FE27B-759F-482B-8BE6-252DBA537312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64" creationId="{99B4E15D-BF37-4836-9569-E77C4F4A5421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65" creationId="{566EDB8A-03A5-4C3D-9B08-71F0A82DD78A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66" creationId="{38AB22BB-ED1F-4659-98A2-B9586B49AB31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67" creationId="{3113857F-B2BA-41D0-8592-61C4A01D5B94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68" creationId="{7B9EE04D-BBB9-4037-B11D-1806CB5D2F16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69" creationId="{8250E2C3-345D-45B0-A60B-D0141F51A19F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70" creationId="{3D34043B-0574-4B98-AB09-63FE14E8F73E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71" creationId="{7A4A678A-266A-4CC9-A598-0921504FC0D5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72" creationId="{E0ABB231-36B3-4620-B23C-8D4367A52661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73" creationId="{41DE5124-4967-4E4D-9C79-F2780EAB6AE5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74" creationId="{B974997E-C23E-4B5C-B3F9-7F9C277F1376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75" creationId="{E5BAAD55-FFB5-4536-9F15-36EAEAF80077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76" creationId="{85852235-37F8-4E09-A979-843A25D18C64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77" creationId="{C857AA5A-21B4-4EB6-9D75-A7360073C6F7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78" creationId="{C06C80E1-D21F-4B87-8F01-B47CFA242B54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79" creationId="{38A308DA-70B9-4D38-B854-BCB0570C40E9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80" creationId="{711F91B9-2F34-4272-B291-58ED4A84AC38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81" creationId="{07675819-54AC-47CC-8E78-D44809B080BD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82" creationId="{B8152575-E217-4A98-9429-C63A47BE7562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83" creationId="{60D68231-7111-40D7-B4E3-8EA7F5250085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84" creationId="{DCBD0CF0-313E-4EB5-B91C-CCFA2BCCB502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85" creationId="{AC2F92CB-D51C-4CF8-9610-2ECE0C4E93EC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86" creationId="{31C6405D-EBA7-489D-AADE-66D932F13365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87" creationId="{9A88AA0D-BEC1-4C37-9FA5-14C8A06BFB5E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88" creationId="{51DEE56D-3546-409C-B263-F051A4586CCD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89" creationId="{103C6FAC-8DB7-4360-AD62-E420122C048D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90" creationId="{FEFC935A-136D-49CF-BDFC-D091983B72DF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91" creationId="{20D762E6-20E8-4A06-92C9-E9604B825E79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92" creationId="{C15199B2-272D-4293-9D17-3321286947B2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93" creationId="{708CF797-9120-45FE-995A-D92C0A58A960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94" creationId="{AF4631BE-6061-4F1B-8A53-16F5009CFC74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96" creationId="{B0FE09D0-9FA0-4E40-8034-B8D440FA873C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100" creationId="{C251A3D5-BE25-4932-A424-20CA9289FC07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101" creationId="{07D23AFB-D364-4E4C-9C88-5CE4116C75E2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102" creationId="{9308A79D-30EE-4C03-A5B2-A4EAD32E0C7D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103" creationId="{9D1660AC-079A-4960-9B05-8DF15DF645D0}"/>
          </ac:spMkLst>
        </pc:spChg>
        <pc:spChg chg="mod">
          <ac:chgData name="Hasan Senol Coskun" userId="88cd95f7b86daa2f" providerId="LiveId" clId="{0A1DC79D-782D-493E-B89A-90325507C91B}" dt="2020-11-13T18:08:08.116" v="723" actId="1076"/>
          <ac:spMkLst>
            <pc:docMk/>
            <pc:sldMk cId="2986422636" sldId="1747256646"/>
            <ac:spMk id="104" creationId="{F23261AA-2799-4B8C-9FC0-5D04E8A8FFBB}"/>
          </ac:spMkLst>
        </pc:spChg>
        <pc:grpChg chg="add del mod">
          <ac:chgData name="Hasan Senol Coskun" userId="88cd95f7b86daa2f" providerId="LiveId" clId="{0A1DC79D-782D-493E-B89A-90325507C91B}" dt="2020-11-13T18:07:17.108" v="716" actId="478"/>
          <ac:grpSpMkLst>
            <pc:docMk/>
            <pc:sldMk cId="2986422636" sldId="1747256646"/>
            <ac:grpSpMk id="5" creationId="{184CE401-3942-4D16-829F-67F29AD63AC4}"/>
          </ac:grpSpMkLst>
        </pc:grpChg>
        <pc:grpChg chg="mod">
          <ac:chgData name="Hasan Senol Coskun" userId="88cd95f7b86daa2f" providerId="LiveId" clId="{0A1DC79D-782D-493E-B89A-90325507C91B}" dt="2020-11-13T18:06:50.744" v="712" actId="164"/>
          <ac:grpSpMkLst>
            <pc:docMk/>
            <pc:sldMk cId="2986422636" sldId="1747256646"/>
            <ac:grpSpMk id="11" creationId="{A4AE11EE-088C-437A-B60E-1D081465BBFE}"/>
          </ac:grpSpMkLst>
        </pc:grpChg>
        <pc:grpChg chg="mod">
          <ac:chgData name="Hasan Senol Coskun" userId="88cd95f7b86daa2f" providerId="LiveId" clId="{0A1DC79D-782D-493E-B89A-90325507C91B}" dt="2020-11-13T18:06:50.744" v="712" actId="164"/>
          <ac:grpSpMkLst>
            <pc:docMk/>
            <pc:sldMk cId="2986422636" sldId="1747256646"/>
            <ac:grpSpMk id="12" creationId="{B3461436-F159-4B72-A16E-B13FBCCA079F}"/>
          </ac:grpSpMkLst>
        </pc:grpChg>
        <pc:grpChg chg="add mod">
          <ac:chgData name="Hasan Senol Coskun" userId="88cd95f7b86daa2f" providerId="LiveId" clId="{0A1DC79D-782D-493E-B89A-90325507C91B}" dt="2020-11-13T18:08:08.116" v="723" actId="1076"/>
          <ac:grpSpMkLst>
            <pc:docMk/>
            <pc:sldMk cId="2986422636" sldId="1747256646"/>
            <ac:grpSpMk id="57" creationId="{CA128292-AA58-494C-B73F-0E63B2E425FC}"/>
          </ac:grpSpMkLst>
        </pc:grpChg>
        <pc:grpChg chg="mod">
          <ac:chgData name="Hasan Senol Coskun" userId="88cd95f7b86daa2f" providerId="LiveId" clId="{0A1DC79D-782D-493E-B89A-90325507C91B}" dt="2020-11-13T18:08:08.116" v="723" actId="1076"/>
          <ac:grpSpMkLst>
            <pc:docMk/>
            <pc:sldMk cId="2986422636" sldId="1747256646"/>
            <ac:grpSpMk id="59" creationId="{9EFFFD97-E7BE-4E0F-81DB-43E939BC8936}"/>
          </ac:grpSpMkLst>
        </pc:grpChg>
        <pc:grpChg chg="mod">
          <ac:chgData name="Hasan Senol Coskun" userId="88cd95f7b86daa2f" providerId="LiveId" clId="{0A1DC79D-782D-493E-B89A-90325507C91B}" dt="2020-11-13T18:08:08.116" v="723" actId="1076"/>
          <ac:grpSpMkLst>
            <pc:docMk/>
            <pc:sldMk cId="2986422636" sldId="1747256646"/>
            <ac:grpSpMk id="60" creationId="{0F9F1AEB-B898-4C03-AF6D-3ECD146EC2ED}"/>
          </ac:grpSpMkLst>
        </pc:grpChg>
        <pc:cxnChg chg="mod">
          <ac:chgData name="Hasan Senol Coskun" userId="88cd95f7b86daa2f" providerId="LiveId" clId="{0A1DC79D-782D-493E-B89A-90325507C91B}" dt="2020-11-13T18:06:50.744" v="712" actId="164"/>
          <ac:cxnSpMkLst>
            <pc:docMk/>
            <pc:sldMk cId="2986422636" sldId="1747256646"/>
            <ac:cxnSpMk id="10" creationId="{CCCFAF84-D1ED-4FA7-9658-7DC64B429FFF}"/>
          </ac:cxnSpMkLst>
        </pc:cxnChg>
        <pc:cxnChg chg="mod">
          <ac:chgData name="Hasan Senol Coskun" userId="88cd95f7b86daa2f" providerId="LiveId" clId="{0A1DC79D-782D-493E-B89A-90325507C91B}" dt="2020-11-13T18:08:08.116" v="723" actId="1076"/>
          <ac:cxnSpMkLst>
            <pc:docMk/>
            <pc:sldMk cId="2986422636" sldId="1747256646"/>
            <ac:cxnSpMk id="58" creationId="{2A9A273C-980B-4B58-9853-28BD3CFE7DE0}"/>
          </ac:cxnSpMkLst>
        </pc:cxnChg>
        <pc:cxnChg chg="mod">
          <ac:chgData name="Hasan Senol Coskun" userId="88cd95f7b86daa2f" providerId="LiveId" clId="{0A1DC79D-782D-493E-B89A-90325507C91B}" dt="2020-11-13T18:08:08.116" v="723" actId="1076"/>
          <ac:cxnSpMkLst>
            <pc:docMk/>
            <pc:sldMk cId="2986422636" sldId="1747256646"/>
            <ac:cxnSpMk id="95" creationId="{012437C3-84DB-4352-B35F-CE5F4E68F89C}"/>
          </ac:cxnSpMkLst>
        </pc:cxnChg>
        <pc:cxnChg chg="mod">
          <ac:chgData name="Hasan Senol Coskun" userId="88cd95f7b86daa2f" providerId="LiveId" clId="{0A1DC79D-782D-493E-B89A-90325507C91B}" dt="2020-11-13T18:08:08.116" v="723" actId="1076"/>
          <ac:cxnSpMkLst>
            <pc:docMk/>
            <pc:sldMk cId="2986422636" sldId="1747256646"/>
            <ac:cxnSpMk id="97" creationId="{F94331EB-70EA-4F03-9900-8F633B2A71EB}"/>
          </ac:cxnSpMkLst>
        </pc:cxnChg>
        <pc:cxnChg chg="mod">
          <ac:chgData name="Hasan Senol Coskun" userId="88cd95f7b86daa2f" providerId="LiveId" clId="{0A1DC79D-782D-493E-B89A-90325507C91B}" dt="2020-11-13T18:08:08.116" v="723" actId="1076"/>
          <ac:cxnSpMkLst>
            <pc:docMk/>
            <pc:sldMk cId="2986422636" sldId="1747256646"/>
            <ac:cxnSpMk id="98" creationId="{AFF2F272-669C-4545-92C4-6014292FA42E}"/>
          </ac:cxnSpMkLst>
        </pc:cxnChg>
        <pc:cxnChg chg="mod">
          <ac:chgData name="Hasan Senol Coskun" userId="88cd95f7b86daa2f" providerId="LiveId" clId="{0A1DC79D-782D-493E-B89A-90325507C91B}" dt="2020-11-13T18:08:08.116" v="723" actId="1076"/>
          <ac:cxnSpMkLst>
            <pc:docMk/>
            <pc:sldMk cId="2986422636" sldId="1747256646"/>
            <ac:cxnSpMk id="99" creationId="{5FF48E6D-9B60-48BF-B068-852F70F65202}"/>
          </ac:cxnSpMkLst>
        </pc:cxnChg>
      </pc:sldChg>
      <pc:sldChg chg="addSp delSp modSp mod">
        <pc:chgData name="Hasan Senol Coskun" userId="88cd95f7b86daa2f" providerId="LiveId" clId="{0A1DC79D-782D-493E-B89A-90325507C91B}" dt="2020-11-14T10:29:10.600" v="4393" actId="20577"/>
        <pc:sldMkLst>
          <pc:docMk/>
          <pc:sldMk cId="3375193015" sldId="1747256647"/>
        </pc:sldMkLst>
        <pc:spChg chg="del mod">
          <ac:chgData name="Hasan Senol Coskun" userId="88cd95f7b86daa2f" providerId="LiveId" clId="{0A1DC79D-782D-493E-B89A-90325507C91B}" dt="2020-11-14T08:38:21.992" v="3946" actId="478"/>
          <ac:spMkLst>
            <pc:docMk/>
            <pc:sldMk cId="3375193015" sldId="1747256647"/>
            <ac:spMk id="2" creationId="{DBE5FB2C-5661-4836-9C35-CD8C94E3DFDD}"/>
          </ac:spMkLst>
        </pc:spChg>
        <pc:spChg chg="mod">
          <ac:chgData name="Hasan Senol Coskun" userId="88cd95f7b86daa2f" providerId="LiveId" clId="{0A1DC79D-782D-493E-B89A-90325507C91B}" dt="2020-11-13T21:32:02.979" v="2748" actId="1076"/>
          <ac:spMkLst>
            <pc:docMk/>
            <pc:sldMk cId="3375193015" sldId="1747256647"/>
            <ac:spMk id="3" creationId="{DB63BB2F-4FE1-4DDD-A6C4-A051FE0891BF}"/>
          </ac:spMkLst>
        </pc:spChg>
        <pc:spChg chg="mod">
          <ac:chgData name="Hasan Senol Coskun" userId="88cd95f7b86daa2f" providerId="LiveId" clId="{0A1DC79D-782D-493E-B89A-90325507C91B}" dt="2020-11-13T21:31:04.806" v="2736" actId="1076"/>
          <ac:spMkLst>
            <pc:docMk/>
            <pc:sldMk cId="3375193015" sldId="1747256647"/>
            <ac:spMk id="14" creationId="{78592823-3D35-40D1-9DA5-B16D41BEBE4D}"/>
          </ac:spMkLst>
        </pc:spChg>
        <pc:spChg chg="add mod">
          <ac:chgData name="Hasan Senol Coskun" userId="88cd95f7b86daa2f" providerId="LiveId" clId="{0A1DC79D-782D-493E-B89A-90325507C91B}" dt="2020-11-14T10:29:10.600" v="4393" actId="20577"/>
          <ac:spMkLst>
            <pc:docMk/>
            <pc:sldMk cId="3375193015" sldId="1747256647"/>
            <ac:spMk id="40" creationId="{D5A71B95-CBC3-4D37-834D-069A1C3EA71C}"/>
          </ac:spMkLst>
        </pc:spChg>
        <pc:grpChg chg="del">
          <ac:chgData name="Hasan Senol Coskun" userId="88cd95f7b86daa2f" providerId="LiveId" clId="{0A1DC79D-782D-493E-B89A-90325507C91B}" dt="2020-11-13T21:31:12.165" v="2737" actId="478"/>
          <ac:grpSpMkLst>
            <pc:docMk/>
            <pc:sldMk cId="3375193015" sldId="1747256647"/>
            <ac:grpSpMk id="10" creationId="{F8F03157-92E5-48EC-8F82-6F0E1A6620BB}"/>
          </ac:grpSpMkLst>
        </pc:grpChg>
        <pc:grpChg chg="mod">
          <ac:chgData name="Hasan Senol Coskun" userId="88cd95f7b86daa2f" providerId="LiveId" clId="{0A1DC79D-782D-493E-B89A-90325507C91B}" dt="2020-11-13T21:32:09.547" v="2749" actId="1076"/>
          <ac:grpSpMkLst>
            <pc:docMk/>
            <pc:sldMk cId="3375193015" sldId="1747256647"/>
            <ac:grpSpMk id="24583" creationId="{E022A3CE-3660-4525-BC0E-5733D6126F93}"/>
          </ac:grpSpMkLst>
        </pc:grpChg>
      </pc:sldChg>
      <pc:sldChg chg="addSp delSp modSp del mod">
        <pc:chgData name="Hasan Senol Coskun" userId="88cd95f7b86daa2f" providerId="LiveId" clId="{0A1DC79D-782D-493E-B89A-90325507C91B}" dt="2020-11-14T10:30:22.193" v="4394" actId="47"/>
        <pc:sldMkLst>
          <pc:docMk/>
          <pc:sldMk cId="3080193112" sldId="1747256648"/>
        </pc:sldMkLst>
        <pc:spChg chg="add del mod">
          <ac:chgData name="Hasan Senol Coskun" userId="88cd95f7b86daa2f" providerId="LiveId" clId="{0A1DC79D-782D-493E-B89A-90325507C91B}" dt="2020-11-13T21:42:36.917" v="2857" actId="207"/>
          <ac:spMkLst>
            <pc:docMk/>
            <pc:sldMk cId="3080193112" sldId="1747256648"/>
            <ac:spMk id="3" creationId="{75BE3DB2-63F8-4588-9A50-6BDF4DB2C6C6}"/>
          </ac:spMkLst>
        </pc:spChg>
        <pc:spChg chg="add del mod">
          <ac:chgData name="Hasan Senol Coskun" userId="88cd95f7b86daa2f" providerId="LiveId" clId="{0A1DC79D-782D-493E-B89A-90325507C91B}" dt="2020-11-13T21:34:49.234" v="2775" actId="478"/>
          <ac:spMkLst>
            <pc:docMk/>
            <pc:sldMk cId="3080193112" sldId="1747256648"/>
            <ac:spMk id="5" creationId="{8B7F5A4B-FAC0-4A74-895D-FD5C90D08AB7}"/>
          </ac:spMkLst>
        </pc:spChg>
        <pc:spChg chg="del mod">
          <ac:chgData name="Hasan Senol Coskun" userId="88cd95f7b86daa2f" providerId="LiveId" clId="{0A1DC79D-782D-493E-B89A-90325507C91B}" dt="2020-11-13T21:34:29.909" v="2769" actId="478"/>
          <ac:spMkLst>
            <pc:docMk/>
            <pc:sldMk cId="3080193112" sldId="1747256648"/>
            <ac:spMk id="6" creationId="{00000000-0000-0000-0000-000000000000}"/>
          </ac:spMkLst>
        </pc:spChg>
        <pc:spChg chg="mod">
          <ac:chgData name="Hasan Senol Coskun" userId="88cd95f7b86daa2f" providerId="LiveId" clId="{0A1DC79D-782D-493E-B89A-90325507C91B}" dt="2020-11-13T21:34:32.942" v="2771" actId="1076"/>
          <ac:spMkLst>
            <pc:docMk/>
            <pc:sldMk cId="3080193112" sldId="1747256648"/>
            <ac:spMk id="16" creationId="{9B6C4F2D-B889-4865-8E99-F65F78B9A5CB}"/>
          </ac:spMkLst>
        </pc:spChg>
        <pc:grpChg chg="del mod">
          <ac:chgData name="Hasan Senol Coskun" userId="88cd95f7b86daa2f" providerId="LiveId" clId="{0A1DC79D-782D-493E-B89A-90325507C91B}" dt="2020-11-13T21:34:33.747" v="2772" actId="478"/>
          <ac:grpSpMkLst>
            <pc:docMk/>
            <pc:sldMk cId="3080193112" sldId="1747256648"/>
            <ac:grpSpMk id="12" creationId="{1D9FAD7E-CFDA-4C42-9BA6-A6ABB53593CE}"/>
          </ac:grpSpMkLst>
        </pc:grpChg>
        <pc:picChg chg="mod">
          <ac:chgData name="Hasan Senol Coskun" userId="88cd95f7b86daa2f" providerId="LiveId" clId="{0A1DC79D-782D-493E-B89A-90325507C91B}" dt="2020-11-13T21:34:32.942" v="2771" actId="1076"/>
          <ac:picMkLst>
            <pc:docMk/>
            <pc:sldMk cId="3080193112" sldId="1747256648"/>
            <ac:picMk id="15" creationId="{BB4BE482-B454-42CF-B9DF-009902CA95C6}"/>
          </ac:picMkLst>
        </pc:picChg>
      </pc:sldChg>
      <pc:sldChg chg="addSp delSp modSp del mod">
        <pc:chgData name="Hasan Senol Coskun" userId="88cd95f7b86daa2f" providerId="LiveId" clId="{0A1DC79D-782D-493E-B89A-90325507C91B}" dt="2020-11-14T10:30:25.833" v="4395" actId="47"/>
        <pc:sldMkLst>
          <pc:docMk/>
          <pc:sldMk cId="1617349343" sldId="1747256649"/>
        </pc:sldMkLst>
        <pc:spChg chg="del">
          <ac:chgData name="Hasan Senol Coskun" userId="88cd95f7b86daa2f" providerId="LiveId" clId="{0A1DC79D-782D-493E-B89A-90325507C91B}" dt="2020-11-13T18:09:53.775" v="771" actId="478"/>
          <ac:spMkLst>
            <pc:docMk/>
            <pc:sldMk cId="1617349343" sldId="1747256649"/>
            <ac:spMk id="3" creationId="{E11942B0-142A-4352-8072-09D735FC117C}"/>
          </ac:spMkLst>
        </pc:spChg>
        <pc:spChg chg="del mod">
          <ac:chgData name="Hasan Senol Coskun" userId="88cd95f7b86daa2f" providerId="LiveId" clId="{0A1DC79D-782D-493E-B89A-90325507C91B}" dt="2020-11-13T21:43:09.830" v="2865" actId="478"/>
          <ac:spMkLst>
            <pc:docMk/>
            <pc:sldMk cId="1617349343" sldId="1747256649"/>
            <ac:spMk id="6" creationId="{00000000-0000-0000-0000-000000000000}"/>
          </ac:spMkLst>
        </pc:spChg>
        <pc:spChg chg="add mod">
          <ac:chgData name="Hasan Senol Coskun" userId="88cd95f7b86daa2f" providerId="LiveId" clId="{0A1DC79D-782D-493E-B89A-90325507C91B}" dt="2020-11-13T21:43:06.484" v="2864" actId="14100"/>
          <ac:spMkLst>
            <pc:docMk/>
            <pc:sldMk cId="1617349343" sldId="1747256649"/>
            <ac:spMk id="10" creationId="{4D688AE3-7240-4AA6-A515-052C4E62EFA4}"/>
          </ac:spMkLst>
        </pc:spChg>
        <pc:spChg chg="mod">
          <ac:chgData name="Hasan Senol Coskun" userId="88cd95f7b86daa2f" providerId="LiveId" clId="{0A1DC79D-782D-493E-B89A-90325507C91B}" dt="2020-11-13T18:10:38.249" v="774" actId="14100"/>
          <ac:spMkLst>
            <pc:docMk/>
            <pc:sldMk cId="1617349343" sldId="1747256649"/>
            <ac:spMk id="53" creationId="{AB387313-449A-41C1-A413-C632F1733051}"/>
          </ac:spMkLst>
        </pc:spChg>
        <pc:spChg chg="mod topLvl">
          <ac:chgData name="Hasan Senol Coskun" userId="88cd95f7b86daa2f" providerId="LiveId" clId="{0A1DC79D-782D-493E-B89A-90325507C91B}" dt="2020-11-13T18:11:18.357" v="778" actId="165"/>
          <ac:spMkLst>
            <pc:docMk/>
            <pc:sldMk cId="1617349343" sldId="1747256649"/>
            <ac:spMk id="169" creationId="{AF118AF8-5949-4237-9707-4D581F65C28B}"/>
          </ac:spMkLst>
        </pc:spChg>
        <pc:spChg chg="mod topLvl">
          <ac:chgData name="Hasan Senol Coskun" userId="88cd95f7b86daa2f" providerId="LiveId" clId="{0A1DC79D-782D-493E-B89A-90325507C91B}" dt="2020-11-13T18:11:18.357" v="778" actId="165"/>
          <ac:spMkLst>
            <pc:docMk/>
            <pc:sldMk cId="1617349343" sldId="1747256649"/>
            <ac:spMk id="170" creationId="{87B67173-1DCC-4F81-8570-40A0E99515A6}"/>
          </ac:spMkLst>
        </pc:spChg>
        <pc:spChg chg="mod topLvl">
          <ac:chgData name="Hasan Senol Coskun" userId="88cd95f7b86daa2f" providerId="LiveId" clId="{0A1DC79D-782D-493E-B89A-90325507C91B}" dt="2020-11-13T18:11:18.357" v="778" actId="165"/>
          <ac:spMkLst>
            <pc:docMk/>
            <pc:sldMk cId="1617349343" sldId="1747256649"/>
            <ac:spMk id="171" creationId="{4B4AB97D-C23A-4587-8081-EC16058699B7}"/>
          </ac:spMkLst>
        </pc:spChg>
        <pc:grpChg chg="add del mod">
          <ac:chgData name="Hasan Senol Coskun" userId="88cd95f7b86daa2f" providerId="LiveId" clId="{0A1DC79D-782D-493E-B89A-90325507C91B}" dt="2020-11-13T18:11:18.357" v="778" actId="165"/>
          <ac:grpSpMkLst>
            <pc:docMk/>
            <pc:sldMk cId="1617349343" sldId="1747256649"/>
            <ac:grpSpMk id="7" creationId="{347572D9-190F-4BCB-AE59-D61EAFA40142}"/>
          </ac:grpSpMkLst>
        </pc:grpChg>
        <pc:grpChg chg="del">
          <ac:chgData name="Hasan Senol Coskun" userId="88cd95f7b86daa2f" providerId="LiveId" clId="{0A1DC79D-782D-493E-B89A-90325507C91B}" dt="2020-11-13T18:09:56.996" v="772" actId="478"/>
          <ac:grpSpMkLst>
            <pc:docMk/>
            <pc:sldMk cId="1617349343" sldId="1747256649"/>
            <ac:grpSpMk id="13" creationId="{8B279323-98BC-47FF-8E96-19B8A0AD9201}"/>
          </ac:grpSpMkLst>
        </pc:grpChg>
        <pc:grpChg chg="del">
          <ac:chgData name="Hasan Senol Coskun" userId="88cd95f7b86daa2f" providerId="LiveId" clId="{0A1DC79D-782D-493E-B89A-90325507C91B}" dt="2020-11-13T18:10:52.592" v="776" actId="165"/>
          <ac:grpSpMkLst>
            <pc:docMk/>
            <pc:sldMk cId="1617349343" sldId="1747256649"/>
            <ac:grpSpMk id="172" creationId="{2C0EE26C-94C3-4798-968F-BDD5EB083353}"/>
          </ac:grpSpMkLst>
        </pc:grpChg>
      </pc:sldChg>
      <pc:sldChg chg="addSp delSp modSp mod">
        <pc:chgData name="Hasan Senol Coskun" userId="88cd95f7b86daa2f" providerId="LiveId" clId="{0A1DC79D-782D-493E-B89A-90325507C91B}" dt="2020-11-14T10:31:24.793" v="4404" actId="20577"/>
        <pc:sldMkLst>
          <pc:docMk/>
          <pc:sldMk cId="3214047559" sldId="1747256650"/>
        </pc:sldMkLst>
        <pc:spChg chg="add mod">
          <ac:chgData name="Hasan Senol Coskun" userId="88cd95f7b86daa2f" providerId="LiveId" clId="{0A1DC79D-782D-493E-B89A-90325507C91B}" dt="2020-11-14T10:31:24.793" v="4404" actId="20577"/>
          <ac:spMkLst>
            <pc:docMk/>
            <pc:sldMk cId="3214047559" sldId="1747256650"/>
            <ac:spMk id="2" creationId="{A29CB996-C5BF-4AB6-947E-AA2F33EDB2F1}"/>
          </ac:spMkLst>
        </pc:spChg>
        <pc:spChg chg="del mod">
          <ac:chgData name="Hasan Senol Coskun" userId="88cd95f7b86daa2f" providerId="LiveId" clId="{0A1DC79D-782D-493E-B89A-90325507C91B}" dt="2020-11-13T21:44:21.369" v="2877" actId="478"/>
          <ac:spMkLst>
            <pc:docMk/>
            <pc:sldMk cId="3214047559" sldId="1747256650"/>
            <ac:spMk id="7" creationId="{669EF192-9D38-4AA8-BBEC-AA074339FFE5}"/>
          </ac:spMkLst>
        </pc:spChg>
        <pc:spChg chg="del">
          <ac:chgData name="Hasan Senol Coskun" userId="88cd95f7b86daa2f" providerId="LiveId" clId="{0A1DC79D-782D-493E-B89A-90325507C91B}" dt="2020-11-13T21:45:00.978" v="2883" actId="478"/>
          <ac:spMkLst>
            <pc:docMk/>
            <pc:sldMk cId="3214047559" sldId="1747256650"/>
            <ac:spMk id="8" creationId="{B2A31BB7-9894-4D01-A0A0-C61D2CD3A929}"/>
          </ac:spMkLst>
        </pc:spChg>
        <pc:spChg chg="mod">
          <ac:chgData name="Hasan Senol Coskun" userId="88cd95f7b86daa2f" providerId="LiveId" clId="{0A1DC79D-782D-493E-B89A-90325507C91B}" dt="2020-11-13T21:45:29.468" v="2889" actId="6549"/>
          <ac:spMkLst>
            <pc:docMk/>
            <pc:sldMk cId="3214047559" sldId="1747256650"/>
            <ac:spMk id="32" creationId="{5FC9A7D8-7125-47B7-BB8D-C0D2A6BFB13C}"/>
          </ac:spMkLst>
        </pc:spChg>
        <pc:spChg chg="add del mod">
          <ac:chgData name="Hasan Senol Coskun" userId="88cd95f7b86daa2f" providerId="LiveId" clId="{0A1DC79D-782D-493E-B89A-90325507C91B}" dt="2020-11-13T21:44:33.547" v="2879" actId="208"/>
          <ac:spMkLst>
            <pc:docMk/>
            <pc:sldMk cId="3214047559" sldId="1747256650"/>
            <ac:spMk id="33" creationId="{2361DBF7-E32D-41AF-835A-399F42CC441B}"/>
          </ac:spMkLst>
        </pc:spChg>
        <pc:spChg chg="mod">
          <ac:chgData name="Hasan Senol Coskun" userId="88cd95f7b86daa2f" providerId="LiveId" clId="{0A1DC79D-782D-493E-B89A-90325507C91B}" dt="2020-11-13T21:45:38.699" v="2891" actId="1076"/>
          <ac:spMkLst>
            <pc:docMk/>
            <pc:sldMk cId="3214047559" sldId="1747256650"/>
            <ac:spMk id="47" creationId="{6DE1630A-D1F5-47D4-93E9-69F64D9D75F7}"/>
          </ac:spMkLst>
        </pc:spChg>
        <pc:grpChg chg="del">
          <ac:chgData name="Hasan Senol Coskun" userId="88cd95f7b86daa2f" providerId="LiveId" clId="{0A1DC79D-782D-493E-B89A-90325507C91B}" dt="2020-11-13T21:45:30.893" v="2890" actId="478"/>
          <ac:grpSpMkLst>
            <pc:docMk/>
            <pc:sldMk cId="3214047559" sldId="1747256650"/>
            <ac:grpSpMk id="25" creationId="{53CA033C-E613-4122-8D0F-A48C8D1EE19C}"/>
          </ac:grpSpMkLst>
        </pc:grpChg>
      </pc:sldChg>
      <pc:sldChg chg="addSp delSp modSp mod modClrScheme chgLayout modNotesTx">
        <pc:chgData name="Hasan Senol Coskun" userId="88cd95f7b86daa2f" providerId="LiveId" clId="{0A1DC79D-782D-493E-B89A-90325507C91B}" dt="2020-11-14T10:32:31.237" v="4412" actId="1036"/>
        <pc:sldMkLst>
          <pc:docMk/>
          <pc:sldMk cId="2846429367" sldId="1747256651"/>
        </pc:sldMkLst>
        <pc:spChg chg="mod">
          <ac:chgData name="Hasan Senol Coskun" userId="88cd95f7b86daa2f" providerId="LiveId" clId="{0A1DC79D-782D-493E-B89A-90325507C91B}" dt="2020-11-13T21:15:49.648" v="2377" actId="1076"/>
          <ac:spMkLst>
            <pc:docMk/>
            <pc:sldMk cId="2846429367" sldId="1747256651"/>
            <ac:spMk id="2" creationId="{66C1C6B1-6161-4373-81E2-D3E7E9435FE8}"/>
          </ac:spMkLst>
        </pc:spChg>
        <pc:spChg chg="del mod">
          <ac:chgData name="Hasan Senol Coskun" userId="88cd95f7b86daa2f" providerId="LiveId" clId="{0A1DC79D-782D-493E-B89A-90325507C91B}" dt="2020-11-14T08:42:05.274" v="3974" actId="478"/>
          <ac:spMkLst>
            <pc:docMk/>
            <pc:sldMk cId="2846429367" sldId="1747256651"/>
            <ac:spMk id="4" creationId="{397375FB-A552-45A6-8986-A9616E96DAFE}"/>
          </ac:spMkLst>
        </pc:spChg>
        <pc:spChg chg="add del mod ord">
          <ac:chgData name="Hasan Senol Coskun" userId="88cd95f7b86daa2f" providerId="LiveId" clId="{0A1DC79D-782D-493E-B89A-90325507C91B}" dt="2020-11-13T21:19:13.507" v="2389" actId="700"/>
          <ac:spMkLst>
            <pc:docMk/>
            <pc:sldMk cId="2846429367" sldId="1747256651"/>
            <ac:spMk id="5" creationId="{C14D3BBD-E289-49B5-A06B-4C6BB5B69691}"/>
          </ac:spMkLst>
        </pc:spChg>
        <pc:spChg chg="mod ord">
          <ac:chgData name="Hasan Senol Coskun" userId="88cd95f7b86daa2f" providerId="LiveId" clId="{0A1DC79D-782D-493E-B89A-90325507C91B}" dt="2020-11-14T10:32:25.839" v="4407" actId="14100"/>
          <ac:spMkLst>
            <pc:docMk/>
            <pc:sldMk cId="2846429367" sldId="1747256651"/>
            <ac:spMk id="77" creationId="{EF73DAB7-B20A-1D4F-BCD7-6FCBA24EC0DB}"/>
          </ac:spMkLst>
        </pc:spChg>
        <pc:graphicFrameChg chg="mod modGraphic">
          <ac:chgData name="Hasan Senol Coskun" userId="88cd95f7b86daa2f" providerId="LiveId" clId="{0A1DC79D-782D-493E-B89A-90325507C91B}" dt="2020-11-14T10:32:31.237" v="4412" actId="1036"/>
          <ac:graphicFrameMkLst>
            <pc:docMk/>
            <pc:sldMk cId="2846429367" sldId="1747256651"/>
            <ac:graphicFrameMk id="3" creationId="{531951AB-AC48-40E7-A466-563B6F5C1390}"/>
          </ac:graphicFrameMkLst>
        </pc:graphicFrameChg>
        <pc:picChg chg="add mod">
          <ac:chgData name="Hasan Senol Coskun" userId="88cd95f7b86daa2f" providerId="LiveId" clId="{0A1DC79D-782D-493E-B89A-90325507C91B}" dt="2020-11-14T08:42:33.882" v="3980" actId="1076"/>
          <ac:picMkLst>
            <pc:docMk/>
            <pc:sldMk cId="2846429367" sldId="1747256651"/>
            <ac:picMk id="6" creationId="{1D4EBB3A-6EDB-4525-B63B-047E89FCBDC1}"/>
          </ac:picMkLst>
        </pc:picChg>
      </pc:sldChg>
      <pc:sldChg chg="addSp delSp modSp del mod">
        <pc:chgData name="Hasan Senol Coskun" userId="88cd95f7b86daa2f" providerId="LiveId" clId="{0A1DC79D-782D-493E-B89A-90325507C91B}" dt="2020-11-14T08:43:26.834" v="3982" actId="47"/>
        <pc:sldMkLst>
          <pc:docMk/>
          <pc:sldMk cId="3487019851" sldId="1747256652"/>
        </pc:sldMkLst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" creationId="{8FC29FDD-A12C-4969-884A-06EBE60A92E5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" creationId="{4C6D7D45-AE14-4529-ABF9-400DD1627936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5" creationId="{74F3AE07-8ACF-4493-8096-7DFB860B2F40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6" creationId="{6BE1B61A-5DDD-46BF-867E-3E7CAE616717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7" creationId="{9A10698F-F830-4D46-B924-0A3F10AB7B5C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9" creationId="{D1EC51C1-3F0A-472E-9A51-77183F72C39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3" creationId="{D1FBFCAC-CBDC-4363-A281-A47E04C0712B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0" creationId="{8CCE7BF5-4871-4196-A458-D0C3353C95D6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1" creationId="{8CEAD069-8C9D-44F5-B67C-4F155D0E2EA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3" creationId="{E215FBED-4304-4BDF-BFEE-590D8E851C5F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5" creationId="{C43706BB-CC36-4D05-B155-1353CCACE266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7" creationId="{512FF8C6-72A6-403C-AFBA-BEC629AB8851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9" creationId="{847992BD-EE8A-4144-AFCC-21931956A8A0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1" creationId="{CAC08633-7453-4DB6-81A9-87ED794AEFB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3" creationId="{C8C43FFD-D02F-4DD6-AEDD-5287772F61F1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5" creationId="{2B071AC4-569E-4AB9-940C-CBC191BBE6F3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7" creationId="{069C52E0-148C-429D-9C17-D2F20321685C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9" creationId="{0E19A920-477B-4214-ADAB-AC08C0B1214D}"/>
          </ac:spMkLst>
        </pc:spChg>
        <pc:spChg chg="del mod">
          <ac:chgData name="Hasan Senol Coskun" userId="88cd95f7b86daa2f" providerId="LiveId" clId="{0A1DC79D-782D-493E-B89A-90325507C91B}" dt="2020-11-13T21:47:18.513" v="2911" actId="478"/>
          <ac:spMkLst>
            <pc:docMk/>
            <pc:sldMk cId="3487019851" sldId="1747256652"/>
            <ac:spMk id="77" creationId="{EF73DAB7-B20A-1D4F-BCD7-6FCBA24EC0DB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83" creationId="{96F22D01-EBC1-46C7-9B39-3083E92B75CB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93" creationId="{1AB574C5-C129-4467-ACC1-0FCD599F1E3F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05" creationId="{F3A17AD8-32B9-4898-A224-84B816AE7C15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41" creationId="{7F8776C2-CE1E-4119-AAAE-E29468CCBBD6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43" creationId="{9C736DE5-BA30-48AC-9061-8198A35DD61D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45" creationId="{2C2D0C05-DF59-45C6-A388-F7BD5591E896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47" creationId="{F3322094-7DCC-4D5E-93E7-D4FE90B085C2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49" creationId="{9E2700AC-4EFE-4541-8FF4-1DF2AE88BE20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51" creationId="{9EDA4BC0-EF43-4CED-BA22-C1CBD2EFC403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53" creationId="{D4D2F889-1FA1-46B9-BE90-59C516DB1775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55" creationId="{6E9FC1F0-0368-4AAD-A74C-40035FBF6B62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57" creationId="{386E1544-571B-4210-9396-6524BB6AB846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59" creationId="{7892711A-018C-45E1-9C18-32E5A0C4E840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61" creationId="{23041655-29BB-4644-955C-0FB557F0CB28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63" creationId="{5F19AFD6-7D4B-4EB6-87E9-AA6279A53E05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65" creationId="{6D560FA4-B14F-4F6D-B3F1-2593B4FC7120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67" creationId="{773CCE04-3B9B-4BB8-B9F5-A4F795819602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78" creationId="{AE540C2D-25CC-4A12-B454-7E223995FA25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80" creationId="{8A5D6AC1-E92A-43F7-884D-22D331E84BE5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82" creationId="{DCC279D7-811B-40A7-A498-9F3DB8E0B018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84" creationId="{E83A8BC1-9A5D-4FC0-83C9-203377932143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86" creationId="{B21A316D-83D6-429B-B645-9F5682A32074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88" creationId="{886DBD63-7872-4C88-A689-1935111B4D65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90" creationId="{CDE84FD7-58D7-4470-B549-A0BC8BFC377D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92" creationId="{BE9EBE01-7625-4020-8378-C507DB485F9B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94" creationId="{54E2489B-26FE-4693-AE6C-B6BEF1D8B468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96" creationId="{8A6B8290-070D-4961-BDD5-AA3073914F6A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198" creationId="{B0E7A486-FE73-4342-BB8B-0CA1EA5C707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00" creationId="{15609786-E294-4106-B283-B7934CD289DD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02" creationId="{3E67FFCC-D8FE-4058-B0BB-FDA7B2F17128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04" creationId="{50EFBFB2-51DF-469C-B16D-330073D50DF2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06" creationId="{72C3C430-6B9D-4C18-8131-FF38CF04F493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08" creationId="{F3F5B737-F981-4DA0-8DCF-2253E0004C83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10" creationId="{1CF34B84-244E-4701-A9B0-1DB7DC2E4282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12" creationId="{F9C0435E-8D43-493E-B5E4-A70DB7EA2614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14" creationId="{BAAFE84F-10FA-4258-8E89-AA9B966406BC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16" creationId="{52704427-825B-4D3F-8DC2-D2F8F75CE2ED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18" creationId="{11B0DE7D-44B6-43C6-8F70-3FC64B0C1F28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20" creationId="{F8998A23-1604-448A-8B0C-6EB9071A086D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22" creationId="{20A97F33-3B74-45B8-AE39-586CA4322CED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24" creationId="{71FC7BD8-5AF8-44A5-8649-60E07B37AEE0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26" creationId="{7ABBDAEB-8B1D-4578-9C8D-691CD50878FE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28" creationId="{71D0EB7D-F6A0-49A9-9195-0B69402C4AD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30" creationId="{60A7EDFD-A35E-408B-BEA7-C260D2DC047B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32" creationId="{9D39938D-DB14-497E-B5FD-E81B3BA3543A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34" creationId="{3821A918-5B03-4203-BD0B-D2565A071948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36" creationId="{2208265F-6ADF-4628-A672-5E1CA387A8D4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38" creationId="{EFA223E8-92A7-4375-AA44-29F69B35012C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39" creationId="{9BA23BF0-E494-430F-ABC3-7C4EF2F05A6C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41" creationId="{F98D87B3-3D1A-49DD-84E6-DB3AD9F07E5F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43" creationId="{C39AE9DF-2448-4B5F-BB08-4CBA72161E51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45" creationId="{296227AA-1EFE-4A41-B7A6-FA670B1E24F2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47" creationId="{1E918A37-FE9F-4CA7-9D4B-0DE276FAFC3D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49" creationId="{E3C39FF8-F260-47CF-9FA2-6129423BBFE7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51" creationId="{DE2998AB-B484-4635-A2DC-C78EC599B3F1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53" creationId="{DBA79E7D-1DDE-4D23-9B9E-1155465BFE9F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55" creationId="{2C79207E-F597-444E-B971-1C1980E13D61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57" creationId="{8FDC8933-463B-4477-9C49-3426AA0B229C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59" creationId="{5C764CF9-2E62-41D1-8DFA-9205C284ABC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61" creationId="{58038BB1-B11C-4F2A-A6D2-6FB087FA4406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63" creationId="{CE3CB59F-9D2E-4A8B-A296-0BF370663B4E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65" creationId="{5B1279DF-D3BE-41B2-AD0D-3B9A7C8465C0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67" creationId="{795F9186-23B1-4F95-972A-AD18C33161F8}"/>
          </ac:spMkLst>
        </pc:spChg>
        <pc:spChg chg="add mod">
          <ac:chgData name="Hasan Senol Coskun" userId="88cd95f7b86daa2f" providerId="LiveId" clId="{0A1DC79D-782D-493E-B89A-90325507C91B}" dt="2020-11-13T21:47:29.543" v="2913" actId="1076"/>
          <ac:spMkLst>
            <pc:docMk/>
            <pc:sldMk cId="3487019851" sldId="1747256652"/>
            <ac:spMk id="268" creationId="{2103F28E-63B9-4933-A555-EE579BBE78A3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69" creationId="{94C3C947-B673-4E34-9D3C-A015C873B79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72" creationId="{5FFE7DA3-1504-4377-977F-74DDD28087A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74" creationId="{268BE9F9-D13B-4542-B43F-2AF93F61E0F2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81" creationId="{6A9BAFCC-98AC-4E0B-9D2A-3A174D727BBF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82" creationId="{64E258A4-BD0C-4592-BCB9-0B31A6DBA88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84" creationId="{E3C7645F-3F43-4194-AAAB-8DFF97B2C0A8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85" creationId="{53AE85C6-2855-4AF4-8170-A5F8F7D33595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87" creationId="{D7C13F0D-B388-4160-89C3-A074BFB582E6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88" creationId="{988FD7E2-B00B-4E5B-B259-67D58A35F224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90" creationId="{E6727638-92F8-44C7-A31D-431352A82EB6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91" creationId="{00E36F4C-E366-4601-B76A-68E732BC9306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93" creationId="{F35B420E-9716-4B88-9219-19816FA7DA53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94" creationId="{14FA275D-105E-4C42-8B85-2E3B7F0E87CC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96" creationId="{24707D26-6A9E-4FA7-9654-662C1D794FE3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97" creationId="{3E25767A-95D5-4324-ABA5-EDA26F0C070A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299" creationId="{9080CBF7-1136-4993-9044-AC844142A31D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00" creationId="{FF12A870-381E-499F-A88D-C839C96C39E8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02" creationId="{254BEDE5-E131-428A-AA1A-91C330E1586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03" creationId="{751992B8-B318-492B-9495-3FFA5F1617E0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05" creationId="{BB6D178D-96CE-4FD8-BF2D-B6CD12187C01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06" creationId="{9089AAD0-0764-407E-AE5A-0CCB6E232D91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08" creationId="{F4CE11A6-2135-4E0F-9E05-DE4567E40041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09" creationId="{8FB5A338-24D6-43CA-97C7-84933EAB4126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11" creationId="{D2500DC2-9C2F-4B83-9AB9-BC9919D913F0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12" creationId="{A467E9FA-4BAA-42AE-92E9-6F7800E1B46F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14" creationId="{EF21C399-5959-4DFF-8827-84F08844978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15" creationId="{2B400A4F-2B3B-484B-AA10-DAAEBD6DEBF7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17" creationId="{E3990889-4714-4F64-8C8C-8B287B82C396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18" creationId="{2AE80F0B-3A69-492D-8EAC-7789859809CA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20" creationId="{ADBB11AC-E0F8-47A2-B518-48A978BA7C58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21" creationId="{11AD797C-3372-40D9-8B93-104FB7BF665C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23" creationId="{3BF24839-4BCE-4E95-BDCB-B4BC7B92B76E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24" creationId="{B5CAB48C-998C-4986-AA94-653B91E5C138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26" creationId="{639C7BA2-3A86-4764-9682-0D1E54C96E4F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27" creationId="{923AEA8C-94E4-4228-BF8B-0D67F35B9CE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29" creationId="{246533D8-1C6C-40F4-9C53-330105815871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30" creationId="{E54669EE-9F31-4AB2-B9CF-C8C68DDD2BB2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32" creationId="{027CACE8-BFE7-4E60-A56B-1127FE17F66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33" creationId="{4E1DDE31-9290-45A9-95CB-2EED19E9A4EA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35" creationId="{724C8D7A-5D0C-4CB7-AB4A-F06E03DDFC51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36" creationId="{64A19FDA-6A41-40DB-88D6-19571FD13E9A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38" creationId="{1C8F2FB9-1ACA-44D4-8A61-59CAB3FA2AA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39" creationId="{95A0D617-74D4-44D5-A01B-4675EAD05C38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41" creationId="{917E9067-3367-482B-81C3-835044EC6BA5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42" creationId="{F4AFB5AC-8B55-42F0-8E6C-D84426516BBD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44" creationId="{521B5F1D-0944-45DE-A4DB-D77971CF3CDE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45" creationId="{403AB057-A66B-4BB1-8400-8990D4142D0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47" creationId="{4E95E02E-6687-43F4-9C59-0702E28AAAFC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48" creationId="{774FC3B8-64DA-458C-B1DB-B9D55ACCD855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50" creationId="{C294EEF9-F370-409A-8D24-9F2AB026E0FB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51" creationId="{FE959AF4-D809-400D-9632-3C4CBD0C0D9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53" creationId="{FA4F1E39-3F24-499E-9B6E-CA4917E1427A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54" creationId="{1523A110-8566-4A7D-931E-06C13947BCAB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56" creationId="{D2922948-33E5-41A0-B5EC-017E4B8ADF03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57" creationId="{40035F89-861A-4090-8F59-4FF57AC3318B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59" creationId="{42F6B3C5-2C4C-4F9F-A2E9-DAA658F89B61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60" creationId="{871661F3-B670-425B-A704-2EDD61EA18FA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62" creationId="{7F10911E-8B0B-4D73-BD82-4E210D559580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63" creationId="{7BB79B3E-15ED-466C-8386-086AC50190BE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65" creationId="{CA590370-469D-480E-9162-CBC9690D5C9D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66" creationId="{19F70511-B431-4D2F-9DDF-6646778B1E9F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68" creationId="{741FC248-EDE1-4DCF-89BC-148CF38E0A9A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69" creationId="{F9D866A4-C190-4D92-AD7B-1345E2B537EE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71" creationId="{7D1F834A-2B70-4D1C-AD1D-DD2BB2CD23BF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72" creationId="{390D8B48-EE1F-44BB-A91E-FC43752B1412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74" creationId="{9632C41E-1BDA-4869-AD83-34EBD8D78A68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75" creationId="{C116AD2F-3AAA-4DDA-9096-2F708D496D3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77" creationId="{4B6AD9DA-ABF9-4420-8001-3305D92997C5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78" creationId="{C76C2247-ECF6-4617-BF59-BE85C57C4072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80" creationId="{E877BE16-C7DA-4C3A-9A95-9723B74CFA2E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81" creationId="{9EC2CF1A-5A79-4D1D-B87A-84C5CD453C9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83" creationId="{ABB4216B-7598-4244-8EC8-587BD551CBED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84" creationId="{0BB83D02-9131-4B10-9D30-24CC0A3CE06F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86" creationId="{E281ACA1-6689-4270-92A8-B14840C5B2E7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87" creationId="{6D98AC59-8A3F-4E37-AAD5-48BD7A3B65CB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89" creationId="{FD8F90ED-4D72-4968-931D-B476C0969451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90" creationId="{7525401D-B110-4449-BFDF-CABCDF72A7DE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92" creationId="{A7AE109E-CD6B-4E7B-914E-6A1A083EE75A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93" creationId="{14419D6D-270D-42E5-8AF7-74844908DCA1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95" creationId="{824C2305-FD66-405E-B8C6-0818076817DE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96" creationId="{F5D71986-7B14-4CB6-9951-7FDD97ED59A0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98" creationId="{2585D436-0EB8-41E8-8E07-F4160922E2D7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399" creationId="{FDD38219-32FC-43C9-9919-4D7C189EAD44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01" creationId="{1A7A465E-EA51-4014-8BEB-E75CFC5792C4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02" creationId="{C76BBA36-77CB-454F-ABFE-A219A22AB272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04" creationId="{FCCE01A2-F432-4064-BB47-02F631DE13BB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05" creationId="{52AA869A-414C-4A4D-AE9D-368E00D174FF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07" creationId="{4B7FD1F6-032F-4EAC-9236-AA1E9115D04D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08" creationId="{C132A7DD-B7B5-4F04-B5C1-27439480143F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10" creationId="{116C14A2-215D-42F7-9A5A-90DA46585470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11" creationId="{A23FFA42-1DA2-43C7-8CAA-5D1A5F8141B5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13" creationId="{2456DEC2-EEBB-4E17-9D75-3E39CCF5A553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14" creationId="{34B3A5B3-181A-484D-BF72-436F990B76BA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16" creationId="{CD703D27-7F94-4468-86D1-3CE41ABE10D7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17" creationId="{909F5AFF-E2DF-4E68-99CE-29C8ACCD293C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19" creationId="{AC829601-0F1A-4039-A56F-24D80C94136D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20" creationId="{75DD764F-A6E1-4346-AD80-A345BFB7F96A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22" creationId="{8EF1EF7E-5355-4488-BF03-531DC3A8FE75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23" creationId="{7D160EBC-6C84-4466-AC9F-3C92573F3545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25" creationId="{962BFD41-5290-4E37-8E26-0B86D7217F13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26" creationId="{08FF70AE-E32C-4E9C-860D-850668D76C4D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28" creationId="{9AEDC6C6-D72C-4F14-8A9E-33375E66389E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29" creationId="{D3016C1E-BF96-4E8E-A125-8BC551D5A2F6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31" creationId="{C2D269D0-8786-4A85-BADB-CF339CC7EFCE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32" creationId="{525FE7B7-47F4-4D2F-BEDA-D0DCE0493CFA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34" creationId="{D9429753-D1B7-44C8-ACF0-520160566D9C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35" creationId="{A0AE87E9-7C56-434D-AA22-857868DC3552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37" creationId="{85C9CE57-1BB5-43C2-A405-77B794F0F49E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38" creationId="{EDEDC649-4473-4311-BD5B-D83AF471939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40" creationId="{363FFF95-F80F-40F7-97DE-F71E3AF4A61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41" creationId="{035C817B-77DA-430E-918D-BAD5CF0F6ED1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43" creationId="{13D9639A-7D24-4DA4-A25D-21046F380EC9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44" creationId="{2D63634C-724F-4288-824E-A2DDACA9E004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46" creationId="{59A0E41B-3BA3-42B5-AB41-3F231A658EDD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47" creationId="{F0AD2CB5-05B9-46C8-A109-F7BC3224A6EA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49" creationId="{CE7BD159-74B6-42C9-856A-F118DD2E29AB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50" creationId="{1C513F6F-4F80-4E79-A801-0D3FB42DF6C6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52" creationId="{F5ED6480-BB57-40EF-931E-908DD9EFA156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53" creationId="{C3611E9A-8133-481C-8DE4-473290FAE1D1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55" creationId="{7CEB1525-825C-4439-BDD4-0A7D447AD8B4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56" creationId="{749620ED-5FBA-4405-B5A0-B3EEB14D0A05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58" creationId="{897F9867-BC40-4433-A4D2-E116682969EE}"/>
          </ac:spMkLst>
        </pc:spChg>
        <pc:spChg chg="mod">
          <ac:chgData name="Hasan Senol Coskun" userId="88cd95f7b86daa2f" providerId="LiveId" clId="{0A1DC79D-782D-493E-B89A-90325507C91B}" dt="2020-11-14T08:40:10.905" v="3947" actId="164"/>
          <ac:spMkLst>
            <pc:docMk/>
            <pc:sldMk cId="3487019851" sldId="1747256652"/>
            <ac:spMk id="459" creationId="{C54165A3-1AA9-45B6-95A3-DCC77E4F3510}"/>
          </ac:spMkLst>
        </pc:spChg>
        <pc:grpChg chg="add mod">
          <ac:chgData name="Hasan Senol Coskun" userId="88cd95f7b86daa2f" providerId="LiveId" clId="{0A1DC79D-782D-493E-B89A-90325507C91B}" dt="2020-11-14T08:40:10.905" v="3947" actId="164"/>
          <ac:grpSpMkLst>
            <pc:docMk/>
            <pc:sldMk cId="3487019851" sldId="1747256652"/>
            <ac:grpSpMk id="3" creationId="{78ACF818-C46E-4B1C-9947-B47ACF47B417}"/>
          </ac:grpSpMkLst>
        </pc:grpChg>
        <pc:grpChg chg="del">
          <ac:chgData name="Hasan Senol Coskun" userId="88cd95f7b86daa2f" providerId="LiveId" clId="{0A1DC79D-782D-493E-B89A-90325507C91B}" dt="2020-11-13T21:47:23.238" v="2912" actId="478"/>
          <ac:grpSpMkLst>
            <pc:docMk/>
            <pc:sldMk cId="3487019851" sldId="1747256652"/>
            <ac:grpSpMk id="8" creationId="{E8235DC0-4533-4AF6-8050-214F6A63E3F9}"/>
          </ac:grpSpMkLst>
        </pc:grpChg>
        <pc:grpChg chg="mod">
          <ac:chgData name="Hasan Senol Coskun" userId="88cd95f7b86daa2f" providerId="LiveId" clId="{0A1DC79D-782D-493E-B89A-90325507C91B}" dt="2020-11-14T08:40:10.905" v="3947" actId="164"/>
          <ac:grpSpMkLst>
            <pc:docMk/>
            <pc:sldMk cId="3487019851" sldId="1747256652"/>
            <ac:grpSpMk id="176" creationId="{E9C0078C-7A8C-4483-B3B6-D02768094160}"/>
          </ac:grpSpMkLst>
        </pc:grpChg>
        <pc:grpChg chg="mod">
          <ac:chgData name="Hasan Senol Coskun" userId="88cd95f7b86daa2f" providerId="LiveId" clId="{0A1DC79D-782D-493E-B89A-90325507C91B}" dt="2020-11-14T08:40:10.905" v="3947" actId="164"/>
          <ac:grpSpMkLst>
            <pc:docMk/>
            <pc:sldMk cId="3487019851" sldId="1747256652"/>
            <ac:grpSpMk id="460" creationId="{19085402-A002-429C-A808-2CC6A0F0989B}"/>
          </ac:grpSpMkLst>
        </pc:grpChg>
        <pc:cxnChg chg="mod">
          <ac:chgData name="Hasan Senol Coskun" userId="88cd95f7b86daa2f" providerId="LiveId" clId="{0A1DC79D-782D-493E-B89A-90325507C91B}" dt="2020-11-14T08:40:10.905" v="3947" actId="164"/>
          <ac:cxnSpMkLst>
            <pc:docMk/>
            <pc:sldMk cId="3487019851" sldId="1747256652"/>
            <ac:cxnSpMk id="17" creationId="{97E3A961-4B02-46A0-974A-9956465A8A4E}"/>
          </ac:cxnSpMkLst>
        </pc:cxnChg>
        <pc:cxnChg chg="mod">
          <ac:chgData name="Hasan Senol Coskun" userId="88cd95f7b86daa2f" providerId="LiveId" clId="{0A1DC79D-782D-493E-B89A-90325507C91B}" dt="2020-11-14T08:40:10.905" v="3947" actId="164"/>
          <ac:cxnSpMkLst>
            <pc:docMk/>
            <pc:sldMk cId="3487019851" sldId="1747256652"/>
            <ac:cxnSpMk id="19" creationId="{1086BE1C-A7FA-4413-A847-34ABA652B345}"/>
          </ac:cxnSpMkLst>
        </pc:cxnChg>
        <pc:cxnChg chg="mod">
          <ac:chgData name="Hasan Senol Coskun" userId="88cd95f7b86daa2f" providerId="LiveId" clId="{0A1DC79D-782D-493E-B89A-90325507C91B}" dt="2020-11-14T08:40:10.905" v="3947" actId="164"/>
          <ac:cxnSpMkLst>
            <pc:docMk/>
            <pc:sldMk cId="3487019851" sldId="1747256652"/>
            <ac:cxnSpMk id="21" creationId="{A196C20C-A418-4AEA-B795-041A132C3005}"/>
          </ac:cxnSpMkLst>
        </pc:cxnChg>
        <pc:cxnChg chg="mod">
          <ac:chgData name="Hasan Senol Coskun" userId="88cd95f7b86daa2f" providerId="LiveId" clId="{0A1DC79D-782D-493E-B89A-90325507C91B}" dt="2020-11-14T08:40:10.905" v="3947" actId="164"/>
          <ac:cxnSpMkLst>
            <pc:docMk/>
            <pc:sldMk cId="3487019851" sldId="1747256652"/>
            <ac:cxnSpMk id="22" creationId="{DED52E92-5AFE-474A-9033-B1C54547AED0}"/>
          </ac:cxnSpMkLst>
        </pc:cxnChg>
        <pc:cxnChg chg="mod">
          <ac:chgData name="Hasan Senol Coskun" userId="88cd95f7b86daa2f" providerId="LiveId" clId="{0A1DC79D-782D-493E-B89A-90325507C91B}" dt="2020-11-14T08:40:10.905" v="3947" actId="164"/>
          <ac:cxnSpMkLst>
            <pc:docMk/>
            <pc:sldMk cId="3487019851" sldId="1747256652"/>
            <ac:cxnSpMk id="23" creationId="{B37BCC1D-D07B-457B-9915-E3FFFB4A5F6D}"/>
          </ac:cxnSpMkLst>
        </pc:cxnChg>
        <pc:cxnChg chg="mod">
          <ac:chgData name="Hasan Senol Coskun" userId="88cd95f7b86daa2f" providerId="LiveId" clId="{0A1DC79D-782D-493E-B89A-90325507C91B}" dt="2020-11-14T08:40:10.905" v="3947" actId="164"/>
          <ac:cxnSpMkLst>
            <pc:docMk/>
            <pc:sldMk cId="3487019851" sldId="1747256652"/>
            <ac:cxnSpMk id="24" creationId="{75DFB323-E223-430B-9BAD-EE64EF4F4281}"/>
          </ac:cxnSpMkLst>
        </pc:cxnChg>
        <pc:cxnChg chg="mod">
          <ac:chgData name="Hasan Senol Coskun" userId="88cd95f7b86daa2f" providerId="LiveId" clId="{0A1DC79D-782D-493E-B89A-90325507C91B}" dt="2020-11-14T08:40:10.905" v="3947" actId="164"/>
          <ac:cxnSpMkLst>
            <pc:docMk/>
            <pc:sldMk cId="3487019851" sldId="1747256652"/>
            <ac:cxnSpMk id="25" creationId="{3F5B92CC-0659-4165-B9B3-645663304FFD}"/>
          </ac:cxnSpMkLst>
        </pc:cxnChg>
        <pc:cxnChg chg="mod">
          <ac:chgData name="Hasan Senol Coskun" userId="88cd95f7b86daa2f" providerId="LiveId" clId="{0A1DC79D-782D-493E-B89A-90325507C91B}" dt="2020-11-14T08:40:10.905" v="3947" actId="164"/>
          <ac:cxnSpMkLst>
            <pc:docMk/>
            <pc:sldMk cId="3487019851" sldId="1747256652"/>
            <ac:cxnSpMk id="26" creationId="{A1215B17-D619-43E0-B9D4-AA96A0245B09}"/>
          </ac:cxnSpMkLst>
        </pc:cxnChg>
        <pc:cxnChg chg="mod">
          <ac:chgData name="Hasan Senol Coskun" userId="88cd95f7b86daa2f" providerId="LiveId" clId="{0A1DC79D-782D-493E-B89A-90325507C91B}" dt="2020-11-14T08:40:10.905" v="3947" actId="164"/>
          <ac:cxnSpMkLst>
            <pc:docMk/>
            <pc:sldMk cId="3487019851" sldId="1747256652"/>
            <ac:cxnSpMk id="27" creationId="{7FDB33A9-209B-4B47-912C-55605629B245}"/>
          </ac:cxnSpMkLst>
        </pc:cxnChg>
        <pc:cxnChg chg="mod">
          <ac:chgData name="Hasan Senol Coskun" userId="88cd95f7b86daa2f" providerId="LiveId" clId="{0A1DC79D-782D-493E-B89A-90325507C91B}" dt="2020-11-14T08:40:10.905" v="3947" actId="164"/>
          <ac:cxnSpMkLst>
            <pc:docMk/>
            <pc:sldMk cId="3487019851" sldId="1747256652"/>
            <ac:cxnSpMk id="28" creationId="{0E77B902-5C22-4440-AEF0-10151AEF273F}"/>
          </ac:cxnSpMkLst>
        </pc:cxnChg>
        <pc:cxnChg chg="mod">
          <ac:chgData name="Hasan Senol Coskun" userId="88cd95f7b86daa2f" providerId="LiveId" clId="{0A1DC79D-782D-493E-B89A-90325507C91B}" dt="2020-11-14T08:40:10.905" v="3947" actId="164"/>
          <ac:cxnSpMkLst>
            <pc:docMk/>
            <pc:sldMk cId="3487019851" sldId="1747256652"/>
            <ac:cxnSpMk id="29" creationId="{228233D5-06D1-44DC-A876-F67732C04053}"/>
          </ac:cxnSpMkLst>
        </pc:cxnChg>
        <pc:cxnChg chg="mod">
          <ac:chgData name="Hasan Senol Coskun" userId="88cd95f7b86daa2f" providerId="LiveId" clId="{0A1DC79D-782D-493E-B89A-90325507C91B}" dt="2020-11-14T08:40:10.905" v="3947" actId="164"/>
          <ac:cxnSpMkLst>
            <pc:docMk/>
            <pc:sldMk cId="3487019851" sldId="1747256652"/>
            <ac:cxnSpMk id="30" creationId="{C6707B8A-2E17-443A-8569-A9F460E43581}"/>
          </ac:cxnSpMkLst>
        </pc:cxnChg>
      </pc:sldChg>
      <pc:sldChg chg="addSp delSp modSp mod modClrScheme chgLayout">
        <pc:chgData name="Hasan Senol Coskun" userId="88cd95f7b86daa2f" providerId="LiveId" clId="{0A1DC79D-782D-493E-B89A-90325507C91B}" dt="2020-11-14T10:49:22.330" v="4519"/>
        <pc:sldMkLst>
          <pc:docMk/>
          <pc:sldMk cId="2603928609" sldId="1747256653"/>
        </pc:sldMkLst>
        <pc:spChg chg="mod ord">
          <ac:chgData name="Hasan Senol Coskun" userId="88cd95f7b86daa2f" providerId="LiveId" clId="{0A1DC79D-782D-493E-B89A-90325507C91B}" dt="2020-11-14T08:45:04.854" v="3986" actId="1076"/>
          <ac:spMkLst>
            <pc:docMk/>
            <pc:sldMk cId="2603928609" sldId="1747256653"/>
            <ac:spMk id="5" creationId="{20D9639C-D510-4E6C-942F-074EA37B132C}"/>
          </ac:spMkLst>
        </pc:spChg>
        <pc:spChg chg="add del mod ord">
          <ac:chgData name="Hasan Senol Coskun" userId="88cd95f7b86daa2f" providerId="LiveId" clId="{0A1DC79D-782D-493E-B89A-90325507C91B}" dt="2020-11-13T21:20:02.769" v="2392" actId="12084"/>
          <ac:spMkLst>
            <pc:docMk/>
            <pc:sldMk cId="2603928609" sldId="1747256653"/>
            <ac:spMk id="6" creationId="{79C23DF3-FEF6-4C74-9476-29B88172E082}"/>
          </ac:spMkLst>
        </pc:spChg>
        <pc:graphicFrameChg chg="add del mod">
          <ac:chgData name="Hasan Senol Coskun" userId="88cd95f7b86daa2f" providerId="LiveId" clId="{0A1DC79D-782D-493E-B89A-90325507C91B}" dt="2020-11-13T21:12:12.090" v="2320" actId="12084"/>
          <ac:graphicFrameMkLst>
            <pc:docMk/>
            <pc:sldMk cId="2603928609" sldId="1747256653"/>
            <ac:graphicFrameMk id="2" creationId="{5422DD60-AAC4-4D70-B414-26E9688A2694}"/>
          </ac:graphicFrameMkLst>
        </pc:graphicFrameChg>
        <pc:graphicFrameChg chg="add mod ord modGraphic">
          <ac:chgData name="Hasan Senol Coskun" userId="88cd95f7b86daa2f" providerId="LiveId" clId="{0A1DC79D-782D-493E-B89A-90325507C91B}" dt="2020-11-14T10:48:56.693" v="4516" actId="167"/>
          <ac:graphicFrameMkLst>
            <pc:docMk/>
            <pc:sldMk cId="2603928609" sldId="1747256653"/>
            <ac:graphicFrameMk id="2" creationId="{B5F73857-19A1-46BE-8BD2-BDF089AB204D}"/>
          </ac:graphicFrameMkLst>
        </pc:graphicFrameChg>
        <pc:graphicFrameChg chg="add del mod">
          <ac:chgData name="Hasan Senol Coskun" userId="88cd95f7b86daa2f" providerId="LiveId" clId="{0A1DC79D-782D-493E-B89A-90325507C91B}" dt="2020-11-13T21:12:49.769" v="2329" actId="12084"/>
          <ac:graphicFrameMkLst>
            <pc:docMk/>
            <pc:sldMk cId="2603928609" sldId="1747256653"/>
            <ac:graphicFrameMk id="3" creationId="{F116647C-9494-4889-B44E-1D315584D5B5}"/>
          </ac:graphicFrameMkLst>
        </pc:graphicFrameChg>
        <pc:graphicFrameChg chg="add mod ord">
          <ac:chgData name="Hasan Senol Coskun" userId="88cd95f7b86daa2f" providerId="LiveId" clId="{0A1DC79D-782D-493E-B89A-90325507C91B}" dt="2020-11-14T10:49:22.330" v="4519"/>
          <ac:graphicFrameMkLst>
            <pc:docMk/>
            <pc:sldMk cId="2603928609" sldId="1747256653"/>
            <ac:graphicFrameMk id="4" creationId="{BFF2DEDB-B787-4616-A44B-6E5801B938A7}"/>
          </ac:graphicFrameMkLst>
        </pc:graphicFrameChg>
        <pc:graphicFrameChg chg="add del mod modGraphic">
          <ac:chgData name="Hasan Senol Coskun" userId="88cd95f7b86daa2f" providerId="LiveId" clId="{0A1DC79D-782D-493E-B89A-90325507C91B}" dt="2020-11-14T08:43:55.835" v="3984" actId="478"/>
          <ac:graphicFrameMkLst>
            <pc:docMk/>
            <pc:sldMk cId="2603928609" sldId="1747256653"/>
            <ac:graphicFrameMk id="7" creationId="{FDB71920-B69A-4CD6-970B-30DD1C1CF23F}"/>
          </ac:graphicFrameMkLst>
        </pc:graphicFrameChg>
      </pc:sldChg>
      <pc:sldChg chg="addSp delSp modSp new mod modClrScheme chgLayout">
        <pc:chgData name="Hasan Senol Coskun" userId="88cd95f7b86daa2f" providerId="LiveId" clId="{0A1DC79D-782D-493E-B89A-90325507C91B}" dt="2020-11-13T20:31:16.696" v="1813" actId="207"/>
        <pc:sldMkLst>
          <pc:docMk/>
          <pc:sldMk cId="3734954728" sldId="1747256654"/>
        </pc:sldMkLst>
        <pc:spChg chg="del mod ord">
          <ac:chgData name="Hasan Senol Coskun" userId="88cd95f7b86daa2f" providerId="LiveId" clId="{0A1DC79D-782D-493E-B89A-90325507C91B}" dt="2020-11-13T18:16:37.659" v="807" actId="700"/>
          <ac:spMkLst>
            <pc:docMk/>
            <pc:sldMk cId="3734954728" sldId="1747256654"/>
            <ac:spMk id="2" creationId="{0D827E6C-12B3-4562-8B83-25B520D451FA}"/>
          </ac:spMkLst>
        </pc:spChg>
        <pc:spChg chg="add mod ord">
          <ac:chgData name="Hasan Senol Coskun" userId="88cd95f7b86daa2f" providerId="LiveId" clId="{0A1DC79D-782D-493E-B89A-90325507C91B}" dt="2020-11-13T18:19:39.725" v="966" actId="20577"/>
          <ac:spMkLst>
            <pc:docMk/>
            <pc:sldMk cId="3734954728" sldId="1747256654"/>
            <ac:spMk id="3" creationId="{0C8CBB82-19CC-4395-9688-032C43151AD2}"/>
          </ac:spMkLst>
        </pc:spChg>
        <pc:spChg chg="add del mod ord">
          <ac:chgData name="Hasan Senol Coskun" userId="88cd95f7b86daa2f" providerId="LiveId" clId="{0A1DC79D-782D-493E-B89A-90325507C91B}" dt="2020-11-13T18:18:55.501" v="929" actId="12084"/>
          <ac:spMkLst>
            <pc:docMk/>
            <pc:sldMk cId="3734954728" sldId="1747256654"/>
            <ac:spMk id="4" creationId="{4D641341-B03C-4D61-AF52-E87D7D306995}"/>
          </ac:spMkLst>
        </pc:spChg>
        <pc:graphicFrameChg chg="add del mod">
          <ac:chgData name="Hasan Senol Coskun" userId="88cd95f7b86daa2f" providerId="LiveId" clId="{0A1DC79D-782D-493E-B89A-90325507C91B}" dt="2020-11-13T18:18:12.538" v="859" actId="12084"/>
          <ac:graphicFrameMkLst>
            <pc:docMk/>
            <pc:sldMk cId="3734954728" sldId="1747256654"/>
            <ac:graphicFrameMk id="5" creationId="{94613CD8-8829-4D7A-B9BE-061C1FBE8F2F}"/>
          </ac:graphicFrameMkLst>
        </pc:graphicFrameChg>
        <pc:graphicFrameChg chg="add mod">
          <ac:chgData name="Hasan Senol Coskun" userId="88cd95f7b86daa2f" providerId="LiveId" clId="{0A1DC79D-782D-493E-B89A-90325507C91B}" dt="2020-11-13T20:31:16.696" v="1813" actId="207"/>
          <ac:graphicFrameMkLst>
            <pc:docMk/>
            <pc:sldMk cId="3734954728" sldId="1747256654"/>
            <ac:graphicFrameMk id="6" creationId="{A4B2E645-8FED-43AE-A6D4-53BA6CF79BF3}"/>
          </ac:graphicFrameMkLst>
        </pc:graphicFrameChg>
      </pc:sldChg>
      <pc:sldChg chg="addSp delSp modSp new mod modClrScheme chgLayout">
        <pc:chgData name="Hasan Senol Coskun" userId="88cd95f7b86daa2f" providerId="LiveId" clId="{0A1DC79D-782D-493E-B89A-90325507C91B}" dt="2020-11-13T20:30:51.282" v="1811" actId="20577"/>
        <pc:sldMkLst>
          <pc:docMk/>
          <pc:sldMk cId="425361999" sldId="1747256655"/>
        </pc:sldMkLst>
        <pc:spChg chg="del mod ord">
          <ac:chgData name="Hasan Senol Coskun" userId="88cd95f7b86daa2f" providerId="LiveId" clId="{0A1DC79D-782D-493E-B89A-90325507C91B}" dt="2020-11-13T18:22:29.643" v="974" actId="700"/>
          <ac:spMkLst>
            <pc:docMk/>
            <pc:sldMk cId="425361999" sldId="1747256655"/>
            <ac:spMk id="2" creationId="{3F6B5512-05D3-41AF-9225-3175B8CFC975}"/>
          </ac:spMkLst>
        </pc:spChg>
        <pc:spChg chg="add mod ord">
          <ac:chgData name="Hasan Senol Coskun" userId="88cd95f7b86daa2f" providerId="LiveId" clId="{0A1DC79D-782D-493E-B89A-90325507C91B}" dt="2020-11-13T20:30:51.282" v="1811" actId="20577"/>
          <ac:spMkLst>
            <pc:docMk/>
            <pc:sldMk cId="425361999" sldId="1747256655"/>
            <ac:spMk id="3" creationId="{6C6E47CB-0C87-48E9-BFE2-688273F45B70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5" creationId="{8DA793CB-FDE5-42DC-9A8B-9474EB49F914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6" creationId="{68640007-EBD5-4D8A-BDD1-5FDD0E3FB15C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7" creationId="{85C507C3-8D7F-4E94-BD27-E873C61F62E5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8" creationId="{EF1EDFAF-3449-493D-A973-C54BBCC9518D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9" creationId="{ECC74415-6AC7-40B6-BD8A-AB1DEA4B6D5E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10" creationId="{71B1E4D5-BBBD-4F6E-A745-3786C3470BD1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11" creationId="{A4666F54-DD67-4F59-A640-991F1773E6F8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12" creationId="{09868BAE-B8C6-46FD-B2B3-696DF61C3911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13" creationId="{7471B008-9009-4100-9602-000FF570F198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14" creationId="{F5F0CEEC-2851-43B1-976B-84E50CD17759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15" creationId="{A1D481EC-C10B-4E55-BC9E-0ECC1CEE0125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16" creationId="{BFA25B59-00D3-4C77-809D-29DE273D3D4A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17" creationId="{29DA3FA1-9E53-4155-AF04-4CB2EFB8439A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18" creationId="{30C10E9A-10D0-4E01-A8EA-30491AB2ECF4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19" creationId="{E167F0E4-F9F1-4969-86B4-DCFBA6CBBC61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20" creationId="{B96DE76A-A0F0-49B9-9879-6BD3E9E9E69E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21" creationId="{1E2360FE-7AA4-4A8A-82C8-006B9D066C17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22" creationId="{026F7430-5EFF-422B-BDA1-773298A64CF8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23" creationId="{1427548B-F23A-4437-BE7C-2EB9954B0CEF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24" creationId="{BE36118B-7ED9-4C89-8454-06AF26062BC6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25" creationId="{577E0B2B-C967-4773-A538-734EAEB64AED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26" creationId="{FFD54F68-5FD8-47BD-9FC4-A86E3A0AAB12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27" creationId="{9496943D-5871-4871-B44F-98A92EDAA04C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28" creationId="{43DF7821-414F-4CDA-A840-CDC18BF94429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29" creationId="{F7E15B43-8C3A-4579-8A62-920391A8C5D5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30" creationId="{51DF91FE-2B3F-429F-9C74-26F71C5882B8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32" creationId="{47E27EA2-3B65-415A-AC7F-0D770342D659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33" creationId="{40465D73-6D8A-4FAC-A0B6-A2384068BD54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34" creationId="{E3C0C0EB-0AA1-41F8-91E3-49B9333F2405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35" creationId="{98A46760-6BBD-4E0A-A062-6C965D17D0EB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36" creationId="{6FADB51D-E96B-41E9-8E14-C21B91CD45EE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37" creationId="{3BA4357A-73A5-45FD-A42F-9FB0614DF375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38" creationId="{404532C0-0A14-4259-9261-89E13C1C3F40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39" creationId="{7386C6E2-DFA5-4BBE-83C8-D32FA1532505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40" creationId="{F2FEB46C-A39E-4465-BB03-85A1A7C88658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41" creationId="{0D67FFFF-5E60-4246-AEB7-6EB79C721D63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42" creationId="{E239F52A-70B9-472F-979B-CF4F90E8F829}"/>
          </ac:spMkLst>
        </pc:spChg>
        <pc:spChg chg="mod">
          <ac:chgData name="Hasan Senol Coskun" userId="88cd95f7b86daa2f" providerId="LiveId" clId="{0A1DC79D-782D-493E-B89A-90325507C91B}" dt="2020-11-13T18:22:38.825" v="975"/>
          <ac:spMkLst>
            <pc:docMk/>
            <pc:sldMk cId="425361999" sldId="1747256655"/>
            <ac:spMk id="43" creationId="{F61D57FA-0139-45F1-A52B-43786C43D753}"/>
          </ac:spMkLst>
        </pc:spChg>
        <pc:grpChg chg="add mod">
          <ac:chgData name="Hasan Senol Coskun" userId="88cd95f7b86daa2f" providerId="LiveId" clId="{0A1DC79D-782D-493E-B89A-90325507C91B}" dt="2020-11-13T18:22:38.825" v="975"/>
          <ac:grpSpMkLst>
            <pc:docMk/>
            <pc:sldMk cId="425361999" sldId="1747256655"/>
            <ac:grpSpMk id="4" creationId="{F5563A20-94C2-4CB5-9F71-9076442B065A}"/>
          </ac:grpSpMkLst>
        </pc:grpChg>
        <pc:grpChg chg="mod">
          <ac:chgData name="Hasan Senol Coskun" userId="88cd95f7b86daa2f" providerId="LiveId" clId="{0A1DC79D-782D-493E-B89A-90325507C91B}" dt="2020-11-13T18:22:38.825" v="975"/>
          <ac:grpSpMkLst>
            <pc:docMk/>
            <pc:sldMk cId="425361999" sldId="1747256655"/>
            <ac:grpSpMk id="31" creationId="{88401200-6009-4205-9065-B3E73EC0F1BD}"/>
          </ac:grpSpMkLst>
        </pc:grpChg>
      </pc:sldChg>
      <pc:sldChg chg="addSp delSp modSp new mod modClrScheme chgLayout">
        <pc:chgData name="Hasan Senol Coskun" userId="88cd95f7b86daa2f" providerId="LiveId" clId="{0A1DC79D-782D-493E-B89A-90325507C91B}" dt="2020-11-13T18:25:05.856" v="1051" actId="20577"/>
        <pc:sldMkLst>
          <pc:docMk/>
          <pc:sldMk cId="2769671631" sldId="1747256656"/>
        </pc:sldMkLst>
        <pc:spChg chg="del mod ord">
          <ac:chgData name="Hasan Senol Coskun" userId="88cd95f7b86daa2f" providerId="LiveId" clId="{0A1DC79D-782D-493E-B89A-90325507C91B}" dt="2020-11-13T18:23:58.155" v="1000" actId="700"/>
          <ac:spMkLst>
            <pc:docMk/>
            <pc:sldMk cId="2769671631" sldId="1747256656"/>
            <ac:spMk id="2" creationId="{6B3FBC1F-BBE1-404E-A6FD-E3DE77C82C0A}"/>
          </ac:spMkLst>
        </pc:spChg>
        <pc:spChg chg="add mod ord">
          <ac:chgData name="Hasan Senol Coskun" userId="88cd95f7b86daa2f" providerId="LiveId" clId="{0A1DC79D-782D-493E-B89A-90325507C91B}" dt="2020-11-13T18:25:05.856" v="1051" actId="20577"/>
          <ac:spMkLst>
            <pc:docMk/>
            <pc:sldMk cId="2769671631" sldId="1747256656"/>
            <ac:spMk id="3" creationId="{765B73F5-8374-4DDE-AA47-4EA5883DC0FE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5" creationId="{BFEE21EF-B0CD-43A3-8F1B-B1CF11D005C2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6" creationId="{FD47D5C8-D08F-4107-819A-F7DD21139A13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7" creationId="{C292FA03-975F-4879-AD5D-52EF09DA3BBB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8" creationId="{30D809DD-DC57-49CD-8A1E-4741A06AC595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9" creationId="{250C724F-9767-4BE6-82E2-30588F96A3EE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10" creationId="{3F9776D8-7509-4BBD-A561-F6607F0D9D4F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11" creationId="{D1FF6D0F-40DD-496C-9170-3F10167F866D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12" creationId="{923E2D5A-90DF-40AB-ABCC-2340A2EDC230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13" creationId="{B554B05D-54B7-4546-BEBA-3E671B26A3B8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14" creationId="{7E4AE822-C182-41EE-8588-689C2FCDB638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15" creationId="{C40D6BD3-5375-4B93-95D9-83462AB8CC50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16" creationId="{EB444CA3-D8F4-4BD7-BBAE-B1DE0E4766DF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17" creationId="{54A9447A-0B3E-4431-8C2F-AF0EFB52E99D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18" creationId="{E6CE5590-D75A-4FED-816F-CDAB5F991FB8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19" creationId="{CEAE0487-A965-4646-AE3B-A86076B32C63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20" creationId="{2061D237-08C6-4F9E-969E-4B19115E2802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21" creationId="{29B01CF1-DF2A-4428-B832-514B2515942D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22" creationId="{D9D51BB0-BBC0-4F3F-B240-1506D8252AAB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23" creationId="{5AAEDBB9-F51D-4C67-A2C4-B968EC3E0028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24" creationId="{9990E940-BEF5-4594-A37C-8558B3DB27CF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25" creationId="{BAFC6DD0-38DE-46C5-A13E-D441C96B2285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26" creationId="{626F04FB-454A-4180-AED0-9EEB6644A6A0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27" creationId="{4B1C461C-B1DE-4B56-AB6A-53D5D2CBD769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28" creationId="{DB7E607E-C409-4DC0-88D7-67AD4737FA60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29" creationId="{AEBBF6D0-D60A-41AC-BC7E-D18B299BDF5B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30" creationId="{09819411-14BA-4002-A557-856AA2F8CF07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32" creationId="{8F1B699C-80E3-4C6C-BCCC-9C144C010CB7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33" creationId="{95FADDE9-6412-4B5F-8B21-59A8F4CE1FE0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34" creationId="{4EB01050-9B45-4064-B909-4141CDBA0AF7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35" creationId="{1B9A665F-E645-43E0-AFF9-555BCF2754C0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36" creationId="{22BF4C49-FCCD-42A6-BD66-31FC38DDCF61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37" creationId="{428CB00A-068F-408C-B93B-04C03BB9DF0A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38" creationId="{46D0629F-2B37-44E0-8E5D-DE404A8CEE43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39" creationId="{7643679F-BFFF-48A0-960A-9620E90B34BF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40" creationId="{66DA19EC-D0A9-40CA-83F3-8DE76F390CA1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41" creationId="{C8495B59-DDA4-4204-800A-4A1EF6FDDA32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42" creationId="{807802F9-8DE4-48AB-9EEF-D86DAB03AE89}"/>
          </ac:spMkLst>
        </pc:spChg>
        <pc:spChg chg="mod">
          <ac:chgData name="Hasan Senol Coskun" userId="88cd95f7b86daa2f" providerId="LiveId" clId="{0A1DC79D-782D-493E-B89A-90325507C91B}" dt="2020-11-13T18:23:59.791" v="1001"/>
          <ac:spMkLst>
            <pc:docMk/>
            <pc:sldMk cId="2769671631" sldId="1747256656"/>
            <ac:spMk id="43" creationId="{3E50BA9F-5079-4E83-AB32-E8C6D1592062}"/>
          </ac:spMkLst>
        </pc:spChg>
        <pc:spChg chg="mod">
          <ac:chgData name="Hasan Senol Coskun" userId="88cd95f7b86daa2f" providerId="LiveId" clId="{0A1DC79D-782D-493E-B89A-90325507C91B}" dt="2020-11-13T18:24:18.217" v="1004" actId="1076"/>
          <ac:spMkLst>
            <pc:docMk/>
            <pc:sldMk cId="2769671631" sldId="1747256656"/>
            <ac:spMk id="48" creationId="{8B487D19-E6A2-438E-B5F1-0EE6DF0CCBB7}"/>
          </ac:spMkLst>
        </pc:spChg>
        <pc:spChg chg="mod">
          <ac:chgData name="Hasan Senol Coskun" userId="88cd95f7b86daa2f" providerId="LiveId" clId="{0A1DC79D-782D-493E-B89A-90325507C91B}" dt="2020-11-13T18:24:18.217" v="1004" actId="1076"/>
          <ac:spMkLst>
            <pc:docMk/>
            <pc:sldMk cId="2769671631" sldId="1747256656"/>
            <ac:spMk id="49" creationId="{285FF075-C514-4086-93CD-E5E19990B2DA}"/>
          </ac:spMkLst>
        </pc:spChg>
        <pc:spChg chg="mod">
          <ac:chgData name="Hasan Senol Coskun" userId="88cd95f7b86daa2f" providerId="LiveId" clId="{0A1DC79D-782D-493E-B89A-90325507C91B}" dt="2020-11-13T18:24:18.217" v="1004" actId="1076"/>
          <ac:spMkLst>
            <pc:docMk/>
            <pc:sldMk cId="2769671631" sldId="1747256656"/>
            <ac:spMk id="50" creationId="{401082D5-A0BC-45C2-9944-1EC705789829}"/>
          </ac:spMkLst>
        </pc:spChg>
        <pc:grpChg chg="add del mod">
          <ac:chgData name="Hasan Senol Coskun" userId="88cd95f7b86daa2f" providerId="LiveId" clId="{0A1DC79D-782D-493E-B89A-90325507C91B}" dt="2020-11-13T18:24:12.026" v="1002" actId="478"/>
          <ac:grpSpMkLst>
            <pc:docMk/>
            <pc:sldMk cId="2769671631" sldId="1747256656"/>
            <ac:grpSpMk id="4" creationId="{5A1EE026-7318-4BC1-ACD3-BC185971D6E7}"/>
          </ac:grpSpMkLst>
        </pc:grpChg>
        <pc:grpChg chg="mod">
          <ac:chgData name="Hasan Senol Coskun" userId="88cd95f7b86daa2f" providerId="LiveId" clId="{0A1DC79D-782D-493E-B89A-90325507C91B}" dt="2020-11-13T18:23:59.791" v="1001"/>
          <ac:grpSpMkLst>
            <pc:docMk/>
            <pc:sldMk cId="2769671631" sldId="1747256656"/>
            <ac:grpSpMk id="31" creationId="{24FC9B3D-2E16-432D-9C9B-8996EF6E91B5}"/>
          </ac:grpSpMkLst>
        </pc:grpChg>
        <pc:grpChg chg="add mod">
          <ac:chgData name="Hasan Senol Coskun" userId="88cd95f7b86daa2f" providerId="LiveId" clId="{0A1DC79D-782D-493E-B89A-90325507C91B}" dt="2020-11-13T18:24:18.217" v="1004" actId="1076"/>
          <ac:grpSpMkLst>
            <pc:docMk/>
            <pc:sldMk cId="2769671631" sldId="1747256656"/>
            <ac:grpSpMk id="44" creationId="{28C2B634-2582-4CF1-9CE5-F0B067065029}"/>
          </ac:grpSpMkLst>
        </pc:grpChg>
        <pc:picChg chg="mod">
          <ac:chgData name="Hasan Senol Coskun" userId="88cd95f7b86daa2f" providerId="LiveId" clId="{0A1DC79D-782D-493E-B89A-90325507C91B}" dt="2020-11-13T18:24:18.217" v="1004" actId="1076"/>
          <ac:picMkLst>
            <pc:docMk/>
            <pc:sldMk cId="2769671631" sldId="1747256656"/>
            <ac:picMk id="45" creationId="{2665ED1F-3FB3-4AB7-AEEA-14A04B341138}"/>
          </ac:picMkLst>
        </pc:picChg>
        <pc:picChg chg="mod">
          <ac:chgData name="Hasan Senol Coskun" userId="88cd95f7b86daa2f" providerId="LiveId" clId="{0A1DC79D-782D-493E-B89A-90325507C91B}" dt="2020-11-13T18:24:18.217" v="1004" actId="1076"/>
          <ac:picMkLst>
            <pc:docMk/>
            <pc:sldMk cId="2769671631" sldId="1747256656"/>
            <ac:picMk id="46" creationId="{6D240DDB-96BF-4675-8774-E41920D5E004}"/>
          </ac:picMkLst>
        </pc:picChg>
        <pc:picChg chg="mod">
          <ac:chgData name="Hasan Senol Coskun" userId="88cd95f7b86daa2f" providerId="LiveId" clId="{0A1DC79D-782D-493E-B89A-90325507C91B}" dt="2020-11-13T18:24:18.217" v="1004" actId="1076"/>
          <ac:picMkLst>
            <pc:docMk/>
            <pc:sldMk cId="2769671631" sldId="1747256656"/>
            <ac:picMk id="47" creationId="{CEB8D0D5-72DB-40A3-9916-99A2BA433CA2}"/>
          </ac:picMkLst>
        </pc:picChg>
      </pc:sldChg>
      <pc:sldChg chg="new del">
        <pc:chgData name="Hasan Senol Coskun" userId="88cd95f7b86daa2f" providerId="LiveId" clId="{0A1DC79D-782D-493E-B89A-90325507C91B}" dt="2020-11-13T21:35:22.474" v="2777" actId="47"/>
        <pc:sldMkLst>
          <pc:docMk/>
          <pc:sldMk cId="383734713" sldId="1747256657"/>
        </pc:sldMkLst>
      </pc:sldChg>
      <pc:sldChg chg="addSp delSp modSp new mod modClrScheme chgLayout">
        <pc:chgData name="Hasan Senol Coskun" userId="88cd95f7b86daa2f" providerId="LiveId" clId="{0A1DC79D-782D-493E-B89A-90325507C91B}" dt="2020-11-13T18:39:44.450" v="1150" actId="20577"/>
        <pc:sldMkLst>
          <pc:docMk/>
          <pc:sldMk cId="3139383374" sldId="1747256658"/>
        </pc:sldMkLst>
        <pc:spChg chg="del mod ord">
          <ac:chgData name="Hasan Senol Coskun" userId="88cd95f7b86daa2f" providerId="LiveId" clId="{0A1DC79D-782D-493E-B89A-90325507C91B}" dt="2020-11-13T18:33:21.403" v="1087" actId="700"/>
          <ac:spMkLst>
            <pc:docMk/>
            <pc:sldMk cId="3139383374" sldId="1747256658"/>
            <ac:spMk id="2" creationId="{E3215D25-108A-4484-B3AD-3CDB68CA9CAE}"/>
          </ac:spMkLst>
        </pc:spChg>
        <pc:spChg chg="del mod ord">
          <ac:chgData name="Hasan Senol Coskun" userId="88cd95f7b86daa2f" providerId="LiveId" clId="{0A1DC79D-782D-493E-B89A-90325507C91B}" dt="2020-11-13T18:34:47.549" v="1109" actId="478"/>
          <ac:spMkLst>
            <pc:docMk/>
            <pc:sldMk cId="3139383374" sldId="1747256658"/>
            <ac:spMk id="3" creationId="{D054E369-E291-4D30-9600-93E1415D0673}"/>
          </ac:spMkLst>
        </pc:spChg>
        <pc:spChg chg="add mod ord">
          <ac:chgData name="Hasan Senol Coskun" userId="88cd95f7b86daa2f" providerId="LiveId" clId="{0A1DC79D-782D-493E-B89A-90325507C91B}" dt="2020-11-13T18:39:44.450" v="1150" actId="20577"/>
          <ac:spMkLst>
            <pc:docMk/>
            <pc:sldMk cId="3139383374" sldId="1747256658"/>
            <ac:spMk id="4" creationId="{1591DC53-A2A6-4CF9-B359-3F31576B3818}"/>
          </ac:spMkLst>
        </pc:spChg>
        <pc:spChg chg="mod">
          <ac:chgData name="Hasan Senol Coskun" userId="88cd95f7b86daa2f" providerId="LiveId" clId="{0A1DC79D-782D-493E-B89A-90325507C91B}" dt="2020-11-13T18:33:31.065" v="1100"/>
          <ac:spMkLst>
            <pc:docMk/>
            <pc:sldMk cId="3139383374" sldId="1747256658"/>
            <ac:spMk id="7" creationId="{466DDF11-9D7E-4826-9769-32F41EC8020E}"/>
          </ac:spMkLst>
        </pc:spChg>
        <pc:spChg chg="mod">
          <ac:chgData name="Hasan Senol Coskun" userId="88cd95f7b86daa2f" providerId="LiveId" clId="{0A1DC79D-782D-493E-B89A-90325507C91B}" dt="2020-11-13T18:33:31.065" v="1100"/>
          <ac:spMkLst>
            <pc:docMk/>
            <pc:sldMk cId="3139383374" sldId="1747256658"/>
            <ac:spMk id="8" creationId="{F5B6F474-BDE8-434A-8607-67E11D91FE37}"/>
          </ac:spMkLst>
        </pc:spChg>
        <pc:spChg chg="mod">
          <ac:chgData name="Hasan Senol Coskun" userId="88cd95f7b86daa2f" providerId="LiveId" clId="{0A1DC79D-782D-493E-B89A-90325507C91B}" dt="2020-11-13T18:33:31.065" v="1100"/>
          <ac:spMkLst>
            <pc:docMk/>
            <pc:sldMk cId="3139383374" sldId="1747256658"/>
            <ac:spMk id="9" creationId="{97BAD80D-C1E6-4593-8EFB-F52A99DF5ED8}"/>
          </ac:spMkLst>
        </pc:spChg>
        <pc:spChg chg="mod">
          <ac:chgData name="Hasan Senol Coskun" userId="88cd95f7b86daa2f" providerId="LiveId" clId="{0A1DC79D-782D-493E-B89A-90325507C91B}" dt="2020-11-13T18:33:31.065" v="1100"/>
          <ac:spMkLst>
            <pc:docMk/>
            <pc:sldMk cId="3139383374" sldId="1747256658"/>
            <ac:spMk id="10" creationId="{AD6D52A5-3F18-4965-A71C-A2D68BB28707}"/>
          </ac:spMkLst>
        </pc:spChg>
        <pc:spChg chg="mod">
          <ac:chgData name="Hasan Senol Coskun" userId="88cd95f7b86daa2f" providerId="LiveId" clId="{0A1DC79D-782D-493E-B89A-90325507C91B}" dt="2020-11-13T18:33:31.065" v="1100"/>
          <ac:spMkLst>
            <pc:docMk/>
            <pc:sldMk cId="3139383374" sldId="1747256658"/>
            <ac:spMk id="11" creationId="{BDDA5527-4FBB-4B21-8014-34DEB8D1ED91}"/>
          </ac:spMkLst>
        </pc:spChg>
        <pc:spChg chg="mod">
          <ac:chgData name="Hasan Senol Coskun" userId="88cd95f7b86daa2f" providerId="LiveId" clId="{0A1DC79D-782D-493E-B89A-90325507C91B}" dt="2020-11-13T18:33:31.065" v="1100"/>
          <ac:spMkLst>
            <pc:docMk/>
            <pc:sldMk cId="3139383374" sldId="1747256658"/>
            <ac:spMk id="12" creationId="{C852C366-830C-4C8B-B934-24ADC48F6850}"/>
          </ac:spMkLst>
        </pc:spChg>
        <pc:spChg chg="mod">
          <ac:chgData name="Hasan Senol Coskun" userId="88cd95f7b86daa2f" providerId="LiveId" clId="{0A1DC79D-782D-493E-B89A-90325507C91B}" dt="2020-11-13T18:33:31.065" v="1100"/>
          <ac:spMkLst>
            <pc:docMk/>
            <pc:sldMk cId="3139383374" sldId="1747256658"/>
            <ac:spMk id="13" creationId="{D351EC87-4B3E-4438-9686-A773C902ACC2}"/>
          </ac:spMkLst>
        </pc:spChg>
        <pc:spChg chg="mod">
          <ac:chgData name="Hasan Senol Coskun" userId="88cd95f7b86daa2f" providerId="LiveId" clId="{0A1DC79D-782D-493E-B89A-90325507C91B}" dt="2020-11-13T18:33:31.065" v="1100"/>
          <ac:spMkLst>
            <pc:docMk/>
            <pc:sldMk cId="3139383374" sldId="1747256658"/>
            <ac:spMk id="14" creationId="{72217F92-4DC9-4D84-8A0D-58497124FC7F}"/>
          </ac:spMkLst>
        </pc:spChg>
        <pc:spChg chg="mod">
          <ac:chgData name="Hasan Senol Coskun" userId="88cd95f7b86daa2f" providerId="LiveId" clId="{0A1DC79D-782D-493E-B89A-90325507C91B}" dt="2020-11-13T18:33:31.065" v="1100"/>
          <ac:spMkLst>
            <pc:docMk/>
            <pc:sldMk cId="3139383374" sldId="1747256658"/>
            <ac:spMk id="15" creationId="{9E25F1B8-96D2-4986-B76C-41A9CBCDCBB1}"/>
          </ac:spMkLst>
        </pc:spChg>
        <pc:spChg chg="mod">
          <ac:chgData name="Hasan Senol Coskun" userId="88cd95f7b86daa2f" providerId="LiveId" clId="{0A1DC79D-782D-493E-B89A-90325507C91B}" dt="2020-11-13T18:33:31.065" v="1100"/>
          <ac:spMkLst>
            <pc:docMk/>
            <pc:sldMk cId="3139383374" sldId="1747256658"/>
            <ac:spMk id="16" creationId="{52D72950-ADE0-4EBE-AD18-5DA9DD31DA81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8" creationId="{EF090770-E0B8-4E0F-A2E7-DABDA8D00D9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9" creationId="{94DA3727-C635-48A6-8A1F-76BC7628D46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0" creationId="{02A48FEB-255E-4B53-8432-4187DCE4039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1" creationId="{9BD55562-9273-4951-B288-B50AF95FCFF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2" creationId="{6FB72FE7-578E-4890-9B98-A87D6E2A2AE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5" creationId="{B26DEEEB-7897-4E65-A9D4-9AC343255FE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6" creationId="{B1406EEA-C27D-4470-98A3-BB473EA2BC58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7" creationId="{2FC0D58D-FD1A-4883-A6B8-3020F361FAF8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8" creationId="{6E8CA6F6-A353-4946-B1C9-3BAE9FB1B0AC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9" creationId="{06C11E49-D285-4334-9BC8-D82C4EDA8DF6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30" creationId="{E00EBB5A-07A5-4AF9-94BB-87045F1EE33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31" creationId="{A9FFA957-7774-4E04-82E7-8E4F68078E1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32" creationId="{47743042-3E09-486C-9DCA-E1B43E4B9C39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33" creationId="{8076C601-C36B-4CD9-80B7-1F961564265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34" creationId="{D7E66C61-CBF2-4E6C-83B8-C2183BA58746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35" creationId="{699F7F8B-B718-46AC-9599-C89A8FE90382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36" creationId="{7D7F72C8-9EF5-4E1E-8E27-623FEDA9C3C4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37" creationId="{FC373731-2FBD-444F-9AB4-F45784B7EE49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38" creationId="{9BD7C7ED-AFCA-4F75-8FD8-C7443BBEDC05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39" creationId="{1C098B78-B6CC-4319-A843-788B9E174D5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40" creationId="{B7E46A5C-85ED-4E6E-88C2-16E71A2D5C31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41" creationId="{AD06989A-E481-41BE-AB4A-4611D82B58A5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42" creationId="{61FB0514-9408-48F9-B1FC-9722E644A1D1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43" creationId="{4B4AD330-FE0F-4707-AC58-D247F1273222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44" creationId="{F75C3C7B-FA64-4A9F-8497-B0361B82AB79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45" creationId="{CF3F7725-A8E4-4DE5-8C54-A3892CC4182B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46" creationId="{BAE36A4B-358D-45F9-A006-CCE65D00BA19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47" creationId="{8F30ADE5-F2D8-4E1F-AE19-DABF99C6A508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48" creationId="{92845C71-C393-4872-879C-6F637E412CB8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49" creationId="{912861B9-1C00-41AB-AB1F-F2F8EF5E0561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50" creationId="{FD500F6E-7790-4F9E-96E1-8DA66A904862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51" creationId="{95CC7AF1-A140-4868-AF1E-3D1E1C66AF2B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52" creationId="{9E4240CD-9367-4222-848F-6F7DB7F4D9D0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53" creationId="{C1A20B6D-89A2-4374-803F-A1E95A33C13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54" creationId="{E1AFF2E1-97D0-4214-BE9A-DE22D485DF80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55" creationId="{B9182964-5340-4391-821F-6820AD87A485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56" creationId="{875D1AF6-D5F1-4EC6-BD55-CEE572408BB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57" creationId="{88D123B2-5CD6-4FC6-B12F-69E9FD0683A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58" creationId="{C849D945-6DB1-4424-87F2-099EE2187A64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59" creationId="{EA7E2632-3F1E-46E8-A0E2-1095B94DEF26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60" creationId="{937F86D3-BEF7-4D3D-B5A4-46B1AA6D68C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61" creationId="{8A5D2523-8800-4229-A09B-57757417B00D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62" creationId="{ADC8B04C-6891-4B23-9EC4-73D4E5F5516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63" creationId="{6643862D-A765-4908-8827-7A2870A169B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64" creationId="{CEA0A4F4-323B-4B63-AF38-66AFA084EEE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65" creationId="{722517E2-0977-4208-A694-CFC6970F745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66" creationId="{1F61A712-0C55-4FBD-8E98-E3B3A29C277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67" creationId="{A6E376C5-2BAE-4B5C-AFB2-78B09784E889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68" creationId="{5BD17FC5-1F19-4CC0-9283-294A809C6B11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69" creationId="{012E7133-7627-45D9-A67A-28D741C0C6A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70" creationId="{B80A31CF-5E29-4E5F-AF66-9D958584C0B1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71" creationId="{8B7008B7-ED38-451C-9122-7146224E986C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72" creationId="{89BA9B03-1F87-4ECC-AF22-13B4E8F80BB8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73" creationId="{4961422D-EC73-42D5-8703-AAC6144AAF63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74" creationId="{5326F995-9FEB-4809-BEB8-CC3AF41777E0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75" creationId="{DC40ED0F-5BC2-4112-B40D-B1E1C352776D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76" creationId="{5785D311-B2AA-4CE2-BAF0-8DBCD2A63D5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77" creationId="{C3B1E65D-6DAE-456D-85D6-DCB9154AFD7D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78" creationId="{C4602342-148B-4F47-B52C-423ABE4EF5F9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79" creationId="{0B90F43B-BBD6-4B2D-AAD5-F69F7448D33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80" creationId="{A805B51B-FE44-40C9-A4AE-E64FE03E760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81" creationId="{C8AE1E48-5727-45E4-9236-40B919860C9F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82" creationId="{4C4310E2-3F16-4D31-9FDB-6459844631D3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83" creationId="{72FF7B45-4E9C-4896-AD9F-62002A883502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84" creationId="{CE96F733-840F-4F42-851D-954A5CD8683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85" creationId="{1323AE16-E7C3-48C7-BDEC-7C48B98CCA70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86" creationId="{B6D2BB72-9BD3-4C42-AEB4-826C0B22FB65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87" creationId="{493267FB-C432-45BA-8D77-811ACD29654D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88" creationId="{15C8810D-94A6-41C4-8424-A91A525C58D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89" creationId="{16E6F6DC-110B-466F-8F15-5C16D5B4E299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90" creationId="{84D88ED4-B4B8-4D42-9A2F-DEC8A0D2E584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91" creationId="{B54BE100-2A50-4A2F-9F28-41E22DFAA58F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92" creationId="{6404701F-CCC9-4CFF-AAA2-7E23B56EA73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93" creationId="{738E3D06-9D8F-4944-BF3D-E9054AEF5B9C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94" creationId="{9841FB2F-7671-47D3-B258-63A44DFED20F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95" creationId="{562C6480-9FEB-4C10-8EAE-FCDBE7B846C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96" creationId="{679F689A-96DB-4BB9-AB9B-D0B44E14A97F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97" creationId="{A632935B-2930-4B7B-939C-001E004D185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98" creationId="{0B4880BD-83E6-461D-B64B-5C79A7FD8283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99" creationId="{82F5D9D5-C96E-4C2A-84F2-15F8A9580E3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00" creationId="{72257632-9E67-4E1D-9673-FD3141E13894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01" creationId="{563340B1-B3AB-402F-9B54-4CF14DDD8BE6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02" creationId="{494EBF04-26F1-46C3-8829-D99CDB03BCFC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03" creationId="{5F254910-1418-42B0-B401-D6F87A06AFEF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04" creationId="{EB7B32DF-B427-4C4F-9EC8-9D2A6B8E3C6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05" creationId="{FDEB9B83-2A3C-4512-8597-A2A60DC6CAFC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06" creationId="{2CAA8209-F49F-4A55-B330-0C446F9ADEB9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07" creationId="{155EBC1B-6EE0-4D38-886C-1FC5E446AE9C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08" creationId="{7AE0BDAC-3D31-47FA-B2F1-C46BABA5375C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09" creationId="{66DD4B8D-4F89-4D74-BE67-CCAA20572C03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10" creationId="{9A5129DD-AEAC-44C5-9415-687A56AA1C32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11" creationId="{8ACEB7A2-3DAF-468F-8A53-09E38DA774E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12" creationId="{9F7BC4A0-D424-4D81-BFBE-8C26B49FED8D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13" creationId="{6BABE04C-882C-4FDA-9337-C2DA1468ACA5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14" creationId="{AC8E7299-9380-4896-AEFC-CE10C4D1F9EF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15" creationId="{3BFE5718-B29E-4B24-AD32-80438F06B85F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16" creationId="{D2A613E2-B697-4572-B6BE-411CA54B1332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17" creationId="{824EB7F5-A2E1-4050-93CE-CC3F30A2A5FC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18" creationId="{1B750D08-ED7A-400D-84D6-96087D43FFF4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19" creationId="{50287C92-3283-4C2B-BC87-28289A5D4CA3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20" creationId="{BBBFF7F0-B5D9-4CC5-B9AD-C900178DC123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21" creationId="{81B13308-9E0E-4291-99CC-4A330B8274E9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22" creationId="{D3EE0A09-783F-4BB6-B06D-988EB913E6A5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23" creationId="{B4ED268C-E9DE-426A-BE1B-562B9725A3D5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24" creationId="{AD5A928B-E38A-4194-B1C0-E0E08F99C33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25" creationId="{A96106B3-82E6-4BF2-A4C1-565D1F2D759B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26" creationId="{00E19A03-721B-49FD-A47B-1972C0B5DCC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27" creationId="{ADDD335E-291F-4BDA-B78F-5A5B5B299D19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28" creationId="{7B999B59-9272-4434-8EC3-A6F8CA21FD89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29" creationId="{F58B5FBB-A438-44B2-B35A-B5BCD8B6113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30" creationId="{5E0111F9-0909-4723-A120-C9B8E2698052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31" creationId="{8801C1BE-CA1A-4FB5-9006-7BE2DCC5AF82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32" creationId="{C4499E5F-30BC-462B-A0F2-65A353672A7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33" creationId="{69B27F23-4445-4481-8BA3-578B1D95A431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34" creationId="{F9F0EBAD-4CF5-427A-8B4D-21416B73407D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35" creationId="{5F49DCFC-BD1A-4E05-B9B6-9B7C840C18FF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36" creationId="{5A4B7A22-A591-43CD-AD7F-61EFA9CF7082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37" creationId="{A3A5308A-7C8E-4761-8E49-C170D2E245E4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38" creationId="{C85B9750-C3BE-48FC-8702-1F298DC79EC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39" creationId="{1B74D5B0-0793-4B29-8A76-5474501B1E7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40" creationId="{24E8ACE3-6E93-46FA-AC75-EAABE8C4AFA6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41" creationId="{2AB203CE-F3E8-44B7-9173-C3A7E58A20C4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42" creationId="{7356B2AD-5797-4E19-BB16-6E1F57E61CFD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43" creationId="{337159D7-7F68-4B9E-8B58-74A48E6D4C1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44" creationId="{59AEA119-5CC7-408C-8FDA-424477EB35D4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45" creationId="{C71B3250-32E2-41FF-A9B6-6085274FDB2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46" creationId="{1DF677E8-8631-4EF6-8B99-DFD71FDF9B10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47" creationId="{4E822752-816B-4FC7-AC5D-0D646ED6013C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48" creationId="{622AE6F6-1A77-47BB-A50D-8C61C6BE8BAC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49" creationId="{9757FA3B-C52D-497D-8235-2483DEDE32ED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50" creationId="{E06459EB-DA49-42E6-BE99-1DC16894AF42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51" creationId="{18DA774E-594A-47DF-B754-5CA3A60360ED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52" creationId="{A934A77F-9331-414B-A7B8-19D14D93F298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53" creationId="{FF83151C-4B0B-49E7-AFC9-317EC268BD20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54" creationId="{7E6FAD23-1312-4CC6-A683-7ACE83D933DB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55" creationId="{0F124E1B-E5E5-4D2A-8D21-89D060BD54EB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56" creationId="{2383BC26-DC89-4836-88D7-EF7A817A5800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57" creationId="{3E3476C6-D547-4330-BBB5-80EC8893DF80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58" creationId="{D2E6C054-47DB-4480-B83C-7641960693E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59" creationId="{FD947895-933A-4B50-9172-F1BFE439870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60" creationId="{9ACF7DC8-E74A-4CED-835D-00BD07985521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61" creationId="{B5CEC4D5-FC72-42E8-B8A9-BDC5BC70E569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62" creationId="{B893F195-D20B-493B-AEA9-42989E683EA0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63" creationId="{A4F5009D-130F-4D67-A650-1F5437E0AD0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64" creationId="{1D0BEEF7-565F-4B7B-92A6-434ECEDA133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65" creationId="{E072F490-64E0-41C0-9944-AAF7353BFDD0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66" creationId="{D7807BFA-9842-46D5-977A-68038AAA9346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67" creationId="{3DB8FFA2-73B8-4842-BC37-B519E6E9BE8F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68" creationId="{38E1F196-41A9-4DC8-A9F7-936A2FD4D654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69" creationId="{F4C5100E-647F-4102-959B-90CB0A7C374B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70" creationId="{17D376F3-799C-4662-9515-D504653FFD13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71" creationId="{0D9ED4B9-73C3-44D5-9A68-3323427EC20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72" creationId="{8FC6B6A2-3011-4E64-8BFB-E3F55343093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73" creationId="{70C1A996-7D22-4F94-96AF-6906C4F5F1B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74" creationId="{EA59CB5B-6E77-4B20-B990-00F993CC7C0C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75" creationId="{92FDEC72-D00F-43A6-BAF9-BEDB4A2AF5C5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76" creationId="{97FC8B5B-1E2C-4711-8357-1A46F267AC03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77" creationId="{E192B9CA-38EB-4B6E-9FC6-34E26A8CD6D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78" creationId="{79D2B8E9-3544-415D-BDE4-BFE60B49C841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79" creationId="{4291B1D6-F67A-47D3-A41A-DFDBBF6676BD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80" creationId="{DA8A9C0B-3954-4E79-90C0-0B14F3150F1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81" creationId="{7C57B245-9762-478F-A32E-BB9DF95ACDCD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82" creationId="{AEAF5123-A23F-4CFD-B7FE-E3A653AF4A5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83" creationId="{90A4BB62-D454-4075-B3F3-048E5FEDDDCB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84" creationId="{0EAB16CA-262A-456D-9C62-20B305AAB600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85" creationId="{8ED68DF1-D856-4059-BC3A-E1E1659A6D8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86" creationId="{7BDDA7A3-AE20-4530-A223-F2BFBB6BC175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87" creationId="{1C69ED25-8BA0-4463-8D58-6D2401728C9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88" creationId="{B61D2628-4ADA-493C-82C6-692A0B71F78C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89" creationId="{793B35CC-315E-4189-9936-3BA04D5C6C73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90" creationId="{F37C340B-56B9-4E97-9A62-AAFC0F549495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91" creationId="{DF37B0CF-EF49-4620-BB00-86D1DF486B26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92" creationId="{B41811EC-654B-4131-9114-48CEB768C23D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93" creationId="{C163D419-D083-411C-9BD8-5DCC349F75F0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94" creationId="{4FE44632-F00E-44F8-8835-60F4419A96D9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95" creationId="{E5D6B70C-A2AA-4043-8A66-110B157A7AD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96" creationId="{6AA1941E-4560-45C2-B7F7-6193646149F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97" creationId="{210E7298-5C02-413E-9C66-80A4383CE0F6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98" creationId="{E17F4A7A-9E24-44A2-85EB-83F67C678408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199" creationId="{12F9D551-CE9A-4A6C-89D7-D7B00E2B1B74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00" creationId="{5D3832A3-B7FC-44AE-B2F8-F1F5326F900F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01" creationId="{B7EE9ADB-1CF5-4268-8359-5E6273614C0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02" creationId="{9ACA1521-378B-469E-9456-FD4F58268B10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03" creationId="{CAA5AF19-1518-4419-8B11-583BDB01B0AF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04" creationId="{2953CAF1-0B98-4B9B-AC3B-6D13B028CC9B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05" creationId="{4427BF1B-3AB4-4E1F-A6FA-5058BF4C3B2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06" creationId="{EEE527D6-A6B1-4BEA-9A25-E7AF56790DC1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07" creationId="{5ABA981D-8968-4D20-8DEC-01146E235734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08" creationId="{F4CFD5FD-74F9-48DA-8F26-D7AB2FC84329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09" creationId="{BCCBB54A-1CA7-4B0E-89A4-99CEE73261D6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10" creationId="{8F19B469-BD65-4931-A661-F96CCAD5480F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11" creationId="{87CF6F32-CCFB-49E3-BD17-A6B237B6FA1F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12" creationId="{F851E6AF-B8B8-4D69-87EA-B1D83976157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13" creationId="{3D83E122-8B1E-4368-ACEB-1B3C0A7F2A13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14" creationId="{5B220F68-66A2-4D9F-B455-E843A7DF76C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15" creationId="{46ED4A38-37F3-44BC-A465-0554D7627216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16" creationId="{92F33A27-6F42-482C-8C93-764AC1FB9725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17" creationId="{D0891251-134D-4B21-8372-C472C16438A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18" creationId="{F5245357-5FAF-4872-B50C-2A13F3DC902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19" creationId="{7F3BE13D-C739-4219-962D-3F68BD3F22EE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20" creationId="{CA99D3E0-1E06-4131-9D25-BDBD758D6389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21" creationId="{098940E5-B1D6-4821-8688-FAE808B6B721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22" creationId="{8C6252E9-9AD8-4949-A84B-57DA873741CA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23" creationId="{F5547ED1-F6C3-4181-A955-33CC13288EE6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24" creationId="{6A605A64-D032-41B3-9ED9-07721D01F51C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25" creationId="{E6AF6766-121C-499A-AB12-B9425D5BF6C7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26" creationId="{9189E68D-D249-4F60-9F5C-02DE3569E951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27" creationId="{1117123D-B144-47C9-9BDA-4BCF762D0FD1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28" creationId="{070CB247-91D2-474C-A032-76D0F5953728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29" creationId="{361CA5D9-7832-4CD7-A26D-CB66210F5144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30" creationId="{ADE5298C-6D80-49ED-944C-A55BDB96C966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31" creationId="{80DB9011-3544-40EF-B07B-B839C05C515F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32" creationId="{38C47220-A8CF-46FD-BA57-35625A58EAEC}"/>
          </ac:spMkLst>
        </pc:spChg>
        <pc:spChg chg="mod">
          <ac:chgData name="Hasan Senol Coskun" userId="88cd95f7b86daa2f" providerId="LiveId" clId="{0A1DC79D-782D-493E-B89A-90325507C91B}" dt="2020-11-13T18:34:07.426" v="1104" actId="14100"/>
          <ac:spMkLst>
            <pc:docMk/>
            <pc:sldMk cId="3139383374" sldId="1747256658"/>
            <ac:spMk id="233" creationId="{71976A43-C33A-46EE-AF66-575124F10E76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36" creationId="{D560813D-D359-4BD2-96F9-FC048B047B76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37" creationId="{FDBA3AB0-8E8D-46FE-A0E8-1E897D49A92F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38" creationId="{83303F53-4CB4-4D51-B134-76715D3DE2E5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39" creationId="{1A4A384F-5003-403E-9A47-C3B2E1D8415F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40" creationId="{FB0DDAD0-DA0D-441F-B518-9C35DCE39857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43" creationId="{62629219-37E4-43E7-B643-C462D1DCC6E5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44" creationId="{36C9BB7E-2772-422D-83BB-C0100691E355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45" creationId="{7EDEA696-3B54-498D-9B26-DB0501B81891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46" creationId="{B5D5CD9C-6A54-4534-ACB6-8C18976569D1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47" creationId="{828B4385-9792-4B2C-ADB8-D7628BD2BC30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48" creationId="{91CF7EAF-8637-483D-828B-06D3317FDB78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49" creationId="{62A15886-467A-406A-B586-AECAF5AE3335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50" creationId="{C78D1B44-450E-4A26-BFED-4F5E7F9A17CC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51" creationId="{AD7AEB9E-9F21-4101-A650-C1C6DF29A026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52" creationId="{A870C727-6063-4B16-A51B-CABC22747676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53" creationId="{F2A3AE04-19B6-4942-A09A-FB8D029EA399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54" creationId="{3D995978-DC60-44B6-A860-5C4236C1457B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55" creationId="{2FEC524F-0CD9-4F24-B425-A6F11CA69CF3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56" creationId="{775DF205-BDBE-483F-BD1E-64449DF69FC8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57" creationId="{04902DC1-95BA-4D1C-BD7F-A2AD0B5A5932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58" creationId="{7FBE6080-2BD0-488F-BB97-08B8E5A515FC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59" creationId="{CBE7F9D0-F76E-4F8F-AC93-FFA38F635499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60" creationId="{E9FBDD31-76C2-44EA-99DD-A20A1BD59669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61" creationId="{81DA2459-9955-40A0-92A3-67E478D3F923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62" creationId="{AFF476A0-3B82-48B6-B4CE-21BE44920F62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63" creationId="{3DEDA39A-60CB-4047-AAC0-82D24E7A5332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64" creationId="{9C0871DD-C0EC-4198-A1D1-A4AAC487700C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65" creationId="{36BC51A5-AA94-4744-AB28-9A74BE264253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66" creationId="{B5CF7D13-FB86-4C58-A5A6-2ECFAC150C63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67" creationId="{8ED23733-62D3-4AF7-A4FC-1FA52AAC53A8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68" creationId="{034848ED-A299-482A-94B7-72F9C286B43E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69" creationId="{1B2D29C1-05C6-49E0-86AA-92A720075347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70" creationId="{86E14AFB-0CA1-4712-A699-4CA5B7BB1614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71" creationId="{0DABC126-8148-4081-90DE-CE759CA97052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72" creationId="{EFFD08E9-E169-471C-AFEB-3386D485AE24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73" creationId="{E83BB732-27A7-47CC-B456-2DD015A60DB0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74" creationId="{A810DE2E-D77D-44F1-9AA4-1FE9B0F63BE6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75" creationId="{C4261883-FA8E-48ED-B62A-792440732893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76" creationId="{1056E51A-6E54-43A2-97E4-0016F8679CEA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77" creationId="{EEEB91F5-9F1F-4F81-8AC0-CB961C4C234B}"/>
          </ac:spMkLst>
        </pc:spChg>
        <pc:spChg chg="mod">
          <ac:chgData name="Hasan Senol Coskun" userId="88cd95f7b86daa2f" providerId="LiveId" clId="{0A1DC79D-782D-493E-B89A-90325507C91B}" dt="2020-11-13T18:34:52.809" v="1110" actId="1076"/>
          <ac:spMkLst>
            <pc:docMk/>
            <pc:sldMk cId="3139383374" sldId="1747256658"/>
            <ac:spMk id="278" creationId="{6498638A-C3E0-44C0-AEC6-6C0501916D5A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281" creationId="{56EBEDC5-1E4C-4663-9149-996CD9F5E612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282" creationId="{E1D7F7C1-47E2-4E93-87EA-F1B4309876DE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283" creationId="{D0689BF0-D4CB-4D14-84FB-0089E7EBF207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284" creationId="{D1E784C8-C71E-48CA-8D8A-26835BD27193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285" creationId="{45C2D22E-0748-41D2-AD1F-663F7F2729D0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288" creationId="{96F1E0F8-4E44-4A0E-82E3-70D255CF059E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289" creationId="{2AA19C6A-CC4C-40DD-8217-1213AF51A8B5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290" creationId="{5F230B46-E764-4A7A-A7FA-732DC1F39C5E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291" creationId="{CC7ADAD0-B728-4658-AFA6-A2B61432BDEF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292" creationId="{CEA21BAA-58AC-4B7D-B1C8-13AECD0E6C3D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293" creationId="{08C73DCC-3805-436B-9569-D15CDF198461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294" creationId="{CB5F0DDA-7280-4B7F-A587-E05BC2F9ADA3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295" creationId="{454D2D3F-7735-41FE-89DD-E9EA2B611727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296" creationId="{8F94358C-845F-46E7-BC09-C0D257891CCA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297" creationId="{795167E9-D5B0-4C80-96B9-E530A0887589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298" creationId="{EEF80BD6-3A7C-4EB4-8670-073DA9B3BD1E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299" creationId="{74030A32-660C-44C8-9C34-4032778ECCDE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00" creationId="{EC9E56C3-9CBE-4931-AE8E-BFC85D3FDE59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01" creationId="{043D81ED-1BB2-4B60-97FC-BBF031AEC645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02" creationId="{002469E1-B22F-42DB-830A-DF5A7421C260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03" creationId="{185DBED0-069D-49D8-8194-10B9AEF089C6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04" creationId="{A84691CD-C455-4F26-AA20-28655B07AFCC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05" creationId="{B64B6E98-461F-4E66-B137-A040F6FC448F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06" creationId="{5249C33A-D165-42EE-A05C-3E7D2B5E2278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07" creationId="{F0AFC43F-2633-4509-B4DF-28D88B5FCADB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08" creationId="{E61261E5-3058-41D3-93B0-05072A2FF82A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09" creationId="{CC21E0A8-4953-4D3C-B824-91DD0CC9DA8A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10" creationId="{D5DFD576-2B92-4C7E-9CE5-A69FF61C4004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11" creationId="{B0324A15-45C7-428D-9DE2-4CF3C6BD4807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12" creationId="{35EEF7FE-53C9-4684-B3C8-5A3EFC92DBEC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13" creationId="{567505EF-5CD9-4BEB-8B85-7285A306D5FF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14" creationId="{B92A4FC2-E4BC-4EDC-90F9-D2A980834BBB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15" creationId="{9EF16A00-F283-49CF-AC9F-8C6E32BA6C0F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16" creationId="{9F91592E-9337-4B45-AFD3-77F9B8B7A577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17" creationId="{E90E28ED-46D1-4C79-BB55-AB1C8769875B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18" creationId="{D3797EC9-9462-4021-86C6-96A613C5FE11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19" creationId="{B767B8D1-9C2A-435D-827F-D23538C93A79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20" creationId="{0B6A868C-B489-49B1-9F93-8C2C9FB3DB5F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21" creationId="{A7D668DF-9D76-4A5F-B9B2-AA0816F8CD35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22" creationId="{D29C9B14-48BB-416C-9C7C-E6C80B5D58C9}"/>
          </ac:spMkLst>
        </pc:spChg>
        <pc:spChg chg="mod">
          <ac:chgData name="Hasan Senol Coskun" userId="88cd95f7b86daa2f" providerId="LiveId" clId="{0A1DC79D-782D-493E-B89A-90325507C91B}" dt="2020-11-13T18:36:01.979" v="1116" actId="14100"/>
          <ac:spMkLst>
            <pc:docMk/>
            <pc:sldMk cId="3139383374" sldId="1747256658"/>
            <ac:spMk id="323" creationId="{AFD55D1A-8C70-4EBC-BFBA-A1D63EF0B446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25" creationId="{90E27A71-32B6-4541-B03F-3EB9417904D5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26" creationId="{B7CBBDFB-9540-4E31-8DAA-A250B6C85AB2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27" creationId="{9C49AB40-3A21-4ECE-B48A-5135DC979189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28" creationId="{71574933-1CD3-4604-BFB0-892AA4E80BE5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29" creationId="{3CF2F792-4036-4663-9AC0-D45CBDF1CB08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30" creationId="{E0151FCE-712C-4E6C-BA65-9031C935DB10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31" creationId="{F9E48375-A6A4-41CD-979E-B1F1F5511415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32" creationId="{688805EA-63CE-4132-A41D-08DF55ABBB6C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33" creationId="{3B956009-5AC5-4275-BC4F-10C4E5BF386E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34" creationId="{4B332C43-4609-4704-AABD-B89C1DD3AD62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35" creationId="{30516F00-9BB2-47CD-9C1B-513694951F08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36" creationId="{802D3FE7-8107-46FC-8BA1-4875E72EBE4F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37" creationId="{C712DFA9-C7FF-44A9-BBE4-1B8F096FF834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38" creationId="{3A9C35AF-CE25-44C6-858F-7A2911C3DFE5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39" creationId="{E7404DC5-2335-480D-B7A8-8C365B0C243D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40" creationId="{C5D82F13-0057-44C6-8BE1-96398C1D6BF2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41" creationId="{8FC3C52A-E7E7-4441-8707-85F3C9626F34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42" creationId="{B0241BE5-FD12-4A2C-B5B4-2920B87C0A78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43" creationId="{6AD976CB-4A71-4761-A9FF-EAD93C2D5B94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44" creationId="{FE43FBF8-C00A-4577-A3C7-B3997C62F987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45" creationId="{BFC42D0E-AACE-439E-8FB8-C01A839EE90D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46" creationId="{C2EDE9EF-AE2A-4766-9BA7-0C75783BAF53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47" creationId="{2A2B1AB0-BC0E-44CB-84CD-CC450E736F8E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48" creationId="{E6A3A973-F920-4C7C-A759-81CA68810F8D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49" creationId="{6147C359-E1B7-453E-AD15-6A8BA95881C0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50" creationId="{28154AD7-02F8-4CF2-9519-F0352B218E5B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51" creationId="{52936BEE-0E79-4707-8598-A9EDBE579BBC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52" creationId="{F20C298A-6C75-4F4B-805B-6126F0891444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53" creationId="{D0D3041B-5A22-45B5-BEB0-04A2C25AFA35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54" creationId="{DD1AF1B9-0019-491E-9E2C-438895CADA75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55" creationId="{31ADECEC-317A-4F06-8A23-C2174AD37DDD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56" creationId="{9696DA57-7702-4A1F-8BE8-E30C6C673625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57" creationId="{6716AF2F-E105-4211-87CF-F1A064F1DEDD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58" creationId="{F749A8FD-5F65-4B4B-9190-58718F2C1DFE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59" creationId="{B82930CE-CB7A-470E-B34D-4F11520316A9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60" creationId="{8D54E94D-C4A3-4437-AFD7-C98213F99E30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61" creationId="{AC69FD28-7482-4E3B-B2D2-4E8B39589058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62" creationId="{0459EA2D-A44B-4BE8-B27E-481CF8A2B62F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63" creationId="{304E9A2A-DA3E-4611-B858-2AB735B15401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66" creationId="{272BA574-10F0-4DDD-8897-93624007C0F4}"/>
          </ac:spMkLst>
        </pc:spChg>
        <pc:spChg chg="mod">
          <ac:chgData name="Hasan Senol Coskun" userId="88cd95f7b86daa2f" providerId="LiveId" clId="{0A1DC79D-782D-493E-B89A-90325507C91B}" dt="2020-11-13T18:37:36.501" v="1121" actId="1076"/>
          <ac:spMkLst>
            <pc:docMk/>
            <pc:sldMk cId="3139383374" sldId="1747256658"/>
            <ac:spMk id="367" creationId="{F600282F-7D10-4F51-8DD2-828185D7A01E}"/>
          </ac:spMkLst>
        </pc:spChg>
        <pc:grpChg chg="add mod">
          <ac:chgData name="Hasan Senol Coskun" userId="88cd95f7b86daa2f" providerId="LiveId" clId="{0A1DC79D-782D-493E-B89A-90325507C91B}" dt="2020-11-13T18:39:23.139" v="1130" actId="1076"/>
          <ac:grpSpMkLst>
            <pc:docMk/>
            <pc:sldMk cId="3139383374" sldId="1747256658"/>
            <ac:grpSpMk id="5" creationId="{BA674DA8-12B0-47C3-9962-ACE55BA7C43F}"/>
          </ac:grpSpMkLst>
        </pc:grpChg>
        <pc:grpChg chg="mod">
          <ac:chgData name="Hasan Senol Coskun" userId="88cd95f7b86daa2f" providerId="LiveId" clId="{0A1DC79D-782D-493E-B89A-90325507C91B}" dt="2020-11-13T18:33:31.065" v="1100"/>
          <ac:grpSpMkLst>
            <pc:docMk/>
            <pc:sldMk cId="3139383374" sldId="1747256658"/>
            <ac:grpSpMk id="6" creationId="{DCD2A317-0F1E-4EF3-9212-6A9B8CA5EBAF}"/>
          </ac:grpSpMkLst>
        </pc:grpChg>
        <pc:grpChg chg="add mod">
          <ac:chgData name="Hasan Senol Coskun" userId="88cd95f7b86daa2f" providerId="LiveId" clId="{0A1DC79D-782D-493E-B89A-90325507C91B}" dt="2020-11-13T18:34:07.426" v="1104" actId="14100"/>
          <ac:grpSpMkLst>
            <pc:docMk/>
            <pc:sldMk cId="3139383374" sldId="1747256658"/>
            <ac:grpSpMk id="17" creationId="{CBAFEF55-781C-4B6F-9D50-BAF5FA430424}"/>
          </ac:grpSpMkLst>
        </pc:grpChg>
        <pc:grpChg chg="add del mod">
          <ac:chgData name="Hasan Senol Coskun" userId="88cd95f7b86daa2f" providerId="LiveId" clId="{0A1DC79D-782D-493E-B89A-90325507C91B}" dt="2020-11-13T18:35:44.640" v="1112" actId="478"/>
          <ac:grpSpMkLst>
            <pc:docMk/>
            <pc:sldMk cId="3139383374" sldId="1747256658"/>
            <ac:grpSpMk id="234" creationId="{38390BB3-3AFA-419D-A98E-AE9EAF24D981}"/>
          </ac:grpSpMkLst>
        </pc:grpChg>
        <pc:grpChg chg="mod">
          <ac:chgData name="Hasan Senol Coskun" userId="88cd95f7b86daa2f" providerId="LiveId" clId="{0A1DC79D-782D-493E-B89A-90325507C91B}" dt="2020-11-13T18:34:52.809" v="1110" actId="1076"/>
          <ac:grpSpMkLst>
            <pc:docMk/>
            <pc:sldMk cId="3139383374" sldId="1747256658"/>
            <ac:grpSpMk id="235" creationId="{E449B187-BA02-442B-804E-DBC736390A18}"/>
          </ac:grpSpMkLst>
        </pc:grpChg>
        <pc:grpChg chg="add del mod">
          <ac:chgData name="Hasan Senol Coskun" userId="88cd95f7b86daa2f" providerId="LiveId" clId="{0A1DC79D-782D-493E-B89A-90325507C91B}" dt="2020-11-13T18:36:07.995" v="1117" actId="478"/>
          <ac:grpSpMkLst>
            <pc:docMk/>
            <pc:sldMk cId="3139383374" sldId="1747256658"/>
            <ac:grpSpMk id="279" creationId="{DA57838E-3527-4449-BF80-B1C9FF4B3048}"/>
          </ac:grpSpMkLst>
        </pc:grpChg>
        <pc:grpChg chg="mod">
          <ac:chgData name="Hasan Senol Coskun" userId="88cd95f7b86daa2f" providerId="LiveId" clId="{0A1DC79D-782D-493E-B89A-90325507C91B}" dt="2020-11-13T18:36:01.979" v="1116" actId="14100"/>
          <ac:grpSpMkLst>
            <pc:docMk/>
            <pc:sldMk cId="3139383374" sldId="1747256658"/>
            <ac:grpSpMk id="280" creationId="{4324B2BA-1E3E-47CB-A97A-66D200477017}"/>
          </ac:grpSpMkLst>
        </pc:grpChg>
        <pc:grpChg chg="add del mod">
          <ac:chgData name="Hasan Senol Coskun" userId="88cd95f7b86daa2f" providerId="LiveId" clId="{0A1DC79D-782D-493E-B89A-90325507C91B}" dt="2020-11-13T18:37:40.861" v="1122" actId="478"/>
          <ac:grpSpMkLst>
            <pc:docMk/>
            <pc:sldMk cId="3139383374" sldId="1747256658"/>
            <ac:grpSpMk id="324" creationId="{50DD1180-6389-4FB5-AA27-27BCB89B2DFF}"/>
          </ac:grpSpMkLst>
        </pc:grpChg>
        <pc:picChg chg="add mod">
          <ac:chgData name="Hasan Senol Coskun" userId="88cd95f7b86daa2f" providerId="LiveId" clId="{0A1DC79D-782D-493E-B89A-90325507C91B}" dt="2020-11-13T18:39:19.410" v="1129" actId="14100"/>
          <ac:picMkLst>
            <pc:docMk/>
            <pc:sldMk cId="3139383374" sldId="1747256658"/>
            <ac:picMk id="369" creationId="{5F24A62D-67A7-4855-A88A-EF471B641AA4}"/>
          </ac:picMkLst>
        </pc:picChg>
        <pc:cxnChg chg="mod">
          <ac:chgData name="Hasan Senol Coskun" userId="88cd95f7b86daa2f" providerId="LiveId" clId="{0A1DC79D-782D-493E-B89A-90325507C91B}" dt="2020-11-13T18:34:07.426" v="1104" actId="14100"/>
          <ac:cxnSpMkLst>
            <pc:docMk/>
            <pc:sldMk cId="3139383374" sldId="1747256658"/>
            <ac:cxnSpMk id="23" creationId="{85D31CA4-478F-4055-9C2F-7319978F8A89}"/>
          </ac:cxnSpMkLst>
        </pc:cxnChg>
        <pc:cxnChg chg="mod">
          <ac:chgData name="Hasan Senol Coskun" userId="88cd95f7b86daa2f" providerId="LiveId" clId="{0A1DC79D-782D-493E-B89A-90325507C91B}" dt="2020-11-13T18:34:07.426" v="1104" actId="14100"/>
          <ac:cxnSpMkLst>
            <pc:docMk/>
            <pc:sldMk cId="3139383374" sldId="1747256658"/>
            <ac:cxnSpMk id="24" creationId="{A160E6B2-A7EE-4CBF-85A5-29F0B63D2FC4}"/>
          </ac:cxnSpMkLst>
        </pc:cxnChg>
        <pc:cxnChg chg="mod">
          <ac:chgData name="Hasan Senol Coskun" userId="88cd95f7b86daa2f" providerId="LiveId" clId="{0A1DC79D-782D-493E-B89A-90325507C91B}" dt="2020-11-13T18:34:52.809" v="1110" actId="1076"/>
          <ac:cxnSpMkLst>
            <pc:docMk/>
            <pc:sldMk cId="3139383374" sldId="1747256658"/>
            <ac:cxnSpMk id="241" creationId="{082254EA-83BB-4D00-9F4A-DB814EDF4D76}"/>
          </ac:cxnSpMkLst>
        </pc:cxnChg>
        <pc:cxnChg chg="mod">
          <ac:chgData name="Hasan Senol Coskun" userId="88cd95f7b86daa2f" providerId="LiveId" clId="{0A1DC79D-782D-493E-B89A-90325507C91B}" dt="2020-11-13T18:34:52.809" v="1110" actId="1076"/>
          <ac:cxnSpMkLst>
            <pc:docMk/>
            <pc:sldMk cId="3139383374" sldId="1747256658"/>
            <ac:cxnSpMk id="242" creationId="{7EC3346A-41F1-4932-AEE3-593AB4AB98BD}"/>
          </ac:cxnSpMkLst>
        </pc:cxnChg>
        <pc:cxnChg chg="mod">
          <ac:chgData name="Hasan Senol Coskun" userId="88cd95f7b86daa2f" providerId="LiveId" clId="{0A1DC79D-782D-493E-B89A-90325507C91B}" dt="2020-11-13T18:36:01.979" v="1116" actId="14100"/>
          <ac:cxnSpMkLst>
            <pc:docMk/>
            <pc:sldMk cId="3139383374" sldId="1747256658"/>
            <ac:cxnSpMk id="286" creationId="{7F79FF24-A36D-4030-A12B-A86322A1D559}"/>
          </ac:cxnSpMkLst>
        </pc:cxnChg>
        <pc:cxnChg chg="mod">
          <ac:chgData name="Hasan Senol Coskun" userId="88cd95f7b86daa2f" providerId="LiveId" clId="{0A1DC79D-782D-493E-B89A-90325507C91B}" dt="2020-11-13T18:36:01.979" v="1116" actId="14100"/>
          <ac:cxnSpMkLst>
            <pc:docMk/>
            <pc:sldMk cId="3139383374" sldId="1747256658"/>
            <ac:cxnSpMk id="287" creationId="{5E35C556-0B76-4DBF-85BB-5343506CF440}"/>
          </ac:cxnSpMkLst>
        </pc:cxnChg>
        <pc:cxnChg chg="mod">
          <ac:chgData name="Hasan Senol Coskun" userId="88cd95f7b86daa2f" providerId="LiveId" clId="{0A1DC79D-782D-493E-B89A-90325507C91B}" dt="2020-11-13T18:37:36.501" v="1121" actId="1076"/>
          <ac:cxnSpMkLst>
            <pc:docMk/>
            <pc:sldMk cId="3139383374" sldId="1747256658"/>
            <ac:cxnSpMk id="364" creationId="{658C5297-A2F3-423D-821E-D372C08D3D74}"/>
          </ac:cxnSpMkLst>
        </pc:cxnChg>
        <pc:cxnChg chg="mod">
          <ac:chgData name="Hasan Senol Coskun" userId="88cd95f7b86daa2f" providerId="LiveId" clId="{0A1DC79D-782D-493E-B89A-90325507C91B}" dt="2020-11-13T18:37:36.501" v="1121" actId="1076"/>
          <ac:cxnSpMkLst>
            <pc:docMk/>
            <pc:sldMk cId="3139383374" sldId="1747256658"/>
            <ac:cxnSpMk id="365" creationId="{0E8D6D27-4818-42CD-9F30-E8640DD1CE97}"/>
          </ac:cxnSpMkLst>
        </pc:cxnChg>
      </pc:sldChg>
      <pc:sldChg chg="addSp delSp modSp new mod modClrScheme chgLayout">
        <pc:chgData name="Hasan Senol Coskun" userId="88cd95f7b86daa2f" providerId="LiveId" clId="{0A1DC79D-782D-493E-B89A-90325507C91B}" dt="2020-11-14T08:32:42.598" v="3941" actId="478"/>
        <pc:sldMkLst>
          <pc:docMk/>
          <pc:sldMk cId="3860793648" sldId="1747256659"/>
        </pc:sldMkLst>
        <pc:spChg chg="del mod ord">
          <ac:chgData name="Hasan Senol Coskun" userId="88cd95f7b86daa2f" providerId="LiveId" clId="{0A1DC79D-782D-493E-B89A-90325507C91B}" dt="2020-11-13T18:41:08.448" v="1152" actId="700"/>
          <ac:spMkLst>
            <pc:docMk/>
            <pc:sldMk cId="3860793648" sldId="1747256659"/>
            <ac:spMk id="2" creationId="{9FAAB387-7578-4343-AF08-99BD9E547F6C}"/>
          </ac:spMkLst>
        </pc:spChg>
        <pc:spChg chg="add del mod ord">
          <ac:chgData name="Hasan Senol Coskun" userId="88cd95f7b86daa2f" providerId="LiveId" clId="{0A1DC79D-782D-493E-B89A-90325507C91B}" dt="2020-11-14T08:31:26.263" v="3894" actId="12084"/>
          <ac:spMkLst>
            <pc:docMk/>
            <pc:sldMk cId="3860793648" sldId="1747256659"/>
            <ac:spMk id="2" creationId="{FD19AD54-31AB-4CA3-8AAB-24E1D9DD6376}"/>
          </ac:spMkLst>
        </pc:spChg>
        <pc:spChg chg="del mod ord">
          <ac:chgData name="Hasan Senol Coskun" userId="88cd95f7b86daa2f" providerId="LiveId" clId="{0A1DC79D-782D-493E-B89A-90325507C91B}" dt="2020-11-14T08:32:42.598" v="3941" actId="478"/>
          <ac:spMkLst>
            <pc:docMk/>
            <pc:sldMk cId="3860793648" sldId="1747256659"/>
            <ac:spMk id="3" creationId="{3D8F9162-F301-48A9-A32E-A99B3105079E}"/>
          </ac:spMkLst>
        </pc:spChg>
        <pc:spChg chg="add mod ord">
          <ac:chgData name="Hasan Senol Coskun" userId="88cd95f7b86daa2f" providerId="LiveId" clId="{0A1DC79D-782D-493E-B89A-90325507C91B}" dt="2020-11-14T08:28:10.695" v="3689" actId="20577"/>
          <ac:spMkLst>
            <pc:docMk/>
            <pc:sldMk cId="3860793648" sldId="1747256659"/>
            <ac:spMk id="4" creationId="{C5917A72-92B0-447A-A5BB-65F058E01D7E}"/>
          </ac:spMkLst>
        </pc:spChg>
        <pc:graphicFrameChg chg="add del mod">
          <ac:chgData name="Hasan Senol Coskun" userId="88cd95f7b86daa2f" providerId="LiveId" clId="{0A1DC79D-782D-493E-B89A-90325507C91B}" dt="2020-11-14T08:29:58.195" v="3794" actId="12084"/>
          <ac:graphicFrameMkLst>
            <pc:docMk/>
            <pc:sldMk cId="3860793648" sldId="1747256659"/>
            <ac:graphicFrameMk id="5" creationId="{4B1281B1-FA42-4506-87F6-6B8EAECDE662}"/>
          </ac:graphicFrameMkLst>
        </pc:graphicFrameChg>
        <pc:graphicFrameChg chg="add mod">
          <ac:chgData name="Hasan Senol Coskun" userId="88cd95f7b86daa2f" providerId="LiveId" clId="{0A1DC79D-782D-493E-B89A-90325507C91B}" dt="2020-11-14T08:32:37.929" v="3940" actId="207"/>
          <ac:graphicFrameMkLst>
            <pc:docMk/>
            <pc:sldMk cId="3860793648" sldId="1747256659"/>
            <ac:graphicFrameMk id="6" creationId="{9712A05E-3BB0-434D-B1D1-D7560F4C3273}"/>
          </ac:graphicFrameMkLst>
        </pc:graphicFrameChg>
      </pc:sldChg>
      <pc:sldChg chg="addSp delSp modSp new mod modClrScheme chgLayout">
        <pc:chgData name="Hasan Senol Coskun" userId="88cd95f7b86daa2f" providerId="LiveId" clId="{0A1DC79D-782D-493E-B89A-90325507C91B}" dt="2020-11-13T19:49:21.884" v="1507" actId="1076"/>
        <pc:sldMkLst>
          <pc:docMk/>
          <pc:sldMk cId="2609290649" sldId="1747256660"/>
        </pc:sldMkLst>
        <pc:spChg chg="del mod ord">
          <ac:chgData name="Hasan Senol Coskun" userId="88cd95f7b86daa2f" providerId="LiveId" clId="{0A1DC79D-782D-493E-B89A-90325507C91B}" dt="2020-11-13T18:41:26.117" v="1170" actId="700"/>
          <ac:spMkLst>
            <pc:docMk/>
            <pc:sldMk cId="2609290649" sldId="1747256660"/>
            <ac:spMk id="2" creationId="{3FB1A987-F7CC-4AF0-A93A-5EC4F4997C81}"/>
          </ac:spMkLst>
        </pc:spChg>
        <pc:spChg chg="del mod ord">
          <ac:chgData name="Hasan Senol Coskun" userId="88cd95f7b86daa2f" providerId="LiveId" clId="{0A1DC79D-782D-493E-B89A-90325507C91B}" dt="2020-11-13T19:41:55.468" v="1494" actId="478"/>
          <ac:spMkLst>
            <pc:docMk/>
            <pc:sldMk cId="2609290649" sldId="1747256660"/>
            <ac:spMk id="3" creationId="{843ADCEC-82F6-4137-A4FA-409E8E5AC37B}"/>
          </ac:spMkLst>
        </pc:spChg>
        <pc:spChg chg="add mod ord">
          <ac:chgData name="Hasan Senol Coskun" userId="88cd95f7b86daa2f" providerId="LiveId" clId="{0A1DC79D-782D-493E-B89A-90325507C91B}" dt="2020-11-13T18:43:40.650" v="1205" actId="20577"/>
          <ac:spMkLst>
            <pc:docMk/>
            <pc:sldMk cId="2609290649" sldId="1747256660"/>
            <ac:spMk id="4" creationId="{4AC2E3D7-6684-403E-AE08-F59AD10B23CB}"/>
          </ac:spMkLst>
        </pc:spChg>
        <pc:spChg chg="mod">
          <ac:chgData name="Hasan Senol Coskun" userId="88cd95f7b86daa2f" providerId="LiveId" clId="{0A1DC79D-782D-493E-B89A-90325507C91B}" dt="2020-11-13T18:41:31.989" v="1171"/>
          <ac:spMkLst>
            <pc:docMk/>
            <pc:sldMk cId="2609290649" sldId="1747256660"/>
            <ac:spMk id="6" creationId="{0D7B8347-9671-446A-B17A-F0EBBE480F3F}"/>
          </ac:spMkLst>
        </pc:spChg>
        <pc:spChg chg="mod">
          <ac:chgData name="Hasan Senol Coskun" userId="88cd95f7b86daa2f" providerId="LiveId" clId="{0A1DC79D-782D-493E-B89A-90325507C91B}" dt="2020-11-13T18:41:31.989" v="1171"/>
          <ac:spMkLst>
            <pc:docMk/>
            <pc:sldMk cId="2609290649" sldId="1747256660"/>
            <ac:spMk id="7" creationId="{515171FE-ABB0-4B24-82C6-F2388958E4A4}"/>
          </ac:spMkLst>
        </pc:spChg>
        <pc:spChg chg="mod">
          <ac:chgData name="Hasan Senol Coskun" userId="88cd95f7b86daa2f" providerId="LiveId" clId="{0A1DC79D-782D-493E-B89A-90325507C91B}" dt="2020-11-13T18:41:31.989" v="1171"/>
          <ac:spMkLst>
            <pc:docMk/>
            <pc:sldMk cId="2609290649" sldId="1747256660"/>
            <ac:spMk id="8" creationId="{15AA3A8B-01C7-4342-960A-EF7DCCB55823}"/>
          </ac:spMkLst>
        </pc:spChg>
        <pc:spChg chg="mod">
          <ac:chgData name="Hasan Senol Coskun" userId="88cd95f7b86daa2f" providerId="LiveId" clId="{0A1DC79D-782D-493E-B89A-90325507C91B}" dt="2020-11-13T18:41:31.989" v="1171"/>
          <ac:spMkLst>
            <pc:docMk/>
            <pc:sldMk cId="2609290649" sldId="1747256660"/>
            <ac:spMk id="9" creationId="{0A780787-A308-43AE-A5EA-E5935CD15306}"/>
          </ac:spMkLst>
        </pc:spChg>
        <pc:spChg chg="mod topLvl">
          <ac:chgData name="Hasan Senol Coskun" userId="88cd95f7b86daa2f" providerId="LiveId" clId="{0A1DC79D-782D-493E-B89A-90325507C91B}" dt="2020-11-13T19:42:22.771" v="1496" actId="164"/>
          <ac:spMkLst>
            <pc:docMk/>
            <pc:sldMk cId="2609290649" sldId="1747256660"/>
            <ac:spMk id="11" creationId="{D23F597B-B517-4850-99E9-FC52BA23B002}"/>
          </ac:spMkLst>
        </pc:spChg>
        <pc:spChg chg="mod topLvl">
          <ac:chgData name="Hasan Senol Coskun" userId="88cd95f7b86daa2f" providerId="LiveId" clId="{0A1DC79D-782D-493E-B89A-90325507C91B}" dt="2020-11-13T19:42:22.771" v="1496" actId="164"/>
          <ac:spMkLst>
            <pc:docMk/>
            <pc:sldMk cId="2609290649" sldId="1747256660"/>
            <ac:spMk id="12" creationId="{05AE03F8-6504-4144-8187-23A098E3796A}"/>
          </ac:spMkLst>
        </pc:spChg>
        <pc:spChg chg="mod topLvl">
          <ac:chgData name="Hasan Senol Coskun" userId="88cd95f7b86daa2f" providerId="LiveId" clId="{0A1DC79D-782D-493E-B89A-90325507C91B}" dt="2020-11-13T19:42:22.771" v="1496" actId="164"/>
          <ac:spMkLst>
            <pc:docMk/>
            <pc:sldMk cId="2609290649" sldId="1747256660"/>
            <ac:spMk id="13" creationId="{922B9322-66B1-4966-BAFA-C580EE4D551D}"/>
          </ac:spMkLst>
        </pc:spChg>
        <pc:spChg chg="mod topLvl">
          <ac:chgData name="Hasan Senol Coskun" userId="88cd95f7b86daa2f" providerId="LiveId" clId="{0A1DC79D-782D-493E-B89A-90325507C91B}" dt="2020-11-13T19:42:22.771" v="1496" actId="164"/>
          <ac:spMkLst>
            <pc:docMk/>
            <pc:sldMk cId="2609290649" sldId="1747256660"/>
            <ac:spMk id="14" creationId="{9EFF2E68-72FC-42BB-8011-6608C09CF0E8}"/>
          </ac:spMkLst>
        </pc:spChg>
        <pc:spChg chg="mod topLvl">
          <ac:chgData name="Hasan Senol Coskun" userId="88cd95f7b86daa2f" providerId="LiveId" clId="{0A1DC79D-782D-493E-B89A-90325507C91B}" dt="2020-11-13T19:42:22.771" v="1496" actId="164"/>
          <ac:spMkLst>
            <pc:docMk/>
            <pc:sldMk cId="2609290649" sldId="1747256660"/>
            <ac:spMk id="15" creationId="{F2094C8E-EADC-4AD8-8B17-38CF3AB7A407}"/>
          </ac:spMkLst>
        </pc:spChg>
        <pc:spChg chg="mod topLvl">
          <ac:chgData name="Hasan Senol Coskun" userId="88cd95f7b86daa2f" providerId="LiveId" clId="{0A1DC79D-782D-493E-B89A-90325507C91B}" dt="2020-11-13T19:42:22.771" v="1496" actId="164"/>
          <ac:spMkLst>
            <pc:docMk/>
            <pc:sldMk cId="2609290649" sldId="1747256660"/>
            <ac:spMk id="16" creationId="{DDC9F400-D869-4A94-A3AF-93CA561ADEB7}"/>
          </ac:spMkLst>
        </pc:spChg>
        <pc:spChg chg="mod topLvl">
          <ac:chgData name="Hasan Senol Coskun" userId="88cd95f7b86daa2f" providerId="LiveId" clId="{0A1DC79D-782D-493E-B89A-90325507C91B}" dt="2020-11-13T19:42:22.771" v="1496" actId="164"/>
          <ac:spMkLst>
            <pc:docMk/>
            <pc:sldMk cId="2609290649" sldId="1747256660"/>
            <ac:spMk id="17" creationId="{CCF7BA35-BB32-467D-BD2A-D24E31CEA4D6}"/>
          </ac:spMkLst>
        </pc:spChg>
        <pc:spChg chg="mod topLvl">
          <ac:chgData name="Hasan Senol Coskun" userId="88cd95f7b86daa2f" providerId="LiveId" clId="{0A1DC79D-782D-493E-B89A-90325507C91B}" dt="2020-11-13T19:42:22.771" v="1496" actId="164"/>
          <ac:spMkLst>
            <pc:docMk/>
            <pc:sldMk cId="2609290649" sldId="1747256660"/>
            <ac:spMk id="18" creationId="{20B2D471-AAB7-4C30-BBEE-B8B9A280BD42}"/>
          </ac:spMkLst>
        </pc:spChg>
        <pc:spChg chg="mod topLvl">
          <ac:chgData name="Hasan Senol Coskun" userId="88cd95f7b86daa2f" providerId="LiveId" clId="{0A1DC79D-782D-493E-B89A-90325507C91B}" dt="2020-11-13T19:42:22.771" v="1496" actId="164"/>
          <ac:spMkLst>
            <pc:docMk/>
            <pc:sldMk cId="2609290649" sldId="1747256660"/>
            <ac:spMk id="19" creationId="{7B57859B-1CAB-4FCF-A5A6-23082259ABE0}"/>
          </ac:spMkLst>
        </pc:spChg>
        <pc:spChg chg="mod topLvl">
          <ac:chgData name="Hasan Senol Coskun" userId="88cd95f7b86daa2f" providerId="LiveId" clId="{0A1DC79D-782D-493E-B89A-90325507C91B}" dt="2020-11-13T19:42:22.771" v="1496" actId="164"/>
          <ac:spMkLst>
            <pc:docMk/>
            <pc:sldMk cId="2609290649" sldId="1747256660"/>
            <ac:spMk id="20" creationId="{F259FB9A-0A1D-440D-B5E9-101DC67DCB63}"/>
          </ac:spMkLst>
        </pc:spChg>
        <pc:grpChg chg="add del mod">
          <ac:chgData name="Hasan Senol Coskun" userId="88cd95f7b86daa2f" providerId="LiveId" clId="{0A1DC79D-782D-493E-B89A-90325507C91B}" dt="2020-11-13T18:42:32.442" v="1172" actId="478"/>
          <ac:grpSpMkLst>
            <pc:docMk/>
            <pc:sldMk cId="2609290649" sldId="1747256660"/>
            <ac:grpSpMk id="5" creationId="{91EA47C0-F8AC-43E8-983F-DF9458397DCE}"/>
          </ac:grpSpMkLst>
        </pc:grpChg>
        <pc:grpChg chg="add del mod">
          <ac:chgData name="Hasan Senol Coskun" userId="88cd95f7b86daa2f" providerId="LiveId" clId="{0A1DC79D-782D-493E-B89A-90325507C91B}" dt="2020-11-13T19:42:13.048" v="1495" actId="165"/>
          <ac:grpSpMkLst>
            <pc:docMk/>
            <pc:sldMk cId="2609290649" sldId="1747256660"/>
            <ac:grpSpMk id="10" creationId="{E8D6B60E-A960-47AE-8A79-F07162D2EEC8}"/>
          </ac:grpSpMkLst>
        </pc:grpChg>
        <pc:grpChg chg="add del mod">
          <ac:chgData name="Hasan Senol Coskun" userId="88cd95f7b86daa2f" providerId="LiveId" clId="{0A1DC79D-782D-493E-B89A-90325507C91B}" dt="2020-11-13T19:49:10.581" v="1503" actId="478"/>
          <ac:grpSpMkLst>
            <pc:docMk/>
            <pc:sldMk cId="2609290649" sldId="1747256660"/>
            <ac:grpSpMk id="21" creationId="{024E82BF-AF6F-4C75-B63D-EC7016B9CEC9}"/>
          </ac:grpSpMkLst>
        </pc:grpChg>
        <pc:picChg chg="add mod ord">
          <ac:chgData name="Hasan Senol Coskun" userId="88cd95f7b86daa2f" providerId="LiveId" clId="{0A1DC79D-782D-493E-B89A-90325507C91B}" dt="2020-11-13T19:49:21.884" v="1507" actId="1076"/>
          <ac:picMkLst>
            <pc:docMk/>
            <pc:sldMk cId="2609290649" sldId="1747256660"/>
            <ac:picMk id="22" creationId="{346DF2AE-6ABB-4239-8D14-1A906218D148}"/>
          </ac:picMkLst>
        </pc:picChg>
        <pc:picChg chg="add mod">
          <ac:chgData name="Hasan Senol Coskun" userId="88cd95f7b86daa2f" providerId="LiveId" clId="{0A1DC79D-782D-493E-B89A-90325507C91B}" dt="2020-11-13T19:49:19.380" v="1506" actId="1076"/>
          <ac:picMkLst>
            <pc:docMk/>
            <pc:sldMk cId="2609290649" sldId="1747256660"/>
            <ac:picMk id="24" creationId="{15E157B5-9FCA-46D1-A8CE-E82A740DAACC}"/>
          </ac:picMkLst>
        </pc:picChg>
      </pc:sldChg>
      <pc:sldChg chg="addSp modSp new mod chgLayout">
        <pc:chgData name="Hasan Senol Coskun" userId="88cd95f7b86daa2f" providerId="LiveId" clId="{0A1DC79D-782D-493E-B89A-90325507C91B}" dt="2020-11-13T18:49:48.110" v="1231" actId="1038"/>
        <pc:sldMkLst>
          <pc:docMk/>
          <pc:sldMk cId="3126487458" sldId="1747256661"/>
        </pc:sldMkLst>
        <pc:spChg chg="mod ord">
          <ac:chgData name="Hasan Senol Coskun" userId="88cd95f7b86daa2f" providerId="LiveId" clId="{0A1DC79D-782D-493E-B89A-90325507C91B}" dt="2020-11-13T18:46:44.789" v="1221" actId="20577"/>
          <ac:spMkLst>
            <pc:docMk/>
            <pc:sldMk cId="3126487458" sldId="1747256661"/>
            <ac:spMk id="2" creationId="{D95F9E63-8B1E-4019-A321-C74223F4B278}"/>
          </ac:spMkLst>
        </pc:spChg>
        <pc:spChg chg="mod">
          <ac:chgData name="Hasan Senol Coskun" userId="88cd95f7b86daa2f" providerId="LiveId" clId="{0A1DC79D-782D-493E-B89A-90325507C91B}" dt="2020-11-13T18:45:51.124" v="1207"/>
          <ac:spMkLst>
            <pc:docMk/>
            <pc:sldMk cId="3126487458" sldId="1747256661"/>
            <ac:spMk id="5" creationId="{AFCC87F9-9447-49CB-90DE-D03B3DCB2C2C}"/>
          </ac:spMkLst>
        </pc:spChg>
        <pc:spChg chg="mod">
          <ac:chgData name="Hasan Senol Coskun" userId="88cd95f7b86daa2f" providerId="LiveId" clId="{0A1DC79D-782D-493E-B89A-90325507C91B}" dt="2020-11-13T18:45:51.124" v="1207"/>
          <ac:spMkLst>
            <pc:docMk/>
            <pc:sldMk cId="3126487458" sldId="1747256661"/>
            <ac:spMk id="6" creationId="{23D8A80A-657F-4147-B820-1D618DCE1B4C}"/>
          </ac:spMkLst>
        </pc:spChg>
        <pc:spChg chg="mod">
          <ac:chgData name="Hasan Senol Coskun" userId="88cd95f7b86daa2f" providerId="LiveId" clId="{0A1DC79D-782D-493E-B89A-90325507C91B}" dt="2020-11-13T18:45:51.124" v="1207"/>
          <ac:spMkLst>
            <pc:docMk/>
            <pc:sldMk cId="3126487458" sldId="1747256661"/>
            <ac:spMk id="7" creationId="{61C96F88-B7F3-4AFF-B850-57329CA79B02}"/>
          </ac:spMkLst>
        </pc:spChg>
        <pc:spChg chg="mod">
          <ac:chgData name="Hasan Senol Coskun" userId="88cd95f7b86daa2f" providerId="LiveId" clId="{0A1DC79D-782D-493E-B89A-90325507C91B}" dt="2020-11-13T18:45:51.124" v="1207"/>
          <ac:spMkLst>
            <pc:docMk/>
            <pc:sldMk cId="3126487458" sldId="1747256661"/>
            <ac:spMk id="8" creationId="{AE9AF2DD-1848-45F9-BFE5-4815695B2D9C}"/>
          </ac:spMkLst>
        </pc:spChg>
        <pc:spChg chg="mod">
          <ac:chgData name="Hasan Senol Coskun" userId="88cd95f7b86daa2f" providerId="LiveId" clId="{0A1DC79D-782D-493E-B89A-90325507C91B}" dt="2020-11-13T18:45:51.124" v="1207"/>
          <ac:spMkLst>
            <pc:docMk/>
            <pc:sldMk cId="3126487458" sldId="1747256661"/>
            <ac:spMk id="9" creationId="{0C32F60A-4233-4797-9E47-2E582B6B561F}"/>
          </ac:spMkLst>
        </pc:spChg>
        <pc:spChg chg="mod">
          <ac:chgData name="Hasan Senol Coskun" userId="88cd95f7b86daa2f" providerId="LiveId" clId="{0A1DC79D-782D-493E-B89A-90325507C91B}" dt="2020-11-13T18:45:51.124" v="1207"/>
          <ac:spMkLst>
            <pc:docMk/>
            <pc:sldMk cId="3126487458" sldId="1747256661"/>
            <ac:spMk id="10" creationId="{B998C99D-8297-4662-958C-EFD6CD15532E}"/>
          </ac:spMkLst>
        </pc:spChg>
        <pc:spChg chg="mod">
          <ac:chgData name="Hasan Senol Coskun" userId="88cd95f7b86daa2f" providerId="LiveId" clId="{0A1DC79D-782D-493E-B89A-90325507C91B}" dt="2020-11-13T18:45:51.124" v="1207"/>
          <ac:spMkLst>
            <pc:docMk/>
            <pc:sldMk cId="3126487458" sldId="1747256661"/>
            <ac:spMk id="11" creationId="{52A5AB85-D97A-42F5-967D-0E28356A4313}"/>
          </ac:spMkLst>
        </pc:spChg>
        <pc:spChg chg="mod">
          <ac:chgData name="Hasan Senol Coskun" userId="88cd95f7b86daa2f" providerId="LiveId" clId="{0A1DC79D-782D-493E-B89A-90325507C91B}" dt="2020-11-13T18:45:51.124" v="1207"/>
          <ac:spMkLst>
            <pc:docMk/>
            <pc:sldMk cId="3126487458" sldId="1747256661"/>
            <ac:spMk id="12" creationId="{57FED0A3-C603-4CDF-B114-880CD5EAFB0E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14" creationId="{CF3DEEA0-D462-43B6-B661-127B08600EE5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15" creationId="{FB7ACDA5-8604-4C99-AD44-ED96EA586A1F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16" creationId="{4CA2EE21-4C14-4076-A61D-4DE7FD623DE3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17" creationId="{54C2C3E2-2194-4F85-8E67-4C28A765FB48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18" creationId="{B52504EB-0E5C-40E4-9C16-BC37E37AE208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19" creationId="{5BAA3F0D-395D-4036-AE65-DAE41E28D1DB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20" creationId="{EFB5E4A0-2FFC-4B24-B2AE-087A72527B8A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21" creationId="{CB8894B7-3D7D-43ED-B7F2-9602A1BF3576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22" creationId="{557471A5-D87E-4B33-A09F-BAA0D5263E7A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23" creationId="{DAFC2D33-B39C-418F-9AE6-71EFCA87E1B8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24" creationId="{6A82FCAE-0F3D-44C3-9929-6791E4743E30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25" creationId="{94D5F74E-169B-45C1-A04F-4477457068DE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26" creationId="{129DE282-B216-44F3-918A-B9D4BA03F396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27" creationId="{E8C9A45F-5A2C-460B-A244-389125D5DF05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28" creationId="{D8CAA2AD-EB44-4C24-B634-2CC2D7A28F7D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29" creationId="{5872CBD4-BD47-41E7-BD1B-7A4CDF384520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30" creationId="{525E35F8-1E5F-4B7C-A484-A02024DCA8BB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31" creationId="{729FA728-913A-4FED-87BD-8AC05FAAEF8C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32" creationId="{57951D2E-B1A7-4764-939B-1E00038B1B67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33" creationId="{E4806761-B3B0-4F47-AAF4-498A3866CD01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34" creationId="{426B31E6-799B-4951-80AB-691BBA705572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35" creationId="{87019B2C-800D-4FA4-A43D-40447CC806B3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36" creationId="{FCB586E5-07C5-4645-B37F-63E987E51DFD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37" creationId="{CD9FCED0-B525-494E-AEFC-532A5D0946F9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38" creationId="{451FF63D-74A3-4D88-B617-23546E51FCBE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39" creationId="{75D7122B-14A7-4D49-AAD2-5FF3A97FA2DD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40" creationId="{17974902-80A1-4ACA-B0C3-A9A54A828738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41" creationId="{546B7FB8-BB76-4E70-91B3-1AE57C07434D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42" creationId="{A55810F9-A7E2-4054-BD52-788DF01720EC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43" creationId="{CDF532EC-12E9-41B1-A792-86E6870750B4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44" creationId="{7BC78506-336B-4032-A4C7-A1C672AA94A5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45" creationId="{DF73DB01-2C6C-40FC-8731-AF0674AB2886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46" creationId="{7E210047-7B58-49DB-AA5B-2A9EA8E6B99F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47" creationId="{664C2FA9-FE91-461F-B883-51AAAA7D96C3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48" creationId="{5C22F3E9-F4D1-408A-826E-389E7503B9CC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49" creationId="{3CEBC887-7CD4-4D64-8D8C-336F58887BEF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50" creationId="{6BA84D8C-69D5-4068-832A-2B418FAF2511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51" creationId="{F52AE9FC-ABF6-4060-87C7-B553D1705F18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52" creationId="{DF9FB91E-9553-4D16-AE21-1F4702A4BA10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53" creationId="{9AD58869-885A-4773-805E-F7980D0D1388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54" creationId="{1E6FB272-4E3E-4386-A6E2-7B1E5A0AB3C2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55" creationId="{9A7D460D-3FF0-4B94-9BA1-CD73A1A18629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56" creationId="{30B009AF-5162-4B8A-954D-93266DFD7D6C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57" creationId="{110F8184-A1CC-4F27-A2F6-120A809E0EE9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58" creationId="{1FC4FD2B-AAB3-485B-9F9D-24865C9BCD59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59" creationId="{290DB2FA-B227-4EA2-AEA9-403CCEAC3AED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60" creationId="{FAEBB755-3576-466C-A98A-B6652ACB6C8F}"/>
          </ac:spMkLst>
        </pc:spChg>
        <pc:spChg chg="mod">
          <ac:chgData name="Hasan Senol Coskun" userId="88cd95f7b86daa2f" providerId="LiveId" clId="{0A1DC79D-782D-493E-B89A-90325507C91B}" dt="2020-11-13T18:48:19.161" v="1223" actId="1076"/>
          <ac:spMkLst>
            <pc:docMk/>
            <pc:sldMk cId="3126487458" sldId="1747256661"/>
            <ac:spMk id="61" creationId="{B1A3DD03-4F02-4CD7-B33B-1ACBD8D64248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63" creationId="{7D9DB34A-281D-4161-9066-FEAD15E630BE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64" creationId="{D9215363-EA3D-4CD3-A4DB-81F838AE6B94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65" creationId="{747F582B-0460-408E-9C24-337DD73A2E2B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66" creationId="{420E8D9D-E521-4046-8770-FF5D9E23FAA5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67" creationId="{7C37C5ED-6B4C-4C36-9F49-F4022E8783C1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68" creationId="{DA27A85F-6FC0-4315-A62F-F82002F50853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69" creationId="{016922DA-EAA0-42D9-BE49-62FD8008A9CA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70" creationId="{8B34A32F-3A5B-49A7-A246-21B16EF01E6D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71" creationId="{519394EB-6D71-4860-A2B3-A6268571081F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72" creationId="{20EC502E-8271-48B6-B6F1-E8408FBD8536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73" creationId="{124199F8-5D0D-4658-AAFB-DAF9BF9230F0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74" creationId="{072AFD9D-58E6-4E13-8FF0-81A0CF30AFF0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75" creationId="{369B9AEE-89DC-4820-BB73-BD8B29D30051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76" creationId="{D9BA9F1A-20C7-49B1-9658-EC6F246C15B1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77" creationId="{F9E0C6D9-9DCB-4AA4-BEDD-CB594D16CDDE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78" creationId="{39DCE485-F09F-4BBF-9FEA-57B04639DCD4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79" creationId="{9BE85125-43FA-4234-8D65-B00FCEA78B39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80" creationId="{28C9D002-C61A-438D-AD68-12B7E3036BF9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81" creationId="{C49BB68C-C5DE-4F72-ADDB-23106DBBE805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82" creationId="{CFB4381A-6E64-456C-B033-322999AACEB1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83" creationId="{3013CC73-AEF6-4E37-9BD3-2C3A3AC0A95B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84" creationId="{B66BFB01-B2E7-447A-823C-5B7151BCD421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85" creationId="{050FBA19-425F-484E-A470-80E084B143A1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86" creationId="{AFC2E501-8FA8-4E34-AF83-FE21AD5E56C9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87" creationId="{94B59507-C31B-4228-8CF5-C60ACB6ADE0F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88" creationId="{5ED10FFA-8815-46A1-949E-E0064DFA04F7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89" creationId="{EE0FB852-06D8-477C-9028-52F00C004B6C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90" creationId="{7B7738D2-BB04-453A-96DF-C42BA42EAD6B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91" creationId="{EEBC9B9F-ED6E-4672-A7AC-5EFC62251137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92" creationId="{60B9A239-19A4-403F-A1CB-B57D1ABDBEF9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95" creationId="{06163CF7-406C-4AD3-9CDD-BD3D61BF4657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96" creationId="{4D01B0B2-CB9B-4C46-A44A-CDC2E8E1C9D6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97" creationId="{E561CBEB-8123-4B82-B694-7D45ADA45777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98" creationId="{1DE220EC-3F76-4F91-894E-C9CB9C76C4AD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99" creationId="{769C76BA-A4E8-46AA-BBF8-EB7F9A04FDBC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100" creationId="{2CA7E86B-7C06-48CF-A971-523108564D77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101" creationId="{273AB0D8-4487-4610-BCA8-8FA65153E6F8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102" creationId="{2AA26746-DDCB-401B-BC79-CE571B3B1CD8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103" creationId="{7622CCC5-81D1-4D04-BDA7-A867201F6446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104" creationId="{F572C952-A12C-4EA3-8DE1-C7B71A553773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105" creationId="{8F8225B0-3400-40D0-924B-DA943232EBEA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106" creationId="{4646BDA3-C2E9-4FC4-A59A-78F990161682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107" creationId="{14FA5D9D-2561-4906-B950-8F3C97B72956}"/>
          </ac:spMkLst>
        </pc:spChg>
        <pc:spChg chg="mod">
          <ac:chgData name="Hasan Senol Coskun" userId="88cd95f7b86daa2f" providerId="LiveId" clId="{0A1DC79D-782D-493E-B89A-90325507C91B}" dt="2020-11-13T18:49:48.110" v="1231" actId="1038"/>
          <ac:spMkLst>
            <pc:docMk/>
            <pc:sldMk cId="3126487458" sldId="1747256661"/>
            <ac:spMk id="108" creationId="{359D4495-1C9B-4310-9358-1EA163FA3DFB}"/>
          </ac:spMkLst>
        </pc:spChg>
        <pc:grpChg chg="add mod">
          <ac:chgData name="Hasan Senol Coskun" userId="88cd95f7b86daa2f" providerId="LiveId" clId="{0A1DC79D-782D-493E-B89A-90325507C91B}" dt="2020-11-13T18:49:32.547" v="1228" actId="1076"/>
          <ac:grpSpMkLst>
            <pc:docMk/>
            <pc:sldMk cId="3126487458" sldId="1747256661"/>
            <ac:grpSpMk id="3" creationId="{12BDD512-04D2-4B2B-B901-8E3A772F7CA0}"/>
          </ac:grpSpMkLst>
        </pc:grpChg>
        <pc:grpChg chg="mod">
          <ac:chgData name="Hasan Senol Coskun" userId="88cd95f7b86daa2f" providerId="LiveId" clId="{0A1DC79D-782D-493E-B89A-90325507C91B}" dt="2020-11-13T18:45:51.124" v="1207"/>
          <ac:grpSpMkLst>
            <pc:docMk/>
            <pc:sldMk cId="3126487458" sldId="1747256661"/>
            <ac:grpSpMk id="4" creationId="{C5EDAB02-9415-470A-8B28-450BB82C374D}"/>
          </ac:grpSpMkLst>
        </pc:grpChg>
        <pc:grpChg chg="add mod">
          <ac:chgData name="Hasan Senol Coskun" userId="88cd95f7b86daa2f" providerId="LiveId" clId="{0A1DC79D-782D-493E-B89A-90325507C91B}" dt="2020-11-13T18:48:19.161" v="1223" actId="1076"/>
          <ac:grpSpMkLst>
            <pc:docMk/>
            <pc:sldMk cId="3126487458" sldId="1747256661"/>
            <ac:grpSpMk id="13" creationId="{119D78DC-AC0B-4777-8597-99067E1BA63D}"/>
          </ac:grpSpMkLst>
        </pc:grpChg>
        <pc:grpChg chg="add mod">
          <ac:chgData name="Hasan Senol Coskun" userId="88cd95f7b86daa2f" providerId="LiveId" clId="{0A1DC79D-782D-493E-B89A-90325507C91B}" dt="2020-11-13T18:49:48.110" v="1231" actId="1038"/>
          <ac:grpSpMkLst>
            <pc:docMk/>
            <pc:sldMk cId="3126487458" sldId="1747256661"/>
            <ac:grpSpMk id="62" creationId="{4DA3F49A-DCBF-4C7D-A2CB-38EED1D2D3FB}"/>
          </ac:grpSpMkLst>
        </pc:grpChg>
        <pc:cxnChg chg="mod">
          <ac:chgData name="Hasan Senol Coskun" userId="88cd95f7b86daa2f" providerId="LiveId" clId="{0A1DC79D-782D-493E-B89A-90325507C91B}" dt="2020-11-13T18:49:48.110" v="1231" actId="1038"/>
          <ac:cxnSpMkLst>
            <pc:docMk/>
            <pc:sldMk cId="3126487458" sldId="1747256661"/>
            <ac:cxnSpMk id="93" creationId="{C3940BA1-E695-4C8C-A735-FD63FBC5BBD8}"/>
          </ac:cxnSpMkLst>
        </pc:cxnChg>
        <pc:cxnChg chg="mod">
          <ac:chgData name="Hasan Senol Coskun" userId="88cd95f7b86daa2f" providerId="LiveId" clId="{0A1DC79D-782D-493E-B89A-90325507C91B}" dt="2020-11-13T18:49:48.110" v="1231" actId="1038"/>
          <ac:cxnSpMkLst>
            <pc:docMk/>
            <pc:sldMk cId="3126487458" sldId="1747256661"/>
            <ac:cxnSpMk id="94" creationId="{6FCCF449-79BF-43EC-AF5E-A45D77F18D9E}"/>
          </ac:cxnSpMkLst>
        </pc:cxnChg>
      </pc:sldChg>
      <pc:sldChg chg="addSp delSp modSp new mod modClrScheme chgLayout">
        <pc:chgData name="Hasan Senol Coskun" userId="88cd95f7b86daa2f" providerId="LiveId" clId="{0A1DC79D-782D-493E-B89A-90325507C91B}" dt="2020-11-13T18:56:27.852" v="1302" actId="20577"/>
        <pc:sldMkLst>
          <pc:docMk/>
          <pc:sldMk cId="3727183510" sldId="1747256662"/>
        </pc:sldMkLst>
        <pc:spChg chg="del mod ord">
          <ac:chgData name="Hasan Senol Coskun" userId="88cd95f7b86daa2f" providerId="LiveId" clId="{0A1DC79D-782D-493E-B89A-90325507C91B}" dt="2020-11-13T18:51:24.147" v="1244" actId="700"/>
          <ac:spMkLst>
            <pc:docMk/>
            <pc:sldMk cId="3727183510" sldId="1747256662"/>
            <ac:spMk id="2" creationId="{C596836E-DB7E-48C5-84AA-1BB4FF35FDCA}"/>
          </ac:spMkLst>
        </pc:spChg>
        <pc:spChg chg="add del mod ord">
          <ac:chgData name="Hasan Senol Coskun" userId="88cd95f7b86daa2f" providerId="LiveId" clId="{0A1DC79D-782D-493E-B89A-90325507C91B}" dt="2020-11-13T18:55:36.199" v="1285" actId="700"/>
          <ac:spMkLst>
            <pc:docMk/>
            <pc:sldMk cId="3727183510" sldId="1747256662"/>
            <ac:spMk id="3" creationId="{9FE23440-4B30-41CD-8D74-64A48793BFD1}"/>
          </ac:spMkLst>
        </pc:spChg>
        <pc:spChg chg="add mod ord">
          <ac:chgData name="Hasan Senol Coskun" userId="88cd95f7b86daa2f" providerId="LiveId" clId="{0A1DC79D-782D-493E-B89A-90325507C91B}" dt="2020-11-13T18:55:36.199" v="1285" actId="700"/>
          <ac:spMkLst>
            <pc:docMk/>
            <pc:sldMk cId="3727183510" sldId="1747256662"/>
            <ac:spMk id="4" creationId="{B22CDA61-7096-488B-9191-411BB7C2C3C1}"/>
          </ac:spMkLst>
        </pc:spChg>
        <pc:spChg chg="add del mod ord">
          <ac:chgData name="Hasan Senol Coskun" userId="88cd95f7b86daa2f" providerId="LiveId" clId="{0A1DC79D-782D-493E-B89A-90325507C91B}" dt="2020-11-13T18:51:46.845" v="1247" actId="478"/>
          <ac:spMkLst>
            <pc:docMk/>
            <pc:sldMk cId="3727183510" sldId="1747256662"/>
            <ac:spMk id="5" creationId="{54D3A0E6-558F-41FA-A5C3-A5D16E3FE7EF}"/>
          </ac:spMkLst>
        </pc:spChg>
        <pc:spChg chg="add mod ord">
          <ac:chgData name="Hasan Senol Coskun" userId="88cd95f7b86daa2f" providerId="LiveId" clId="{0A1DC79D-782D-493E-B89A-90325507C91B}" dt="2020-11-13T18:55:36.199" v="1285" actId="700"/>
          <ac:spMkLst>
            <pc:docMk/>
            <pc:sldMk cId="3727183510" sldId="1747256662"/>
            <ac:spMk id="6" creationId="{69F03D69-D5B5-46FF-8DFD-BE792B070CC6}"/>
          </ac:spMkLst>
        </pc:spChg>
        <pc:spChg chg="add del mod ord">
          <ac:chgData name="Hasan Senol Coskun" userId="88cd95f7b86daa2f" providerId="LiveId" clId="{0A1DC79D-782D-493E-B89A-90325507C91B}" dt="2020-11-13T18:54:39.631" v="1273" actId="22"/>
          <ac:spMkLst>
            <pc:docMk/>
            <pc:sldMk cId="3727183510" sldId="1747256662"/>
            <ac:spMk id="7" creationId="{A6A05057-AA96-4817-BD6D-3BDB70BCA784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9" creationId="{95E6DFEC-0709-4FD1-9C0A-12CAF9BDC03B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11" creationId="{B9BEC613-B469-4C93-8E1F-FB92CC25D6B2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12" creationId="{36E014A4-53E8-4C24-B331-E63E156CD0A8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13" creationId="{9C80A8BB-7667-4BF9-ACC7-02F8B3CFD38D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14" creationId="{D0E44108-C344-4968-A9A3-4901D4C6E291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15" creationId="{68921E9C-042A-466B-B2BB-10293308149F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16" creationId="{D240F90B-38DC-4971-A866-9CEA5589CCAA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17" creationId="{8108B30F-C130-4B45-8693-5EC294289CAE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18" creationId="{6F2CB192-0620-4A20-878C-2B70E64481C3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19" creationId="{7CD5B700-8B6A-4EB9-B13F-AAA4C958F171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20" creationId="{92874228-6CA8-47C3-B56A-751017DF8C8F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21" creationId="{D5274194-87D3-4A9B-91E1-CABBF6FD9168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22" creationId="{66C68A4A-52F2-4F6E-A34B-1482C0C89361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23" creationId="{0C358AF5-7D25-4A0B-A250-B4B0A9605157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24" creationId="{5A32540F-D198-4E56-B28F-0997DC563A03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25" creationId="{1D0D1541-D6A2-48EB-B9BE-906E516086FF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26" creationId="{8CD70054-108F-4FAC-9F08-7C9B22BBF4E3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27" creationId="{B0B17AB1-BC6A-4487-8340-51472FD8427C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28" creationId="{6FA41E3F-1B6E-4B58-BDBC-A01310F9807B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29" creationId="{73BD69F6-C585-4C79-9128-0B8FB258DF82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30" creationId="{BFE83792-9D20-4DA7-A236-FE7F5621C36E}"/>
          </ac:spMkLst>
        </pc:spChg>
        <pc:spChg chg="mod">
          <ac:chgData name="Hasan Senol Coskun" userId="88cd95f7b86daa2f" providerId="LiveId" clId="{0A1DC79D-782D-493E-B89A-90325507C91B}" dt="2020-11-13T18:51:33.288" v="1246" actId="1076"/>
          <ac:spMkLst>
            <pc:docMk/>
            <pc:sldMk cId="3727183510" sldId="1747256662"/>
            <ac:spMk id="31" creationId="{F127F5FF-7E09-4CB3-8019-E4D6289D0D11}"/>
          </ac:spMkLst>
        </pc:spChg>
        <pc:spChg chg="add mod ord">
          <ac:chgData name="Hasan Senol Coskun" userId="88cd95f7b86daa2f" providerId="LiveId" clId="{0A1DC79D-782D-493E-B89A-90325507C91B}" dt="2020-11-13T18:56:27.852" v="1302" actId="20577"/>
          <ac:spMkLst>
            <pc:docMk/>
            <pc:sldMk cId="3727183510" sldId="1747256662"/>
            <ac:spMk id="34" creationId="{E5DFD3BA-0FBD-46E9-B234-CDB7B32A0FB0}"/>
          </ac:spMkLst>
        </pc:spChg>
        <pc:spChg chg="add del mod ord">
          <ac:chgData name="Hasan Senol Coskun" userId="88cd95f7b86daa2f" providerId="LiveId" clId="{0A1DC79D-782D-493E-B89A-90325507C91B}" dt="2020-11-13T18:56:08.830" v="1287" actId="22"/>
          <ac:spMkLst>
            <pc:docMk/>
            <pc:sldMk cId="3727183510" sldId="1747256662"/>
            <ac:spMk id="35" creationId="{57BAA76E-98AB-4AD5-93BE-F42F66FF1B5C}"/>
          </ac:spMkLst>
        </pc:spChg>
        <pc:grpChg chg="add del mod">
          <ac:chgData name="Hasan Senol Coskun" userId="88cd95f7b86daa2f" providerId="LiveId" clId="{0A1DC79D-782D-493E-B89A-90325507C91B}" dt="2020-11-13T18:55:46.553" v="1286" actId="478"/>
          <ac:grpSpMkLst>
            <pc:docMk/>
            <pc:sldMk cId="3727183510" sldId="1747256662"/>
            <ac:grpSpMk id="8" creationId="{2080C2F2-64FB-4F69-8A42-76ABC61C7C9D}"/>
          </ac:grpSpMkLst>
        </pc:grpChg>
        <pc:grpChg chg="mod">
          <ac:chgData name="Hasan Senol Coskun" userId="88cd95f7b86daa2f" providerId="LiveId" clId="{0A1DC79D-782D-493E-B89A-90325507C91B}" dt="2020-11-13T18:51:33.288" v="1246" actId="1076"/>
          <ac:grpSpMkLst>
            <pc:docMk/>
            <pc:sldMk cId="3727183510" sldId="1747256662"/>
            <ac:grpSpMk id="10" creationId="{E640E513-2D88-4DDE-97D8-B9BE8A82580E}"/>
          </ac:grpSpMkLst>
        </pc:grpChg>
        <pc:picChg chg="add mod ord">
          <ac:chgData name="Hasan Senol Coskun" userId="88cd95f7b86daa2f" providerId="LiveId" clId="{0A1DC79D-782D-493E-B89A-90325507C91B}" dt="2020-11-13T18:55:36.199" v="1285" actId="700"/>
          <ac:picMkLst>
            <pc:docMk/>
            <pc:sldMk cId="3727183510" sldId="1747256662"/>
            <ac:picMk id="33" creationId="{25AF8962-7ABF-4329-A7D5-9F3277A73328}"/>
          </ac:picMkLst>
        </pc:picChg>
        <pc:picChg chg="add mod ord">
          <ac:chgData name="Hasan Senol Coskun" userId="88cd95f7b86daa2f" providerId="LiveId" clId="{0A1DC79D-782D-493E-B89A-90325507C91B}" dt="2020-11-13T18:56:08.830" v="1287" actId="22"/>
          <ac:picMkLst>
            <pc:docMk/>
            <pc:sldMk cId="3727183510" sldId="1747256662"/>
            <ac:picMk id="37" creationId="{73224282-2D37-4FE2-9525-37D7A2F9C9B1}"/>
          </ac:picMkLst>
        </pc:picChg>
      </pc:sldChg>
      <pc:sldChg chg="addSp delSp modSp new mod ord modClrScheme chgLayout">
        <pc:chgData name="Hasan Senol Coskun" userId="88cd95f7b86daa2f" providerId="LiveId" clId="{0A1DC79D-782D-493E-B89A-90325507C91B}" dt="2020-11-13T21:41:18.828" v="2843" actId="20577"/>
        <pc:sldMkLst>
          <pc:docMk/>
          <pc:sldMk cId="1560166917" sldId="1747256663"/>
        </pc:sldMkLst>
        <pc:spChg chg="del">
          <ac:chgData name="Hasan Senol Coskun" userId="88cd95f7b86daa2f" providerId="LiveId" clId="{0A1DC79D-782D-493E-B89A-90325507C91B}" dt="2020-11-13T19:00:55.998" v="1305" actId="700"/>
          <ac:spMkLst>
            <pc:docMk/>
            <pc:sldMk cId="1560166917" sldId="1747256663"/>
            <ac:spMk id="2" creationId="{92F1DC65-052F-4A16-9386-FABEF0D4D698}"/>
          </ac:spMkLst>
        </pc:spChg>
        <pc:spChg chg="del">
          <ac:chgData name="Hasan Senol Coskun" userId="88cd95f7b86daa2f" providerId="LiveId" clId="{0A1DC79D-782D-493E-B89A-90325507C91B}" dt="2020-11-13T19:00:55.998" v="1305" actId="700"/>
          <ac:spMkLst>
            <pc:docMk/>
            <pc:sldMk cId="1560166917" sldId="1747256663"/>
            <ac:spMk id="3" creationId="{A5A55C6E-B79D-4EE5-AB55-6430AD1FA3E7}"/>
          </ac:spMkLst>
        </pc:spChg>
        <pc:spChg chg="del">
          <ac:chgData name="Hasan Senol Coskun" userId="88cd95f7b86daa2f" providerId="LiveId" clId="{0A1DC79D-782D-493E-B89A-90325507C91B}" dt="2020-11-13T19:00:55.998" v="1305" actId="700"/>
          <ac:spMkLst>
            <pc:docMk/>
            <pc:sldMk cId="1560166917" sldId="1747256663"/>
            <ac:spMk id="4" creationId="{FABE5F41-AAC1-4742-B035-67EA4D4DE35B}"/>
          </ac:spMkLst>
        </pc:spChg>
        <pc:spChg chg="del">
          <ac:chgData name="Hasan Senol Coskun" userId="88cd95f7b86daa2f" providerId="LiveId" clId="{0A1DC79D-782D-493E-B89A-90325507C91B}" dt="2020-11-13T19:00:55.998" v="1305" actId="700"/>
          <ac:spMkLst>
            <pc:docMk/>
            <pc:sldMk cId="1560166917" sldId="1747256663"/>
            <ac:spMk id="5" creationId="{4E10A1F9-0D21-483C-B351-A8768AACCE1B}"/>
          </ac:spMkLst>
        </pc:spChg>
        <pc:spChg chg="del mod ord">
          <ac:chgData name="Hasan Senol Coskun" userId="88cd95f7b86daa2f" providerId="LiveId" clId="{0A1DC79D-782D-493E-B89A-90325507C91B}" dt="2020-11-13T19:00:55.998" v="1305" actId="700"/>
          <ac:spMkLst>
            <pc:docMk/>
            <pc:sldMk cId="1560166917" sldId="1747256663"/>
            <ac:spMk id="6" creationId="{6DF2A88D-420F-487C-AD97-118D9231A8BF}"/>
          </ac:spMkLst>
        </pc:spChg>
        <pc:spChg chg="add mod ord">
          <ac:chgData name="Hasan Senol Coskun" userId="88cd95f7b86daa2f" providerId="LiveId" clId="{0A1DC79D-782D-493E-B89A-90325507C91B}" dt="2020-11-13T21:41:18.828" v="2843" actId="20577"/>
          <ac:spMkLst>
            <pc:docMk/>
            <pc:sldMk cId="1560166917" sldId="1747256663"/>
            <ac:spMk id="7" creationId="{FFCDB78D-A671-4254-95BE-82B5542A8A76}"/>
          </ac:spMkLst>
        </pc:spChg>
        <pc:spChg chg="add del mod">
          <ac:chgData name="Hasan Senol Coskun" userId="88cd95f7b86daa2f" providerId="LiveId" clId="{0A1DC79D-782D-493E-B89A-90325507C91B}" dt="2020-11-13T19:01:07.455" v="1311" actId="478"/>
          <ac:spMkLst>
            <pc:docMk/>
            <pc:sldMk cId="1560166917" sldId="1747256663"/>
            <ac:spMk id="10" creationId="{4C84546C-90ED-4DF7-8E27-E146BF288E20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12" creationId="{9D810E30-9D27-43FF-AE33-DD7C9BEF3FEE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13" creationId="{2E2F71AF-C2BD-4E14-A3C6-CC8AE13F58AA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14" creationId="{32FD7524-562E-4411-B377-EE6EAAABC666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27" creationId="{7FA90DE3-F82E-4AA9-AC90-82E7FFD918B2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28" creationId="{2B422634-5ABB-402E-BACC-3935AB4B3ECB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29" creationId="{4BD0B234-9EE4-4CB5-AC76-F5DBA1ACB918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30" creationId="{785AB5B5-1705-4C54-9F6D-A1F318310352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31" creationId="{34261BD1-0F7A-4566-8167-97EDBE6241D3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32" creationId="{F0833D75-1ADA-4C1A-A971-76A7DDAF5AF4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33" creationId="{86A97466-8D50-4BF9-9B7E-6624C8CF9580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34" creationId="{4434624A-B4EC-4081-9E49-673FD6561279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35" creationId="{F9714E59-6641-4CF3-9E49-5891471966E5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36" creationId="{5CD5034A-A528-47B4-9484-605A14084514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37" creationId="{8683C13A-40A7-4F3D-9679-FDCD5AA998E8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38" creationId="{39693781-3D06-4E50-8723-D56AFE92644E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39" creationId="{5617ABF1-A5A6-4C35-A063-F83867E4445A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40" creationId="{52062A00-45AB-4F3D-B569-53BE1AA1BCB8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41" creationId="{7C790635-B53B-4971-9C51-F14EDD08593F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42" creationId="{8D6B2131-4C7D-4DED-BBE4-E4A20870AFD3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43" creationId="{CC4B9847-FD36-4DC9-9D7A-16299D13AB8E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44" creationId="{07CED066-E3A2-4037-9106-1AE72FDBD673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45" creationId="{AF39F762-B0D4-49E2-8674-5172D79E804B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46" creationId="{1A7A5AF5-A7E6-4E6B-8E05-304C7D10BE68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55" creationId="{27EC9FA7-DC56-4A29-8C2C-EA043A6AB4BF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56" creationId="{C5AFA2CC-8173-49BF-88C7-DCC7D6B9D8BE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57" creationId="{2C9D9A2F-EF1C-4544-B66D-7195B0ABF27E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58" creationId="{E7E017B8-4434-4E47-BD7A-2FFE373B12AB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59" creationId="{375E9031-1685-483E-AA21-C3EBA309DA40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60" creationId="{5B741ECD-8197-441A-A337-81B173BB79EE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61" creationId="{410AC63C-61F4-4797-88C6-4B1DA203655D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69" creationId="{013C5BC3-51D3-4FCE-8952-630AC93EB1A0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70" creationId="{78146FF1-F6F8-4641-AD9D-79E27B043668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71" creationId="{CC961117-3559-4E31-ABE7-E85A7A4531E9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72" creationId="{9AAB5A85-6663-4E26-A111-DC5940930870}"/>
          </ac:spMkLst>
        </pc:spChg>
        <pc:spChg chg="mod">
          <ac:chgData name="Hasan Senol Coskun" userId="88cd95f7b86daa2f" providerId="LiveId" clId="{0A1DC79D-782D-493E-B89A-90325507C91B}" dt="2020-11-13T21:40:49.188" v="2821" actId="207"/>
          <ac:spMkLst>
            <pc:docMk/>
            <pc:sldMk cId="1560166917" sldId="1747256663"/>
            <ac:spMk id="73" creationId="{9C055285-AF5B-40FF-BFE9-3F0749264BD8}"/>
          </ac:spMkLst>
        </pc:spChg>
        <pc:grpChg chg="add mod">
          <ac:chgData name="Hasan Senol Coskun" userId="88cd95f7b86daa2f" providerId="LiveId" clId="{0A1DC79D-782D-493E-B89A-90325507C91B}" dt="2020-11-13T21:40:39.939" v="2819" actId="1076"/>
          <ac:grpSpMkLst>
            <pc:docMk/>
            <pc:sldMk cId="1560166917" sldId="1747256663"/>
            <ac:grpSpMk id="11" creationId="{D2159A42-9923-49C9-A2B1-6A0141E652F0}"/>
          </ac:grpSpMkLst>
        </pc:grpChg>
        <pc:picChg chg="add del">
          <ac:chgData name="Hasan Senol Coskun" userId="88cd95f7b86daa2f" providerId="LiveId" clId="{0A1DC79D-782D-493E-B89A-90325507C91B}" dt="2020-11-13T19:01:04.216" v="1309" actId="22"/>
          <ac:picMkLst>
            <pc:docMk/>
            <pc:sldMk cId="1560166917" sldId="1747256663"/>
            <ac:picMk id="9" creationId="{9821B9BC-C911-4AAA-9035-1843E3D3E8DB}"/>
          </ac:picMkLst>
        </pc:pic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15" creationId="{F54D59F2-6A10-4991-97AE-1459A00B65C6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16" creationId="{73EF08C8-B50D-4806-9F7A-AE5D6D80A6FA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17" creationId="{3D5EA852-2621-42B2-8878-7312AF37FE77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18" creationId="{7FBEBCCF-7E01-4B63-9185-0ABECC4EDB6A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19" creationId="{9B8B96CC-F10A-477D-8563-2CBB43F03734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20" creationId="{FCF8B639-3B5E-4412-895A-89A4171DBB72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21" creationId="{60E3F929-7011-473F-A43B-046B196F8C10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22" creationId="{B538EEBE-4420-4CDC-BA15-65896FF97A98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23" creationId="{1DCE66A9-F1B7-479C-9F86-3481C4AEBFBE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24" creationId="{11516F71-75F6-420C-BEC3-17CBD9B5A2FB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25" creationId="{B3137B98-3B71-4FC7-A40B-0BBC920CFFFC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26" creationId="{0C2C5D0F-6352-4EF8-8C3A-B189CB72FC8D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47" creationId="{E7B85C9D-536C-488C-A465-2DD3DA156848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48" creationId="{15CCBCBE-AEF8-4D49-93AB-FB7EB13AF781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49" creationId="{BC10EAC4-2FA8-4A27-8AF3-C73A7CC62A30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50" creationId="{6E51CEE8-92A2-4469-8C2E-E5C8C9861AFA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51" creationId="{BE8A63CA-1B4D-46F8-A3D4-E22AC8ACECAC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52" creationId="{0981C0CF-2BF1-4EBC-B15E-44BB50221169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53" creationId="{257D26C8-6B7B-4C67-98A1-5B1A54BD8ED7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54" creationId="{F4DE9E29-4726-437B-8907-8B2CFBFA43C1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62" creationId="{632837B6-24A9-4934-8103-30D9CAE454E3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63" creationId="{0B01ACB7-8783-4D1C-8C96-3FB0C9E9FE56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64" creationId="{8712E9F1-2E64-4E16-A818-A22B47F5E3B3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65" creationId="{44850830-9F37-4984-99F1-8FF47809E59D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66" creationId="{65D3BF86-FE84-42A6-AB1F-1BC5F7103A5B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67" creationId="{21BFB002-F9F6-4072-99DA-BA6420F73DF4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68" creationId="{771FA744-D3F5-48D0-8880-2A1F130425C7}"/>
          </ac:cxnSpMkLst>
        </pc:cxnChg>
        <pc:cxnChg chg="mod">
          <ac:chgData name="Hasan Senol Coskun" userId="88cd95f7b86daa2f" providerId="LiveId" clId="{0A1DC79D-782D-493E-B89A-90325507C91B}" dt="2020-11-13T19:01:57.075" v="1312"/>
          <ac:cxnSpMkLst>
            <pc:docMk/>
            <pc:sldMk cId="1560166917" sldId="1747256663"/>
            <ac:cxnSpMk id="74" creationId="{2120822C-440E-4574-B620-C74E8F835515}"/>
          </ac:cxnSpMkLst>
        </pc:cxnChg>
        <pc:cxnChg chg="mod">
          <ac:chgData name="Hasan Senol Coskun" userId="88cd95f7b86daa2f" providerId="LiveId" clId="{0A1DC79D-782D-493E-B89A-90325507C91B}" dt="2020-11-13T21:40:43.507" v="2820" actId="1076"/>
          <ac:cxnSpMkLst>
            <pc:docMk/>
            <pc:sldMk cId="1560166917" sldId="1747256663"/>
            <ac:cxnSpMk id="75" creationId="{3DC7155B-F9DB-4A7F-8998-C6B9AB8BB808}"/>
          </ac:cxnSpMkLst>
        </pc:cxnChg>
      </pc:sldChg>
      <pc:sldChg chg="addSp modSp new mod">
        <pc:chgData name="Hasan Senol Coskun" userId="88cd95f7b86daa2f" providerId="LiveId" clId="{0A1DC79D-782D-493E-B89A-90325507C91B}" dt="2020-11-13T19:03:52.235" v="1340" actId="20577"/>
        <pc:sldMkLst>
          <pc:docMk/>
          <pc:sldMk cId="3976386531" sldId="1747256664"/>
        </pc:sldMkLst>
        <pc:spChg chg="mod">
          <ac:chgData name="Hasan Senol Coskun" userId="88cd95f7b86daa2f" providerId="LiveId" clId="{0A1DC79D-782D-493E-B89A-90325507C91B}" dt="2020-11-13T19:03:52.235" v="1340" actId="20577"/>
          <ac:spMkLst>
            <pc:docMk/>
            <pc:sldMk cId="3976386531" sldId="1747256664"/>
            <ac:spMk id="2" creationId="{EAAA920E-BBF4-4C97-8C56-AF607F91F3A3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4" creationId="{1E469EF0-266B-4F67-9736-031D62FDF981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5" creationId="{CE02F597-B351-4E0A-B790-94B43D48D3C4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6" creationId="{F3AB4913-930D-4744-9D87-8E7A24C5571C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7" creationId="{60B74B44-1E34-4B5F-A091-2CC805BC5404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8" creationId="{4BE0B110-456F-460B-BA13-DF7C834AA2B8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9" creationId="{F2953ECB-34BD-471D-9070-93A3A7E2929A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0" creationId="{7C0E07EF-BE00-4796-BE83-9C7B4F92EBB7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1" creationId="{5424B436-2790-4518-BF6A-FF9F4B4D438A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2" creationId="{D3CDCB71-2F24-495B-87A9-0407B26DCA49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3" creationId="{2FCCD815-1BBF-4C7A-80B1-63F3C56CE646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4" creationId="{2F36AC29-B080-4C87-90ED-0B767E0454B2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5" creationId="{3B60C13D-ADCD-4515-8C74-3D76BF343EA9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6" creationId="{E8EB0CEB-EC71-4666-8204-335A2EF85EA4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7" creationId="{7B66E1D7-9D2D-43B0-9F56-543B3A55718D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8" creationId="{7217FFD5-B4E6-4D0B-80C6-04D1B96944C9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9" creationId="{A9AD5613-7FFF-4FBA-A04D-3EB617FC83E8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20" creationId="{BB505232-73E8-42AF-B230-D2CEFE2858A2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21" creationId="{71B62A47-733C-4514-8416-BE754AC2BFC6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22" creationId="{F3580005-CD76-4784-ACD1-3DB6A4D028F4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23" creationId="{A537A3A5-F3DB-4412-9A42-8955E171CE85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24" creationId="{09E7BFF5-E5B6-472B-8FCE-5B82330F34EF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25" creationId="{94FD46E1-9F7E-4650-89EC-A2C1C70A31CD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26" creationId="{3022269A-EEB2-4CA1-B377-76B1F0192AD7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27" creationId="{EE56F24B-55F3-47A1-B24E-52FFDF0C1885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28" creationId="{63B46C0E-98CB-403E-8285-ADC999D6B25D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29" creationId="{C2CB93AC-92E4-44AE-9944-62D9CE356978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30" creationId="{2F6D7C79-00EC-47DE-BD9F-BFE663CECE65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31" creationId="{25A61E83-4787-4DC3-B2D1-1F857B24C962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32" creationId="{5A75C7D4-B97B-404C-A1EA-F2DEE1E480B1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33" creationId="{82A9125A-CF50-47EF-8A16-53904744B9B4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34" creationId="{7ED513B2-969F-4ACC-9C80-0EB204473768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35" creationId="{F9FA7F0F-5000-4643-AFCC-16CE092721C9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36" creationId="{8FA1D897-EA2D-45D2-B523-B0CF807C3A00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37" creationId="{2200A2F0-ECEF-40DB-BBA7-454AB235207E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38" creationId="{11021648-8C68-44BA-A2D0-A0F20F32786F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39" creationId="{3DA61164-7107-418A-BB62-C414FDE257A1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40" creationId="{027A6464-D1B1-420B-92AB-3A6EA5E9A6C6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41" creationId="{DE7C40E5-E518-44F1-912C-48E617A5EFD4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42" creationId="{4D0DFDFC-6A16-474C-8B41-DD643CB9646F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43" creationId="{6DE7BA3A-6426-4E68-A128-0D9AD4097284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44" creationId="{E53EBFF9-87D3-4F09-9AD3-3AA0E7E1E2E1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45" creationId="{8D6463A8-A45F-4B8C-93B1-24D8EAEC24D5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46" creationId="{50CB7EAE-CC7A-4CAB-B9B3-3D1506119776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47" creationId="{120568EC-85CD-4512-8796-573CD7D76A0E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48" creationId="{94FA93EC-F81F-4CD6-9D77-F9AF8E804683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49" creationId="{B7DC05D0-E8B3-4588-95BC-9E2773CC3938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50" creationId="{C7F21470-C3CB-4446-993C-113385B99FFB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51" creationId="{CF6EAC22-6FCD-4293-970D-4BA26D665A47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52" creationId="{82A40046-5EC7-467B-B942-C52A0C15002B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53" creationId="{43BB9843-F3F3-41F5-A2EA-B0FAF6EDBC43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54" creationId="{02A3EE4A-9136-4F5B-B8D5-9DCEC9A84BED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55" creationId="{F2B37C72-EF4B-4117-9891-886D23349C35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56" creationId="{C105A15B-E0EF-4988-959A-630231AC3FE0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57" creationId="{A5677A4F-2399-4AE1-8028-680961692030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58" creationId="{6FE273E1-4166-4EDD-B897-7DF6FBB19723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59" creationId="{55FB4240-0B5F-480E-A70E-7F95B0E002A2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60" creationId="{3C29AD6A-E89D-446E-954A-2546D5A649E2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61" creationId="{5B605052-CCF1-44F0-91A9-BE04094B5128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62" creationId="{4B06E580-DD29-45C2-A47D-F43454A6C7B7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63" creationId="{36568876-532B-4E53-A19A-1A41C7710DCE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64" creationId="{50F65FD7-9C04-48E6-8AE4-357DE8951F19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65" creationId="{EE7DD4AA-B692-4970-BE22-687BD5383D3F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66" creationId="{6DCD1D93-5463-4482-A79B-7BB840903B3C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67" creationId="{2D4D4C6F-2C17-41F0-A4E6-9086F2E72529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68" creationId="{F0B29E3B-65C1-4B6E-B425-391C6473023B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69" creationId="{C1FCCA16-18C8-47E8-847E-6C1785C18CAA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70" creationId="{2255B895-FE6F-4BB0-8AA7-CD4E7215C736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77" creationId="{E4BCE3DF-A033-4B0C-AE3E-761B05FF0254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78" creationId="{707D19DB-8853-4DCD-8C95-C8B6D74D0A29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79" creationId="{C847F164-7801-4D4C-B70B-D60BF7717D7A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80" creationId="{E859C588-9696-4D8D-B1A5-8F17012630D1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81" creationId="{B570A66A-7EED-4DE4-B311-DB59607E9473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82" creationId="{98DCF297-7F7F-4782-B2A1-1DCE05F3D19E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83" creationId="{CD6B1D06-001A-46C3-9E5A-9EBAF66EC229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84" creationId="{D09C6782-7BD3-4D4B-B485-5FE874B45158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85" creationId="{1F3541E2-2655-443F-AFBD-C60A63235EA5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86" creationId="{2093CA17-4E8B-4B19-9D98-AC5B8841F6AA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87" creationId="{78199B69-33C0-4AFD-8363-023300E0BDD5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88" creationId="{FF828F1E-A815-4E70-8D86-40400737A1D2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89" creationId="{DC41D310-C528-4DCA-8EE3-70711815E4C0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90" creationId="{E647C5C6-B411-43C9-8842-AE6FF69FE2E2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91" creationId="{4110C797-FDAD-4B9C-A29C-FEECF1553C50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92" creationId="{C1C63634-1549-4210-B76B-38AE1885501F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93" creationId="{A501A162-EC4E-4637-AF1B-9024AAFDD87E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94" creationId="{58502555-6974-4A4A-9AC0-4AA4FD990F90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95" creationId="{3E081549-37A6-4671-8F20-471DDAC0CE5C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96" creationId="{069D4F43-9870-4653-BDF9-A3EBA0C437DD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97" creationId="{F5DB54EF-C89D-4080-95E3-C844C581D9AD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98" creationId="{7B8F8689-473C-49A5-8ED5-F7406DD11234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99" creationId="{EF1C40B4-DBE1-4F6B-B567-A35CFAF071C0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00" creationId="{F69AE0BD-CC69-4694-A242-F888D8733E5F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01" creationId="{339B58BA-1162-470F-A47E-31C8DA9706FA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02" creationId="{7F2F55C8-2E8C-4BA9-85F1-E3AFD03E9FE8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03" creationId="{C2A1B80F-1DDF-44A6-B8A9-7A0630ED124D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04" creationId="{98473D9F-946E-42C9-81BE-70AC2E1CD890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05" creationId="{3DFEBA62-F4D2-44C5-8351-6C60D56E6824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06" creationId="{8EFB48E2-DBFC-4CD8-BE26-80B76DDB417B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07" creationId="{5842EC76-008B-4D8E-B77D-D7F52FB1497F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08" creationId="{D1DE99C9-18B6-40F7-9318-70DB709BCD07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09" creationId="{AB47F71D-CF88-4B67-AA67-60CF545B9968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10" creationId="{2CD36961-C16B-4B49-B157-F5534292A8E5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11" creationId="{920C552B-F7D5-45EB-8B9F-1B3DB62395E1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12" creationId="{1B8C00EA-20B7-45F5-94D1-EEAAA3C9F751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13" creationId="{FDBCC428-C89C-4C55-ADC3-4B9F01B092E4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14" creationId="{E261C91B-AF60-4899-B76E-23478E2DE2B9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15" creationId="{474695D7-857E-4200-ABCB-F92AD8AA4D03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16" creationId="{F08C59C2-9812-4959-A9DA-9D3339CBCA30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17" creationId="{7B4FF35B-25B3-4E73-9C40-1829FF01F617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18" creationId="{DD8A67DF-A66B-481A-BB43-B2AA205303E2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19" creationId="{F703E223-A2ED-4FF7-9205-AE5B4712B3F3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20" creationId="{A971BBB0-2496-4F8D-B77B-64FB3E7921C7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27" creationId="{B509EB0C-C08B-4C82-8B60-010C175EA552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28" creationId="{2D93A89D-EEAC-4968-85DC-2995B1617FF3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29" creationId="{DB19652E-87ED-468F-BBCE-368259D0B50C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30" creationId="{65DEEB57-1D4F-40EF-AEC1-E796205D1F76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31" creationId="{1712CC49-F9BA-4401-B844-893DAABA3F79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32" creationId="{56CB8D75-993F-4390-B0EB-D80B6AA3DA32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36" creationId="{C299272C-EEFF-4A7B-8172-84D39AF7025E}"/>
          </ac:spMkLst>
        </pc:spChg>
        <pc:spChg chg="mod">
          <ac:chgData name="Hasan Senol Coskun" userId="88cd95f7b86daa2f" providerId="LiveId" clId="{0A1DC79D-782D-493E-B89A-90325507C91B}" dt="2020-11-13T19:03:43.031" v="1333" actId="1076"/>
          <ac:spMkLst>
            <pc:docMk/>
            <pc:sldMk cId="3976386531" sldId="1747256664"/>
            <ac:spMk id="137" creationId="{618D3EC0-18D6-4CC8-9366-08E80CDCC61A}"/>
          </ac:spMkLst>
        </pc:spChg>
        <pc:grpChg chg="add mod">
          <ac:chgData name="Hasan Senol Coskun" userId="88cd95f7b86daa2f" providerId="LiveId" clId="{0A1DC79D-782D-493E-B89A-90325507C91B}" dt="2020-11-13T19:03:43.031" v="1333" actId="1076"/>
          <ac:grpSpMkLst>
            <pc:docMk/>
            <pc:sldMk cId="3976386531" sldId="1747256664"/>
            <ac:grpSpMk id="3" creationId="{D9ABE533-5B00-447D-8606-7605197819D1}"/>
          </ac:grpSpMkLst>
        </pc:grpChg>
        <pc:picChg chg="mod">
          <ac:chgData name="Hasan Senol Coskun" userId="88cd95f7b86daa2f" providerId="LiveId" clId="{0A1DC79D-782D-493E-B89A-90325507C91B}" dt="2020-11-13T19:03:43.031" v="1333" actId="1076"/>
          <ac:picMkLst>
            <pc:docMk/>
            <pc:sldMk cId="3976386531" sldId="1747256664"/>
            <ac:picMk id="135" creationId="{DF2E97B6-C118-4CEC-86C2-B86E2B2D0B10}"/>
          </ac:picMkLst>
        </pc:picChg>
        <pc:cxnChg chg="mod">
          <ac:chgData name="Hasan Senol Coskun" userId="88cd95f7b86daa2f" providerId="LiveId" clId="{0A1DC79D-782D-493E-B89A-90325507C91B}" dt="2020-11-13T19:03:43.031" v="1333" actId="1076"/>
          <ac:cxnSpMkLst>
            <pc:docMk/>
            <pc:sldMk cId="3976386531" sldId="1747256664"/>
            <ac:cxnSpMk id="71" creationId="{4D97DA68-3A3C-415B-833F-A5668A0B12BB}"/>
          </ac:cxnSpMkLst>
        </pc:cxnChg>
        <pc:cxnChg chg="mod">
          <ac:chgData name="Hasan Senol Coskun" userId="88cd95f7b86daa2f" providerId="LiveId" clId="{0A1DC79D-782D-493E-B89A-90325507C91B}" dt="2020-11-13T19:03:43.031" v="1333" actId="1076"/>
          <ac:cxnSpMkLst>
            <pc:docMk/>
            <pc:sldMk cId="3976386531" sldId="1747256664"/>
            <ac:cxnSpMk id="72" creationId="{C175B2C9-FD25-46B8-A314-BADE9B62B175}"/>
          </ac:cxnSpMkLst>
        </pc:cxnChg>
        <pc:cxnChg chg="mod">
          <ac:chgData name="Hasan Senol Coskun" userId="88cd95f7b86daa2f" providerId="LiveId" clId="{0A1DC79D-782D-493E-B89A-90325507C91B}" dt="2020-11-13T19:03:43.031" v="1333" actId="1076"/>
          <ac:cxnSpMkLst>
            <pc:docMk/>
            <pc:sldMk cId="3976386531" sldId="1747256664"/>
            <ac:cxnSpMk id="73" creationId="{98B1F7B4-EFD8-45D4-B6EA-A849408EA5F8}"/>
          </ac:cxnSpMkLst>
        </pc:cxnChg>
        <pc:cxnChg chg="mod">
          <ac:chgData name="Hasan Senol Coskun" userId="88cd95f7b86daa2f" providerId="LiveId" clId="{0A1DC79D-782D-493E-B89A-90325507C91B}" dt="2020-11-13T19:03:43.031" v="1333" actId="1076"/>
          <ac:cxnSpMkLst>
            <pc:docMk/>
            <pc:sldMk cId="3976386531" sldId="1747256664"/>
            <ac:cxnSpMk id="74" creationId="{2EA291A6-4FBF-43F1-9AE6-114F96C50FA9}"/>
          </ac:cxnSpMkLst>
        </pc:cxnChg>
        <pc:cxnChg chg="mod">
          <ac:chgData name="Hasan Senol Coskun" userId="88cd95f7b86daa2f" providerId="LiveId" clId="{0A1DC79D-782D-493E-B89A-90325507C91B}" dt="2020-11-13T19:03:43.031" v="1333" actId="1076"/>
          <ac:cxnSpMkLst>
            <pc:docMk/>
            <pc:sldMk cId="3976386531" sldId="1747256664"/>
            <ac:cxnSpMk id="75" creationId="{4A7E1FFB-370E-4039-B183-864985344B64}"/>
          </ac:cxnSpMkLst>
        </pc:cxnChg>
        <pc:cxnChg chg="mod">
          <ac:chgData name="Hasan Senol Coskun" userId="88cd95f7b86daa2f" providerId="LiveId" clId="{0A1DC79D-782D-493E-B89A-90325507C91B}" dt="2020-11-13T19:03:43.031" v="1333" actId="1076"/>
          <ac:cxnSpMkLst>
            <pc:docMk/>
            <pc:sldMk cId="3976386531" sldId="1747256664"/>
            <ac:cxnSpMk id="76" creationId="{424E4AF8-9687-401B-A40E-C500F4294CDB}"/>
          </ac:cxnSpMkLst>
        </pc:cxnChg>
        <pc:cxnChg chg="mod">
          <ac:chgData name="Hasan Senol Coskun" userId="88cd95f7b86daa2f" providerId="LiveId" clId="{0A1DC79D-782D-493E-B89A-90325507C91B}" dt="2020-11-13T19:03:43.031" v="1333" actId="1076"/>
          <ac:cxnSpMkLst>
            <pc:docMk/>
            <pc:sldMk cId="3976386531" sldId="1747256664"/>
            <ac:cxnSpMk id="121" creationId="{64EF8D24-2FD2-4994-A613-C2979EB98019}"/>
          </ac:cxnSpMkLst>
        </pc:cxnChg>
        <pc:cxnChg chg="mod">
          <ac:chgData name="Hasan Senol Coskun" userId="88cd95f7b86daa2f" providerId="LiveId" clId="{0A1DC79D-782D-493E-B89A-90325507C91B}" dt="2020-11-13T19:03:43.031" v="1333" actId="1076"/>
          <ac:cxnSpMkLst>
            <pc:docMk/>
            <pc:sldMk cId="3976386531" sldId="1747256664"/>
            <ac:cxnSpMk id="122" creationId="{3E8AE798-4C29-4D08-AE84-402E8E03AFC0}"/>
          </ac:cxnSpMkLst>
        </pc:cxnChg>
        <pc:cxnChg chg="mod">
          <ac:chgData name="Hasan Senol Coskun" userId="88cd95f7b86daa2f" providerId="LiveId" clId="{0A1DC79D-782D-493E-B89A-90325507C91B}" dt="2020-11-13T19:03:43.031" v="1333" actId="1076"/>
          <ac:cxnSpMkLst>
            <pc:docMk/>
            <pc:sldMk cId="3976386531" sldId="1747256664"/>
            <ac:cxnSpMk id="123" creationId="{38EDBB78-1F21-4698-8F8F-BC952CAE906F}"/>
          </ac:cxnSpMkLst>
        </pc:cxnChg>
        <pc:cxnChg chg="mod">
          <ac:chgData name="Hasan Senol Coskun" userId="88cd95f7b86daa2f" providerId="LiveId" clId="{0A1DC79D-782D-493E-B89A-90325507C91B}" dt="2020-11-13T19:03:43.031" v="1333" actId="1076"/>
          <ac:cxnSpMkLst>
            <pc:docMk/>
            <pc:sldMk cId="3976386531" sldId="1747256664"/>
            <ac:cxnSpMk id="124" creationId="{4EC7DCC6-8402-4467-ACAB-37698C73BDFD}"/>
          </ac:cxnSpMkLst>
        </pc:cxnChg>
        <pc:cxnChg chg="mod">
          <ac:chgData name="Hasan Senol Coskun" userId="88cd95f7b86daa2f" providerId="LiveId" clId="{0A1DC79D-782D-493E-B89A-90325507C91B}" dt="2020-11-13T19:03:43.031" v="1333" actId="1076"/>
          <ac:cxnSpMkLst>
            <pc:docMk/>
            <pc:sldMk cId="3976386531" sldId="1747256664"/>
            <ac:cxnSpMk id="125" creationId="{78CD3D2C-3BFA-4829-9DA1-1FE8886F9883}"/>
          </ac:cxnSpMkLst>
        </pc:cxnChg>
        <pc:cxnChg chg="mod">
          <ac:chgData name="Hasan Senol Coskun" userId="88cd95f7b86daa2f" providerId="LiveId" clId="{0A1DC79D-782D-493E-B89A-90325507C91B}" dt="2020-11-13T19:03:43.031" v="1333" actId="1076"/>
          <ac:cxnSpMkLst>
            <pc:docMk/>
            <pc:sldMk cId="3976386531" sldId="1747256664"/>
            <ac:cxnSpMk id="126" creationId="{78D7C08F-E3B9-4E4C-B7D9-3167BBAF1284}"/>
          </ac:cxnSpMkLst>
        </pc:cxnChg>
        <pc:cxnChg chg="mod">
          <ac:chgData name="Hasan Senol Coskun" userId="88cd95f7b86daa2f" providerId="LiveId" clId="{0A1DC79D-782D-493E-B89A-90325507C91B}" dt="2020-11-13T19:03:43.031" v="1333" actId="1076"/>
          <ac:cxnSpMkLst>
            <pc:docMk/>
            <pc:sldMk cId="3976386531" sldId="1747256664"/>
            <ac:cxnSpMk id="133" creationId="{3A25540D-EA1F-44E4-8337-08F956E687F0}"/>
          </ac:cxnSpMkLst>
        </pc:cxnChg>
        <pc:cxnChg chg="mod">
          <ac:chgData name="Hasan Senol Coskun" userId="88cd95f7b86daa2f" providerId="LiveId" clId="{0A1DC79D-782D-493E-B89A-90325507C91B}" dt="2020-11-13T19:03:43.031" v="1333" actId="1076"/>
          <ac:cxnSpMkLst>
            <pc:docMk/>
            <pc:sldMk cId="3976386531" sldId="1747256664"/>
            <ac:cxnSpMk id="134" creationId="{CE4EE3BE-C27A-4D99-AF15-75DA4A0A7443}"/>
          </ac:cxnSpMkLst>
        </pc:cxnChg>
      </pc:sldChg>
      <pc:sldChg chg="addSp delSp modSp new mod modClrScheme chgLayout">
        <pc:chgData name="Hasan Senol Coskun" userId="88cd95f7b86daa2f" providerId="LiveId" clId="{0A1DC79D-782D-493E-B89A-90325507C91B}" dt="2020-11-13T21:53:29.325" v="2976" actId="20577"/>
        <pc:sldMkLst>
          <pc:docMk/>
          <pc:sldMk cId="2522167091" sldId="1747256665"/>
        </pc:sldMkLst>
        <pc:spChg chg="del mod ord">
          <ac:chgData name="Hasan Senol Coskun" userId="88cd95f7b86daa2f" providerId="LiveId" clId="{0A1DC79D-782D-493E-B89A-90325507C91B}" dt="2020-11-13T19:12:15.201" v="1444" actId="700"/>
          <ac:spMkLst>
            <pc:docMk/>
            <pc:sldMk cId="2522167091" sldId="1747256665"/>
            <ac:spMk id="2" creationId="{F8B42DE1-6D7C-49F5-80A5-23CFE3334786}"/>
          </ac:spMkLst>
        </pc:spChg>
        <pc:spChg chg="add mod ord">
          <ac:chgData name="Hasan Senol Coskun" userId="88cd95f7b86daa2f" providerId="LiveId" clId="{0A1DC79D-782D-493E-B89A-90325507C91B}" dt="2020-11-13T21:53:29.325" v="2976" actId="20577"/>
          <ac:spMkLst>
            <pc:docMk/>
            <pc:sldMk cId="2522167091" sldId="1747256665"/>
            <ac:spMk id="3" creationId="{605C73FD-0AB7-4F46-9512-AABB5217F7D5}"/>
          </ac:spMkLst>
        </pc:spChg>
        <pc:graphicFrameChg chg="add mod modGraphic">
          <ac:chgData name="Hasan Senol Coskun" userId="88cd95f7b86daa2f" providerId="LiveId" clId="{0A1DC79D-782D-493E-B89A-90325507C91B}" dt="2020-11-13T19:13:41.880" v="1454" actId="207"/>
          <ac:graphicFrameMkLst>
            <pc:docMk/>
            <pc:sldMk cId="2522167091" sldId="1747256665"/>
            <ac:graphicFrameMk id="4" creationId="{7B20FEFA-751A-4948-9809-B8A03D0A7B3B}"/>
          </ac:graphicFrameMkLst>
        </pc:graphicFrameChg>
      </pc:sldChg>
      <pc:sldChg chg="addSp delSp modSp new mod">
        <pc:chgData name="Hasan Senol Coskun" userId="88cd95f7b86daa2f" providerId="LiveId" clId="{0A1DC79D-782D-493E-B89A-90325507C91B}" dt="2020-11-13T19:49:49.351" v="1512" actId="1076"/>
        <pc:sldMkLst>
          <pc:docMk/>
          <pc:sldMk cId="3091259498" sldId="1747256666"/>
        </pc:sldMkLst>
        <pc:spChg chg="mod">
          <ac:chgData name="Hasan Senol Coskun" userId="88cd95f7b86daa2f" providerId="LiveId" clId="{0A1DC79D-782D-493E-B89A-90325507C91B}" dt="2020-11-13T19:22:01.060" v="1470"/>
          <ac:spMkLst>
            <pc:docMk/>
            <pc:sldMk cId="3091259498" sldId="1747256666"/>
            <ac:spMk id="2" creationId="{EFEDC421-A328-497C-80FF-28A9F3A3ABE3}"/>
          </ac:spMkLst>
        </pc:spChg>
        <pc:spChg chg="mod">
          <ac:chgData name="Hasan Senol Coskun" userId="88cd95f7b86daa2f" providerId="LiveId" clId="{0A1DC79D-782D-493E-B89A-90325507C91B}" dt="2020-11-13T19:41:12.776" v="1490" actId="1076"/>
          <ac:spMkLst>
            <pc:docMk/>
            <pc:sldMk cId="3091259498" sldId="1747256666"/>
            <ac:spMk id="4" creationId="{0B06A878-C25F-40DA-825D-42A09A7AF245}"/>
          </ac:spMkLst>
        </pc:spChg>
        <pc:spChg chg="mod">
          <ac:chgData name="Hasan Senol Coskun" userId="88cd95f7b86daa2f" providerId="LiveId" clId="{0A1DC79D-782D-493E-B89A-90325507C91B}" dt="2020-11-13T19:41:12.776" v="1490" actId="1076"/>
          <ac:spMkLst>
            <pc:docMk/>
            <pc:sldMk cId="3091259498" sldId="1747256666"/>
            <ac:spMk id="5" creationId="{295607E5-0626-45D5-9329-54F8FAA19EE8}"/>
          </ac:spMkLst>
        </pc:spChg>
        <pc:spChg chg="mod">
          <ac:chgData name="Hasan Senol Coskun" userId="88cd95f7b86daa2f" providerId="LiveId" clId="{0A1DC79D-782D-493E-B89A-90325507C91B}" dt="2020-11-13T19:41:12.776" v="1490" actId="1076"/>
          <ac:spMkLst>
            <pc:docMk/>
            <pc:sldMk cId="3091259498" sldId="1747256666"/>
            <ac:spMk id="6" creationId="{9E12DFA8-ED74-41A7-A881-A0C61698037F}"/>
          </ac:spMkLst>
        </pc:spChg>
        <pc:spChg chg="mod">
          <ac:chgData name="Hasan Senol Coskun" userId="88cd95f7b86daa2f" providerId="LiveId" clId="{0A1DC79D-782D-493E-B89A-90325507C91B}" dt="2020-11-13T19:41:12.776" v="1490" actId="1076"/>
          <ac:spMkLst>
            <pc:docMk/>
            <pc:sldMk cId="3091259498" sldId="1747256666"/>
            <ac:spMk id="7" creationId="{CD2AB798-6A4F-429A-98C5-8A76BAC5975F}"/>
          </ac:spMkLst>
        </pc:spChg>
        <pc:spChg chg="mod">
          <ac:chgData name="Hasan Senol Coskun" userId="88cd95f7b86daa2f" providerId="LiveId" clId="{0A1DC79D-782D-493E-B89A-90325507C91B}" dt="2020-11-13T19:41:12.776" v="1490" actId="1076"/>
          <ac:spMkLst>
            <pc:docMk/>
            <pc:sldMk cId="3091259498" sldId="1747256666"/>
            <ac:spMk id="8" creationId="{C692B524-8176-49B6-ACE5-456909946E76}"/>
          </ac:spMkLst>
        </pc:spChg>
        <pc:spChg chg="mod">
          <ac:chgData name="Hasan Senol Coskun" userId="88cd95f7b86daa2f" providerId="LiveId" clId="{0A1DC79D-782D-493E-B89A-90325507C91B}" dt="2020-11-13T19:41:12.776" v="1490" actId="1076"/>
          <ac:spMkLst>
            <pc:docMk/>
            <pc:sldMk cId="3091259498" sldId="1747256666"/>
            <ac:spMk id="9" creationId="{5111C7DC-EED3-4636-BF2D-EEFB0CAC9F0A}"/>
          </ac:spMkLst>
        </pc:spChg>
        <pc:spChg chg="mod">
          <ac:chgData name="Hasan Senol Coskun" userId="88cd95f7b86daa2f" providerId="LiveId" clId="{0A1DC79D-782D-493E-B89A-90325507C91B}" dt="2020-11-13T19:41:12.776" v="1490" actId="1076"/>
          <ac:spMkLst>
            <pc:docMk/>
            <pc:sldMk cId="3091259498" sldId="1747256666"/>
            <ac:spMk id="10" creationId="{8AC475D9-535A-423D-BC84-89DD2471EB8A}"/>
          </ac:spMkLst>
        </pc:spChg>
        <pc:spChg chg="mod">
          <ac:chgData name="Hasan Senol Coskun" userId="88cd95f7b86daa2f" providerId="LiveId" clId="{0A1DC79D-782D-493E-B89A-90325507C91B}" dt="2020-11-13T19:41:12.776" v="1490" actId="1076"/>
          <ac:spMkLst>
            <pc:docMk/>
            <pc:sldMk cId="3091259498" sldId="1747256666"/>
            <ac:spMk id="11" creationId="{93BA8B18-A131-44DF-AB33-334832354CD4}"/>
          </ac:spMkLst>
        </pc:spChg>
        <pc:spChg chg="mod">
          <ac:chgData name="Hasan Senol Coskun" userId="88cd95f7b86daa2f" providerId="LiveId" clId="{0A1DC79D-782D-493E-B89A-90325507C91B}" dt="2020-11-13T19:41:12.776" v="1490" actId="1076"/>
          <ac:spMkLst>
            <pc:docMk/>
            <pc:sldMk cId="3091259498" sldId="1747256666"/>
            <ac:spMk id="12" creationId="{5F43507F-024F-48DB-8282-85D5D87CFBE5}"/>
          </ac:spMkLst>
        </pc:spChg>
        <pc:spChg chg="mod">
          <ac:chgData name="Hasan Senol Coskun" userId="88cd95f7b86daa2f" providerId="LiveId" clId="{0A1DC79D-782D-493E-B89A-90325507C91B}" dt="2020-11-13T19:41:12.776" v="1490" actId="1076"/>
          <ac:spMkLst>
            <pc:docMk/>
            <pc:sldMk cId="3091259498" sldId="1747256666"/>
            <ac:spMk id="13" creationId="{F8B63AE7-345E-4DA3-B185-A8E9E4B7A2B9}"/>
          </ac:spMkLst>
        </pc:spChg>
        <pc:spChg chg="mod">
          <ac:chgData name="Hasan Senol Coskun" userId="88cd95f7b86daa2f" providerId="LiveId" clId="{0A1DC79D-782D-493E-B89A-90325507C91B}" dt="2020-11-13T19:41:12.776" v="1490" actId="1076"/>
          <ac:spMkLst>
            <pc:docMk/>
            <pc:sldMk cId="3091259498" sldId="1747256666"/>
            <ac:spMk id="14" creationId="{A55DEE84-0439-4504-BDCF-12AAA63C7D81}"/>
          </ac:spMkLst>
        </pc:spChg>
        <pc:spChg chg="mod">
          <ac:chgData name="Hasan Senol Coskun" userId="88cd95f7b86daa2f" providerId="LiveId" clId="{0A1DC79D-782D-493E-B89A-90325507C91B}" dt="2020-11-13T19:41:12.776" v="1490" actId="1076"/>
          <ac:spMkLst>
            <pc:docMk/>
            <pc:sldMk cId="3091259498" sldId="1747256666"/>
            <ac:spMk id="15" creationId="{2A4EC5DA-5C50-45F5-AFDD-D5360DC67D9E}"/>
          </ac:spMkLst>
        </pc:spChg>
        <pc:spChg chg="mod">
          <ac:chgData name="Hasan Senol Coskun" userId="88cd95f7b86daa2f" providerId="LiveId" clId="{0A1DC79D-782D-493E-B89A-90325507C91B}" dt="2020-11-13T19:41:12.776" v="1490" actId="1076"/>
          <ac:spMkLst>
            <pc:docMk/>
            <pc:sldMk cId="3091259498" sldId="1747256666"/>
            <ac:spMk id="16" creationId="{0FE53D16-D1DA-4567-B408-83A8A2151080}"/>
          </ac:spMkLst>
        </pc:spChg>
        <pc:spChg chg="mod">
          <ac:chgData name="Hasan Senol Coskun" userId="88cd95f7b86daa2f" providerId="LiveId" clId="{0A1DC79D-782D-493E-B89A-90325507C91B}" dt="2020-11-13T19:41:12.776" v="1490" actId="1076"/>
          <ac:spMkLst>
            <pc:docMk/>
            <pc:sldMk cId="3091259498" sldId="1747256666"/>
            <ac:spMk id="17" creationId="{24EDFFD0-6BD2-4669-8A5F-6FB634A3E35C}"/>
          </ac:spMkLst>
        </pc:spChg>
        <pc:grpChg chg="add del mod">
          <ac:chgData name="Hasan Senol Coskun" userId="88cd95f7b86daa2f" providerId="LiveId" clId="{0A1DC79D-782D-493E-B89A-90325507C91B}" dt="2020-11-13T19:49:39.795" v="1508" actId="478"/>
          <ac:grpSpMkLst>
            <pc:docMk/>
            <pc:sldMk cId="3091259498" sldId="1747256666"/>
            <ac:grpSpMk id="3" creationId="{44D07D2F-AA3B-4970-902D-3F7CF909481B}"/>
          </ac:grpSpMkLst>
        </pc:grpChg>
        <pc:picChg chg="add mod">
          <ac:chgData name="Hasan Senol Coskun" userId="88cd95f7b86daa2f" providerId="LiveId" clId="{0A1DC79D-782D-493E-B89A-90325507C91B}" dt="2020-11-13T19:49:49.351" v="1512" actId="1076"/>
          <ac:picMkLst>
            <pc:docMk/>
            <pc:sldMk cId="3091259498" sldId="1747256666"/>
            <ac:picMk id="19" creationId="{840BE3FD-7E33-495B-B6E2-D9F0AD13D5EE}"/>
          </ac:picMkLst>
        </pc:picChg>
        <pc:picChg chg="add mod">
          <ac:chgData name="Hasan Senol Coskun" userId="88cd95f7b86daa2f" providerId="LiveId" clId="{0A1DC79D-782D-493E-B89A-90325507C91B}" dt="2020-11-13T19:49:47.327" v="1511" actId="1076"/>
          <ac:picMkLst>
            <pc:docMk/>
            <pc:sldMk cId="3091259498" sldId="1747256666"/>
            <ac:picMk id="21" creationId="{404ACC71-36A3-41B9-80D7-2F56FE138BEF}"/>
          </ac:picMkLst>
        </pc:picChg>
      </pc:sldChg>
      <pc:sldChg chg="addSp delSp modSp new mod modClrScheme chgLayout">
        <pc:chgData name="Hasan Senol Coskun" userId="88cd95f7b86daa2f" providerId="LiveId" clId="{0A1DC79D-782D-493E-B89A-90325507C91B}" dt="2020-11-13T21:55:28.033" v="3045" actId="20577"/>
        <pc:sldMkLst>
          <pc:docMk/>
          <pc:sldMk cId="1184135525" sldId="1747256667"/>
        </pc:sldMkLst>
        <pc:spChg chg="del mod ord">
          <ac:chgData name="Hasan Senol Coskun" userId="88cd95f7b86daa2f" providerId="LiveId" clId="{0A1DC79D-782D-493E-B89A-90325507C91B}" dt="2020-11-13T20:37:29.832" v="1857" actId="700"/>
          <ac:spMkLst>
            <pc:docMk/>
            <pc:sldMk cId="1184135525" sldId="1747256667"/>
            <ac:spMk id="2" creationId="{BCE89CF1-BD24-405C-B044-9AF26E96BB8D}"/>
          </ac:spMkLst>
        </pc:spChg>
        <pc:spChg chg="del">
          <ac:chgData name="Hasan Senol Coskun" userId="88cd95f7b86daa2f" providerId="LiveId" clId="{0A1DC79D-782D-493E-B89A-90325507C91B}" dt="2020-11-13T20:37:29.832" v="1857" actId="700"/>
          <ac:spMkLst>
            <pc:docMk/>
            <pc:sldMk cId="1184135525" sldId="1747256667"/>
            <ac:spMk id="3" creationId="{8CFE3962-FFD1-4FC4-9B1A-9E6E1061C660}"/>
          </ac:spMkLst>
        </pc:spChg>
        <pc:spChg chg="add mod ord">
          <ac:chgData name="Hasan Senol Coskun" userId="88cd95f7b86daa2f" providerId="LiveId" clId="{0A1DC79D-782D-493E-B89A-90325507C91B}" dt="2020-11-13T21:55:28.033" v="3045" actId="20577"/>
          <ac:spMkLst>
            <pc:docMk/>
            <pc:sldMk cId="1184135525" sldId="1747256667"/>
            <ac:spMk id="4" creationId="{F7E2A888-DA2E-4FD0-BD2E-7D0FB77372A4}"/>
          </ac:spMkLst>
        </pc:spChg>
        <pc:picChg chg="add mod">
          <ac:chgData name="Hasan Senol Coskun" userId="88cd95f7b86daa2f" providerId="LiveId" clId="{0A1DC79D-782D-493E-B89A-90325507C91B}" dt="2020-11-13T20:37:47.928" v="1859" actId="1076"/>
          <ac:picMkLst>
            <pc:docMk/>
            <pc:sldMk cId="1184135525" sldId="1747256667"/>
            <ac:picMk id="6" creationId="{EBBABAF7-F1DD-4ABA-B5D0-F2B13B17DCC9}"/>
          </ac:picMkLst>
        </pc:picChg>
      </pc:sldChg>
      <pc:sldChg chg="addSp modSp new del mod">
        <pc:chgData name="Hasan Senol Coskun" userId="88cd95f7b86daa2f" providerId="LiveId" clId="{0A1DC79D-782D-493E-B89A-90325507C91B}" dt="2020-11-13T19:41:32.733" v="1492" actId="47"/>
        <pc:sldMkLst>
          <pc:docMk/>
          <pc:sldMk cId="1979042439" sldId="1747256667"/>
        </pc:sldMkLst>
        <pc:picChg chg="add mod">
          <ac:chgData name="Hasan Senol Coskun" userId="88cd95f7b86daa2f" providerId="LiveId" clId="{0A1DC79D-782D-493E-B89A-90325507C91B}" dt="2020-11-13T19:40:32.875" v="1481" actId="14100"/>
          <ac:picMkLst>
            <pc:docMk/>
            <pc:sldMk cId="1979042439" sldId="1747256667"/>
            <ac:picMk id="3" creationId="{634B63AE-9066-40AB-9E94-2CCE322AB312}"/>
          </ac:picMkLst>
        </pc:picChg>
      </pc:sldChg>
      <pc:sldChg chg="addSp delSp modSp new mod modClrScheme chgLayout">
        <pc:chgData name="Hasan Senol Coskun" userId="88cd95f7b86daa2f" providerId="LiveId" clId="{0A1DC79D-782D-493E-B89A-90325507C91B}" dt="2020-11-14T10:39:15.729" v="4493" actId="404"/>
        <pc:sldMkLst>
          <pc:docMk/>
          <pc:sldMk cId="2103247949" sldId="1747256668"/>
        </pc:sldMkLst>
        <pc:spChg chg="del mod ord">
          <ac:chgData name="Hasan Senol Coskun" userId="88cd95f7b86daa2f" providerId="LiveId" clId="{0A1DC79D-782D-493E-B89A-90325507C91B}" dt="2020-11-13T20:40:04.718" v="1878" actId="700"/>
          <ac:spMkLst>
            <pc:docMk/>
            <pc:sldMk cId="2103247949" sldId="1747256668"/>
            <ac:spMk id="2" creationId="{896DF0A7-5E73-4F11-8772-5351A7F384E4}"/>
          </ac:spMkLst>
        </pc:spChg>
        <pc:spChg chg="del">
          <ac:chgData name="Hasan Senol Coskun" userId="88cd95f7b86daa2f" providerId="LiveId" clId="{0A1DC79D-782D-493E-B89A-90325507C91B}" dt="2020-11-13T20:40:04.718" v="1878" actId="700"/>
          <ac:spMkLst>
            <pc:docMk/>
            <pc:sldMk cId="2103247949" sldId="1747256668"/>
            <ac:spMk id="3" creationId="{98CE95EB-5753-4A49-B3AF-3700C3F199F4}"/>
          </ac:spMkLst>
        </pc:spChg>
        <pc:spChg chg="add mod ord">
          <ac:chgData name="Hasan Senol Coskun" userId="88cd95f7b86daa2f" providerId="LiveId" clId="{0A1DC79D-782D-493E-B89A-90325507C91B}" dt="2020-11-14T10:39:15.729" v="4493" actId="404"/>
          <ac:spMkLst>
            <pc:docMk/>
            <pc:sldMk cId="2103247949" sldId="1747256668"/>
            <ac:spMk id="4" creationId="{069B017A-1284-4104-BDEB-B88E0530A2DB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6" creationId="{71B3D731-CD0B-4DFF-BBA5-283895B4D30E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7" creationId="{74BB2E72-3D30-49AD-B4AD-47A8064A64A0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8" creationId="{A63A9F66-A4E4-416F-B61F-A20E8B32DE8A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9" creationId="{0B96B311-9311-4E9C-BFE9-2B27F769F8DF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10" creationId="{69BD9913-FEC1-4BD5-BB55-D547FE2CF39A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11" creationId="{E8CD8FBA-AB62-4367-B52F-4ED9114A9A82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12" creationId="{0BCE2B16-6337-4A06-A141-FFDBA0E73876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13" creationId="{7B0E557B-D39B-4381-808A-F6C245D3C3AB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14" creationId="{2DEB091F-0A19-413E-8EEA-D5A32D2D4EF1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15" creationId="{7E2605FE-9505-4068-9D25-7C1CBEB2EDF5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40" creationId="{D9FBAE8F-EB79-47DC-9D24-B9758C87F816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41" creationId="{315124C9-3568-4613-99A1-4E364077C441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42" creationId="{4A6ED0DC-E817-4641-8427-4171FBBF506A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43" creationId="{78A21089-4449-4B8D-A261-B3951DABFE54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44" creationId="{B44676BC-B3C1-476B-8FD2-12223A9A4A3A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45" creationId="{45800F57-D291-4C33-ABDF-E6D9F802A507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46" creationId="{368DE161-80BD-42D5-8929-071A33134EE9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47" creationId="{6043E9C2-A87D-43B2-ADC7-B5DA1D6E4923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48" creationId="{81E269A5-C076-4907-A734-8909956B3984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49" creationId="{FB534F73-04EE-4F99-8BC6-400DF4E0032C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50" creationId="{996EFE5E-70F3-4E64-A2AC-7E590D520A3F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51" creationId="{EC139A7C-BA4C-40F4-A79A-30885B8DB9D0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52" creationId="{676FB96A-C2FE-4C49-807A-040FCDD12778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53" creationId="{118CDE40-4A06-436A-8498-C942F841A6AF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54" creationId="{13A11BE6-1E9A-4DA7-932E-A2B53AC2CB78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55" creationId="{B9DC3EE4-B1BB-41AB-AC33-15D95E54513F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56" creationId="{3B1B7214-BC58-405B-AF0B-4FC3C92FD8DE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57" creationId="{538190CB-9F54-4056-A7C0-E8FE4CB9EDE9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58" creationId="{BDF8BA78-719F-4790-85EC-CF9EF4B1EBCB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59" creationId="{D6B59FF2-EE6F-43A7-9DD5-2CC64AC46BF6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60" creationId="{9958B9D6-242A-4E3D-A693-42C78A3293C1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61" creationId="{EED82418-1C0B-4BB1-8BB4-06A560B69A93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62" creationId="{A2D44054-D77B-4C9A-9928-939EBFA8D97F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85" creationId="{B520E060-E583-4652-A2FD-639E0CD705D5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86" creationId="{4D7E11D9-48C2-41C2-A46C-13942288973C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87" creationId="{84D59681-1451-497A-AB43-697DB77C29F2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88" creationId="{42EE86CC-9154-4969-9157-5C2F89F22F9F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89" creationId="{E22F2B62-B6E8-47DC-A499-4C61F15B11A0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90" creationId="{385F4214-BD58-4669-83E8-637436093E91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91" creationId="{395D0D1F-5ADD-480C-8B01-B7BD3F4C11E6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92" creationId="{1BCAD071-EE17-4CBA-A6C7-E061B1B8AAC4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93" creationId="{96D26D59-6B21-42D4-8DCE-5B857C3FC379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94" creationId="{4D7D3D73-973B-4D40-8438-D8709C858E60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95" creationId="{9EBBBA56-7041-4904-8E79-B4948A40F83E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96" creationId="{B8CE2981-04C3-48CC-92D5-20054CD96DF8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97" creationId="{ABA9B739-9F97-4375-9F6A-8C0D01CCC8D3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98" creationId="{8957B639-6417-46F4-AE05-384C59E4DCF7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99" creationId="{A472A070-E68D-4439-97B3-80A64D5E29F6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100" creationId="{5768D2BC-D552-488D-B23A-32EF24819BCC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101" creationId="{C26754CC-FCFD-4BC7-B64A-9733B8D55982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102" creationId="{828ACDD0-809D-4EFD-9676-0F2C2B9DE24F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103" creationId="{020AA5CC-FDBB-4668-A017-F76434B09C03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104" creationId="{72C5311E-3D7B-4FB2-9485-04703C765DE7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106" creationId="{A6F36337-CEFB-4D24-9B96-516412B6E8C9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107" creationId="{482ADCE2-7FC2-42EE-BC33-64490A4B0A6C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108" creationId="{59830AB7-E444-4A39-AE1F-F3F643ED9522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109" creationId="{DCD59754-36CA-42F9-A65D-D712BE9A3EE1}"/>
          </ac:spMkLst>
        </pc:spChg>
        <pc:spChg chg="mod">
          <ac:chgData name="Hasan Senol Coskun" userId="88cd95f7b86daa2f" providerId="LiveId" clId="{0A1DC79D-782D-493E-B89A-90325507C91B}" dt="2020-11-13T20:40:13.573" v="1879"/>
          <ac:spMkLst>
            <pc:docMk/>
            <pc:sldMk cId="2103247949" sldId="1747256668"/>
            <ac:spMk id="110" creationId="{E8EBB838-91F2-4A7E-8FB5-2D7B99DA5C1B}"/>
          </ac:spMkLst>
        </pc:spChg>
        <pc:grpChg chg="add mod">
          <ac:chgData name="Hasan Senol Coskun" userId="88cd95f7b86daa2f" providerId="LiveId" clId="{0A1DC79D-782D-493E-B89A-90325507C91B}" dt="2020-11-13T20:40:13.573" v="1879"/>
          <ac:grpSpMkLst>
            <pc:docMk/>
            <pc:sldMk cId="2103247949" sldId="1747256668"/>
            <ac:grpSpMk id="5" creationId="{37B6EF5F-6065-445C-855C-57E239D9995A}"/>
          </ac:grpSpMkLst>
        </pc:grp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16" creationId="{60B93731-D42A-4658-A6BA-9196E135AE51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17" creationId="{DB3495AD-D3EC-42BD-8DA8-66390C8A4184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18" creationId="{019D40BE-4955-4671-9888-1B234B65B793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19" creationId="{E9CEFD84-616E-40B9-8D2D-FB241FF7BFDE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20" creationId="{F5244337-1301-400E-88A2-2640D96F2FC9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21" creationId="{3DB2D312-877E-482F-8F80-7710EC08EC54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22" creationId="{85107551-A68F-4123-9829-DFB748BBE79A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23" creationId="{900A2C89-EF7C-4E83-8AEE-70C43858AE47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24" creationId="{5061C8EA-CE37-4B66-996B-59C96F6E41A5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25" creationId="{1053C84F-117D-4951-BF0D-F07CAD02B1DD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26" creationId="{F7B4F786-13F2-48D6-BE35-04A218FC5FAB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27" creationId="{CFDB803B-7CB8-4284-A0C7-5AE38942A3C3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28" creationId="{8E15173F-02A0-416A-A3B2-A6D5E8BCE746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29" creationId="{589AC369-FFE5-48E4-A927-F6C529414C3B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30" creationId="{5B21B5A5-0508-46BE-9E13-F00613AB1D57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31" creationId="{DF336DF0-6C92-4A01-ABDF-5D1D8D9CF26D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32" creationId="{586BEE02-CAC3-45F0-9F85-632DB3B54086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33" creationId="{DD6CD77C-B810-4BBA-BF4B-0859F56B3FE5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34" creationId="{12D30C78-7497-497C-86F8-2C3F64D7287D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35" creationId="{F3889F91-DEF3-46B4-96FB-954E5755E957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36" creationId="{FCB1386C-A225-450C-9782-82474F75C23B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37" creationId="{6A14CE04-2FAA-4EB8-868C-1D41C3FDC6CF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38" creationId="{7E7519EE-CEDB-4DB6-AC79-2EE016D5F679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39" creationId="{AC6F35A4-33F6-4AFF-BE07-322991DA745D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63" creationId="{7A52172E-23C6-40B0-B9A0-C57978CB5E7F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64" creationId="{EB003D7B-B467-4160-A059-0913D235BB5B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65" creationId="{67F5A44B-62CF-4C95-9747-925CC51A4A93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66" creationId="{062C6020-71A9-42CD-AD25-5B2BAD5BECBC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67" creationId="{5EEEFB76-80AE-4B73-8F7C-E465052D0635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68" creationId="{EC6FDDDF-264F-43D3-BC9F-354985AAFC45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69" creationId="{85EE9A6C-DD42-4F6D-8906-934551DAE100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70" creationId="{B19D9292-1923-4FFC-B95E-40E6C515F577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71" creationId="{CCB4EDAC-B20B-4B06-8D95-25A224D39ABD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72" creationId="{3AE9999B-A6C6-4C92-A4EB-4801BE4B7714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73" creationId="{CFCAAF08-773F-47E1-B266-CDA7972F35F1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74" creationId="{48104D18-BDA7-4318-99D8-8DE26B4BAE09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75" creationId="{BA64BA9E-D791-4415-B364-4008F3873FC4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76" creationId="{3B225F5F-EED0-4237-8E47-1EC58B65940D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77" creationId="{8923DC8E-671F-4229-A69B-72CF78907773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78" creationId="{4EF45AA4-7EA2-4E02-8CF8-EE1473CD4E5D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79" creationId="{33861AB1-9556-445C-9C2B-94452DE786BB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80" creationId="{378790D2-59ED-44DF-84E3-0F91BE5B0722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81" creationId="{376AFA78-D899-45AA-B399-CA96504A061F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82" creationId="{CA07D665-BE24-43E7-A763-86734D64599D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83" creationId="{F0301E6C-91C8-4EC3-BE14-CD4940654FBE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84" creationId="{3735E3E1-3865-45BD-AB21-EFAB159BBABC}"/>
          </ac:cxnSpMkLst>
        </pc:cxnChg>
        <pc:cxnChg chg="mod">
          <ac:chgData name="Hasan Senol Coskun" userId="88cd95f7b86daa2f" providerId="LiveId" clId="{0A1DC79D-782D-493E-B89A-90325507C91B}" dt="2020-11-13T20:40:13.573" v="1879"/>
          <ac:cxnSpMkLst>
            <pc:docMk/>
            <pc:sldMk cId="2103247949" sldId="1747256668"/>
            <ac:cxnSpMk id="105" creationId="{179DF46E-97E9-468F-A615-E3496A9D5937}"/>
          </ac:cxnSpMkLst>
        </pc:cxnChg>
      </pc:sldChg>
      <pc:sldChg chg="addSp delSp modSp new mod modClrScheme chgLayout">
        <pc:chgData name="Hasan Senol Coskun" userId="88cd95f7b86daa2f" providerId="LiveId" clId="{0A1DC79D-782D-493E-B89A-90325507C91B}" dt="2020-11-14T06:29:55.139" v="3288" actId="20577"/>
        <pc:sldMkLst>
          <pc:docMk/>
          <pc:sldMk cId="3652811809" sldId="1747256669"/>
        </pc:sldMkLst>
        <pc:spChg chg="del mod ord">
          <ac:chgData name="Hasan Senol Coskun" userId="88cd95f7b86daa2f" providerId="LiveId" clId="{0A1DC79D-782D-493E-B89A-90325507C91B}" dt="2020-11-13T20:42:56.846" v="1902" actId="700"/>
          <ac:spMkLst>
            <pc:docMk/>
            <pc:sldMk cId="3652811809" sldId="1747256669"/>
            <ac:spMk id="2" creationId="{D7873C1D-9FC1-4631-A0E1-B685222354EF}"/>
          </ac:spMkLst>
        </pc:spChg>
        <pc:spChg chg="del">
          <ac:chgData name="Hasan Senol Coskun" userId="88cd95f7b86daa2f" providerId="LiveId" clId="{0A1DC79D-782D-493E-B89A-90325507C91B}" dt="2020-11-13T20:42:56.846" v="1902" actId="700"/>
          <ac:spMkLst>
            <pc:docMk/>
            <pc:sldMk cId="3652811809" sldId="1747256669"/>
            <ac:spMk id="3" creationId="{00B206FD-3728-4EB7-8929-FC54515D9AD9}"/>
          </ac:spMkLst>
        </pc:spChg>
        <pc:spChg chg="add mod ord">
          <ac:chgData name="Hasan Senol Coskun" userId="88cd95f7b86daa2f" providerId="LiveId" clId="{0A1DC79D-782D-493E-B89A-90325507C91B}" dt="2020-11-14T06:29:55.139" v="3288" actId="20577"/>
          <ac:spMkLst>
            <pc:docMk/>
            <pc:sldMk cId="3652811809" sldId="1747256669"/>
            <ac:spMk id="4" creationId="{EB58F948-5F66-461D-BC32-3623E406802E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6" creationId="{37EF0976-62DF-4CB5-876F-C173CEE1137A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8" creationId="{15C0F704-17BC-4640-BFDC-6DF31DFB733E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9" creationId="{CB4BFD73-E50F-469A-BA5F-A01B9DF0CE15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10" creationId="{EC3A5067-C8D1-491F-B58D-F6DA3D0641AA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11" creationId="{DD60DCDF-FB2C-45DB-AA4A-A55AEA25B731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12" creationId="{415AD693-8201-49E9-9D49-8E3BC656095E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13" creationId="{72E88F8F-8155-418E-BCD0-E69BA6985A14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14" creationId="{56FBD357-A6E4-492A-80CF-CE1AD522D8AB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15" creationId="{66554157-F588-4521-8530-A5D8B3B0896E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16" creationId="{ECE20484-D4F2-42CD-B9C2-428CB65BF829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17" creationId="{E0F0B02F-6C8D-46FF-8F96-0CBDE79506DC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18" creationId="{300075F9-6642-42E9-BEB7-763D222AC2AC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19" creationId="{48E3DB02-772B-407A-95D6-810FFD09DA66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20" creationId="{F85D348E-AB40-47E6-95A2-8D3DDC7979BB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21" creationId="{913F09E0-23F6-489F-954C-1C3489BB2263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22" creationId="{12D2BD4C-BFDD-4ED7-ACA9-EC063CEE69C2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23" creationId="{9616D180-FCB8-422D-835A-F76C6F83F5C0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24" creationId="{A6FE1EFD-3A10-4DA3-9E53-B836C599A8C6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25" creationId="{7537EB5A-B10C-442C-9DA7-0452F7A4E5E1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26" creationId="{06BE215A-464E-4A8B-BBB4-E6F18EC7655B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27" creationId="{7A45B518-D0D3-43B5-86E3-B0919CB78CB1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28" creationId="{1C4FC4B5-021A-4E28-8D6F-3818A814B634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29" creationId="{49C979F3-E508-447C-BB98-BA0E67E03D7F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30" creationId="{901975D3-E328-451D-AD6D-82022C9D8FCD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31" creationId="{44160673-5673-4260-9D17-2B4B2DB093C8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32" creationId="{EE1D64CD-DCDB-4A6B-BCED-390251834D58}"/>
          </ac:spMkLst>
        </pc:spChg>
        <pc:spChg chg="mod">
          <ac:chgData name="Hasan Senol Coskun" userId="88cd95f7b86daa2f" providerId="LiveId" clId="{0A1DC79D-782D-493E-B89A-90325507C91B}" dt="2020-11-13T20:43:53.168" v="1909" actId="1076"/>
          <ac:spMkLst>
            <pc:docMk/>
            <pc:sldMk cId="3652811809" sldId="1747256669"/>
            <ac:spMk id="33" creationId="{B9623DDD-DE16-4DC5-A606-C753A0BE2174}"/>
          </ac:spMkLst>
        </pc:spChg>
        <pc:grpChg chg="add mod">
          <ac:chgData name="Hasan Senol Coskun" userId="88cd95f7b86daa2f" providerId="LiveId" clId="{0A1DC79D-782D-493E-B89A-90325507C91B}" dt="2020-11-13T20:43:53.168" v="1909" actId="1076"/>
          <ac:grpSpMkLst>
            <pc:docMk/>
            <pc:sldMk cId="3652811809" sldId="1747256669"/>
            <ac:grpSpMk id="5" creationId="{62047199-1F28-428F-851C-08047AFBB8A0}"/>
          </ac:grpSpMkLst>
        </pc:grpChg>
        <pc:grpChg chg="mod">
          <ac:chgData name="Hasan Senol Coskun" userId="88cd95f7b86daa2f" providerId="LiveId" clId="{0A1DC79D-782D-493E-B89A-90325507C91B}" dt="2020-11-13T20:43:53.168" v="1909" actId="1076"/>
          <ac:grpSpMkLst>
            <pc:docMk/>
            <pc:sldMk cId="3652811809" sldId="1747256669"/>
            <ac:grpSpMk id="7" creationId="{A01372B1-1642-4FAC-81EF-CACB7B6147F6}"/>
          </ac:grpSpMkLst>
        </pc:grpChg>
        <pc:cxnChg chg="mod">
          <ac:chgData name="Hasan Senol Coskun" userId="88cd95f7b86daa2f" providerId="LiveId" clId="{0A1DC79D-782D-493E-B89A-90325507C91B}" dt="2020-11-13T20:43:53.168" v="1909" actId="1076"/>
          <ac:cxnSpMkLst>
            <pc:docMk/>
            <pc:sldMk cId="3652811809" sldId="1747256669"/>
            <ac:cxnSpMk id="34" creationId="{72B110A3-CB66-457D-89A6-9352DEBA493C}"/>
          </ac:cxnSpMkLst>
        </pc:cxnChg>
        <pc:cxnChg chg="mod">
          <ac:chgData name="Hasan Senol Coskun" userId="88cd95f7b86daa2f" providerId="LiveId" clId="{0A1DC79D-782D-493E-B89A-90325507C91B}" dt="2020-11-13T20:43:53.168" v="1909" actId="1076"/>
          <ac:cxnSpMkLst>
            <pc:docMk/>
            <pc:sldMk cId="3652811809" sldId="1747256669"/>
            <ac:cxnSpMk id="35" creationId="{3B1275CF-0E0A-40F5-9CC2-371283843845}"/>
          </ac:cxnSpMkLst>
        </pc:cxnChg>
        <pc:cxnChg chg="mod">
          <ac:chgData name="Hasan Senol Coskun" userId="88cd95f7b86daa2f" providerId="LiveId" clId="{0A1DC79D-782D-493E-B89A-90325507C91B}" dt="2020-11-13T20:43:53.168" v="1909" actId="1076"/>
          <ac:cxnSpMkLst>
            <pc:docMk/>
            <pc:sldMk cId="3652811809" sldId="1747256669"/>
            <ac:cxnSpMk id="36" creationId="{163BADD4-9DAC-40E6-88E9-EDE12AAB7E9C}"/>
          </ac:cxnSpMkLst>
        </pc:cxnChg>
        <pc:cxnChg chg="mod">
          <ac:chgData name="Hasan Senol Coskun" userId="88cd95f7b86daa2f" providerId="LiveId" clId="{0A1DC79D-782D-493E-B89A-90325507C91B}" dt="2020-11-13T20:43:53.168" v="1909" actId="1076"/>
          <ac:cxnSpMkLst>
            <pc:docMk/>
            <pc:sldMk cId="3652811809" sldId="1747256669"/>
            <ac:cxnSpMk id="37" creationId="{C2E6F754-72B8-4D24-9418-EDEA2177384C}"/>
          </ac:cxnSpMkLst>
        </pc:cxnChg>
      </pc:sldChg>
      <pc:sldChg chg="addSp delSp modSp new mod modClrScheme chgLayout">
        <pc:chgData name="Hasan Senol Coskun" userId="88cd95f7b86daa2f" providerId="LiveId" clId="{0A1DC79D-782D-493E-B89A-90325507C91B}" dt="2020-11-14T08:49:28.937" v="4018"/>
        <pc:sldMkLst>
          <pc:docMk/>
          <pc:sldMk cId="263489697" sldId="1747256670"/>
        </pc:sldMkLst>
        <pc:spChg chg="del mod ord">
          <ac:chgData name="Hasan Senol Coskun" userId="88cd95f7b86daa2f" providerId="LiveId" clId="{0A1DC79D-782D-493E-B89A-90325507C91B}" dt="2020-11-13T21:20:47.624" v="2396" actId="700"/>
          <ac:spMkLst>
            <pc:docMk/>
            <pc:sldMk cId="263489697" sldId="1747256670"/>
            <ac:spMk id="2" creationId="{8E581157-6D67-4D1D-A7F5-6D9242C48448}"/>
          </ac:spMkLst>
        </pc:spChg>
        <pc:spChg chg="add mod ord">
          <ac:chgData name="Hasan Senol Coskun" userId="88cd95f7b86daa2f" providerId="LiveId" clId="{0A1DC79D-782D-493E-B89A-90325507C91B}" dt="2020-11-13T21:21:49.363" v="2466" actId="20577"/>
          <ac:spMkLst>
            <pc:docMk/>
            <pc:sldMk cId="263489697" sldId="1747256670"/>
            <ac:spMk id="3" creationId="{D5CDCE39-D0A6-4E7D-81BA-06477EF0D7AE}"/>
          </ac:spMkLst>
        </pc:spChg>
        <pc:spChg chg="add del mod ord">
          <ac:chgData name="Hasan Senol Coskun" userId="88cd95f7b86daa2f" providerId="LiveId" clId="{0A1DC79D-782D-493E-B89A-90325507C91B}" dt="2020-11-13T21:21:40.255" v="2461" actId="12084"/>
          <ac:spMkLst>
            <pc:docMk/>
            <pc:sldMk cId="263489697" sldId="1747256670"/>
            <ac:spMk id="4" creationId="{62FE1715-F555-49CB-A76D-FB27935DE2FA}"/>
          </ac:spMkLst>
        </pc:spChg>
        <pc:graphicFrameChg chg="add mod">
          <ac:chgData name="Hasan Senol Coskun" userId="88cd95f7b86daa2f" providerId="LiveId" clId="{0A1DC79D-782D-493E-B89A-90325507C91B}" dt="2020-11-14T08:49:28.937" v="4018"/>
          <ac:graphicFrameMkLst>
            <pc:docMk/>
            <pc:sldMk cId="263489697" sldId="1747256670"/>
            <ac:graphicFrameMk id="5" creationId="{157C8838-C1F6-4F96-B233-58FBCE8EDC36}"/>
          </ac:graphicFrameMkLst>
        </pc:graphicFrameChg>
      </pc:sldChg>
      <pc:sldChg chg="addSp delSp modSp new del mod">
        <pc:chgData name="Hasan Senol Coskun" userId="88cd95f7b86daa2f" providerId="LiveId" clId="{0A1DC79D-782D-493E-B89A-90325507C91B}" dt="2020-11-13T21:19:38.840" v="2390" actId="47"/>
        <pc:sldMkLst>
          <pc:docMk/>
          <pc:sldMk cId="1297671847" sldId="1747256670"/>
        </pc:sldMkLst>
        <pc:spChg chg="del">
          <ac:chgData name="Hasan Senol Coskun" userId="88cd95f7b86daa2f" providerId="LiveId" clId="{0A1DC79D-782D-493E-B89A-90325507C91B}" dt="2020-11-13T21:18:25.475" v="2386" actId="22"/>
          <ac:spMkLst>
            <pc:docMk/>
            <pc:sldMk cId="1297671847" sldId="1747256670"/>
            <ac:spMk id="3" creationId="{EF2C7B0E-60D4-4A23-A206-3BFDBA6073D9}"/>
          </ac:spMkLst>
        </pc:spChg>
        <pc:picChg chg="add mod ord">
          <ac:chgData name="Hasan Senol Coskun" userId="88cd95f7b86daa2f" providerId="LiveId" clId="{0A1DC79D-782D-493E-B89A-90325507C91B}" dt="2020-11-13T21:18:25.475" v="2386" actId="22"/>
          <ac:picMkLst>
            <pc:docMk/>
            <pc:sldMk cId="1297671847" sldId="1747256670"/>
            <ac:picMk id="5" creationId="{8F71B876-EBC0-42F6-9777-3D1B60208EAE}"/>
          </ac:picMkLst>
        </pc:picChg>
      </pc:sldChg>
      <pc:sldChg chg="modSp new del mod">
        <pc:chgData name="Hasan Senol Coskun" userId="88cd95f7b86daa2f" providerId="LiveId" clId="{0A1DC79D-782D-493E-B89A-90325507C91B}" dt="2020-11-14T08:52:28.591" v="4092" actId="47"/>
        <pc:sldMkLst>
          <pc:docMk/>
          <pc:sldMk cId="1507957882" sldId="1747256671"/>
        </pc:sldMkLst>
        <pc:spChg chg="mod">
          <ac:chgData name="Hasan Senol Coskun" userId="88cd95f7b86daa2f" providerId="LiveId" clId="{0A1DC79D-782D-493E-B89A-90325507C91B}" dt="2020-11-13T21:22:16.062" v="2490" actId="20577"/>
          <ac:spMkLst>
            <pc:docMk/>
            <pc:sldMk cId="1507957882" sldId="1747256671"/>
            <ac:spMk id="2" creationId="{1D65EB10-BEEF-488B-8777-40550BC86B8A}"/>
          </ac:spMkLst>
        </pc:spChg>
        <pc:spChg chg="mod">
          <ac:chgData name="Hasan Senol Coskun" userId="88cd95f7b86daa2f" providerId="LiveId" clId="{0A1DC79D-782D-493E-B89A-90325507C91B}" dt="2020-11-14T08:52:21.114" v="4091" actId="20577"/>
          <ac:spMkLst>
            <pc:docMk/>
            <pc:sldMk cId="1507957882" sldId="1747256671"/>
            <ac:spMk id="3" creationId="{DF157349-8491-4B5E-BE57-A1BBD88B7AC5}"/>
          </ac:spMkLst>
        </pc:spChg>
      </pc:sldChg>
      <pc:sldChg chg="addSp modSp mod">
        <pc:chgData name="Hasan Senol Coskun" userId="88cd95f7b86daa2f" providerId="LiveId" clId="{0A1DC79D-782D-493E-B89A-90325507C91B}" dt="2020-11-14T10:48:08.899" v="4514" actId="113"/>
        <pc:sldMkLst>
          <pc:docMk/>
          <pc:sldMk cId="1002869242" sldId="1747256672"/>
        </pc:sldMkLst>
        <pc:spChg chg="mod">
          <ac:chgData name="Hasan Senol Coskun" userId="88cd95f7b86daa2f" providerId="LiveId" clId="{0A1DC79D-782D-493E-B89A-90325507C91B}" dt="2020-11-13T21:28:03.831" v="2708" actId="20577"/>
          <ac:spMkLst>
            <pc:docMk/>
            <pc:sldMk cId="1002869242" sldId="1747256672"/>
            <ac:spMk id="5" creationId="{20D9639C-D510-4E6C-942F-074EA37B132C}"/>
          </ac:spMkLst>
        </pc:spChg>
        <pc:graphicFrameChg chg="add mod modGraphic">
          <ac:chgData name="Hasan Senol Coskun" userId="88cd95f7b86daa2f" providerId="LiveId" clId="{0A1DC79D-782D-493E-B89A-90325507C91B}" dt="2020-11-14T10:47:43.885" v="4513"/>
          <ac:graphicFrameMkLst>
            <pc:docMk/>
            <pc:sldMk cId="1002869242" sldId="1747256672"/>
            <ac:graphicFrameMk id="2" creationId="{B1D9DBA7-DF3C-40F7-A26E-023FF11BB4A4}"/>
          </ac:graphicFrameMkLst>
        </pc:graphicFrameChg>
        <pc:graphicFrameChg chg="mod">
          <ac:chgData name="Hasan Senol Coskun" userId="88cd95f7b86daa2f" providerId="LiveId" clId="{0A1DC79D-782D-493E-B89A-90325507C91B}" dt="2020-11-14T10:48:08.899" v="4514" actId="113"/>
          <ac:graphicFrameMkLst>
            <pc:docMk/>
            <pc:sldMk cId="1002869242" sldId="1747256672"/>
            <ac:graphicFrameMk id="4" creationId="{BFF2DEDB-B787-4616-A44B-6E5801B938A7}"/>
          </ac:graphicFrameMkLst>
        </pc:graphicFrameChg>
      </pc:sldChg>
      <pc:sldChg chg="new del">
        <pc:chgData name="Hasan Senol Coskun" userId="88cd95f7b86daa2f" providerId="LiveId" clId="{0A1DC79D-782D-493E-B89A-90325507C91B}" dt="2020-11-13T22:08:29.397" v="3213" actId="47"/>
        <pc:sldMkLst>
          <pc:docMk/>
          <pc:sldMk cId="1061981906" sldId="1747256673"/>
        </pc:sldMkLst>
      </pc:sldChg>
      <pc:sldChg chg="addSp delSp modSp new mod modClrScheme chgLayout">
        <pc:chgData name="Hasan Senol Coskun" userId="88cd95f7b86daa2f" providerId="LiveId" clId="{0A1DC79D-782D-493E-B89A-90325507C91B}" dt="2020-11-14T07:09:33.782" v="3594" actId="20577"/>
        <pc:sldMkLst>
          <pc:docMk/>
          <pc:sldMk cId="3996517236" sldId="1747256673"/>
        </pc:sldMkLst>
        <pc:spChg chg="del mod ord">
          <ac:chgData name="Hasan Senol Coskun" userId="88cd95f7b86daa2f" providerId="LiveId" clId="{0A1DC79D-782D-493E-B89A-90325507C91B}" dt="2020-11-14T06:34:36.943" v="3300" actId="700"/>
          <ac:spMkLst>
            <pc:docMk/>
            <pc:sldMk cId="3996517236" sldId="1747256673"/>
            <ac:spMk id="2" creationId="{ACD05231-7DC7-4905-BB40-14C7DAB589C6}"/>
          </ac:spMkLst>
        </pc:spChg>
        <pc:spChg chg="del">
          <ac:chgData name="Hasan Senol Coskun" userId="88cd95f7b86daa2f" providerId="LiveId" clId="{0A1DC79D-782D-493E-B89A-90325507C91B}" dt="2020-11-14T06:34:36.943" v="3300" actId="700"/>
          <ac:spMkLst>
            <pc:docMk/>
            <pc:sldMk cId="3996517236" sldId="1747256673"/>
            <ac:spMk id="3" creationId="{B38E4ACE-31AC-498E-B45C-7D44905E4B55}"/>
          </ac:spMkLst>
        </pc:spChg>
        <pc:spChg chg="add mod ord">
          <ac:chgData name="Hasan Senol Coskun" userId="88cd95f7b86daa2f" providerId="LiveId" clId="{0A1DC79D-782D-493E-B89A-90325507C91B}" dt="2020-11-14T07:09:33.782" v="3594" actId="20577"/>
          <ac:spMkLst>
            <pc:docMk/>
            <pc:sldMk cId="3996517236" sldId="1747256673"/>
            <ac:spMk id="4" creationId="{A9253329-C1DC-45EA-AD7E-701C8A3B6317}"/>
          </ac:spMkLst>
        </pc:spChg>
        <pc:spChg chg="add del mod ord">
          <ac:chgData name="Hasan Senol Coskun" userId="88cd95f7b86daa2f" providerId="LiveId" clId="{0A1DC79D-782D-493E-B89A-90325507C91B}" dt="2020-11-14T06:37:49.151" v="3567" actId="12084"/>
          <ac:spMkLst>
            <pc:docMk/>
            <pc:sldMk cId="3996517236" sldId="1747256673"/>
            <ac:spMk id="5" creationId="{987354FC-B676-4E44-B387-763523E5CD12}"/>
          </ac:spMkLst>
        </pc:spChg>
        <pc:graphicFrameChg chg="add mod">
          <ac:chgData name="Hasan Senol Coskun" userId="88cd95f7b86daa2f" providerId="LiveId" clId="{0A1DC79D-782D-493E-B89A-90325507C91B}" dt="2020-11-14T07:09:14.269" v="3579" actId="20577"/>
          <ac:graphicFrameMkLst>
            <pc:docMk/>
            <pc:sldMk cId="3996517236" sldId="1747256673"/>
            <ac:graphicFrameMk id="6" creationId="{01AE8843-0F80-4C9A-A6B3-2361C4214F9E}"/>
          </ac:graphicFrameMkLst>
        </pc:graphicFrameChg>
      </pc:sldChg>
      <pc:sldChg chg="modSp new mod">
        <pc:chgData name="Hasan Senol Coskun" userId="88cd95f7b86daa2f" providerId="LiveId" clId="{0A1DC79D-782D-493E-B89A-90325507C91B}" dt="2020-11-14T08:25:49.905" v="3687" actId="20577"/>
        <pc:sldMkLst>
          <pc:docMk/>
          <pc:sldMk cId="2214536751" sldId="1747256674"/>
        </pc:sldMkLst>
        <pc:spChg chg="mod">
          <ac:chgData name="Hasan Senol Coskun" userId="88cd95f7b86daa2f" providerId="LiveId" clId="{0A1DC79D-782D-493E-B89A-90325507C91B}" dt="2020-11-14T08:25:49.905" v="3687" actId="20577"/>
          <ac:spMkLst>
            <pc:docMk/>
            <pc:sldMk cId="2214536751" sldId="1747256674"/>
            <ac:spMk id="2" creationId="{6E7B0592-A94F-48D5-ACC9-3BB7FB0EB356}"/>
          </ac:spMkLst>
        </pc:spChg>
      </pc:sldChg>
      <pc:sldChg chg="addSp modSp mod">
        <pc:chgData name="Hasan Senol Coskun" userId="88cd95f7b86daa2f" providerId="LiveId" clId="{0A1DC79D-782D-493E-B89A-90325507C91B}" dt="2020-11-14T09:35:07.756" v="4269" actId="404"/>
        <pc:sldMkLst>
          <pc:docMk/>
          <pc:sldMk cId="833825710" sldId="1747256675"/>
        </pc:sldMkLst>
        <pc:spChg chg="mod">
          <ac:chgData name="Hasan Senol Coskun" userId="88cd95f7b86daa2f" providerId="LiveId" clId="{0A1DC79D-782D-493E-B89A-90325507C91B}" dt="2020-11-14T09:26:40.655" v="4231" actId="20577"/>
          <ac:spMkLst>
            <pc:docMk/>
            <pc:sldMk cId="833825710" sldId="1747256675"/>
            <ac:spMk id="4" creationId="{EB58F948-5F66-461D-BC32-3623E406802E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6" creationId="{37EF0976-62DF-4CB5-876F-C173CEE1137A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8" creationId="{15C0F704-17BC-4640-BFDC-6DF31DFB733E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9" creationId="{CB4BFD73-E50F-469A-BA5F-A01B9DF0CE15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10" creationId="{EC3A5067-C8D1-491F-B58D-F6DA3D0641AA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11" creationId="{DD60DCDF-FB2C-45DB-AA4A-A55AEA25B731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12" creationId="{415AD693-8201-49E9-9D49-8E3BC656095E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13" creationId="{72E88F8F-8155-418E-BCD0-E69BA6985A14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14" creationId="{56FBD357-A6E4-492A-80CF-CE1AD522D8AB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15" creationId="{66554157-F588-4521-8530-A5D8B3B0896E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16" creationId="{ECE20484-D4F2-42CD-B9C2-428CB65BF829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17" creationId="{E0F0B02F-6C8D-46FF-8F96-0CBDE79506DC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18" creationId="{300075F9-6642-42E9-BEB7-763D222AC2AC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19" creationId="{48E3DB02-772B-407A-95D6-810FFD09DA66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20" creationId="{F85D348E-AB40-47E6-95A2-8D3DDC7979BB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21" creationId="{913F09E0-23F6-489F-954C-1C3489BB2263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22" creationId="{12D2BD4C-BFDD-4ED7-ACA9-EC063CEE69C2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23" creationId="{9616D180-FCB8-422D-835A-F76C6F83F5C0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24" creationId="{A6FE1EFD-3A10-4DA3-9E53-B836C599A8C6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25" creationId="{7537EB5A-B10C-442C-9DA7-0452F7A4E5E1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26" creationId="{06BE215A-464E-4A8B-BBB4-E6F18EC7655B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27" creationId="{7A45B518-D0D3-43B5-86E3-B0919CB78CB1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28" creationId="{1C4FC4B5-021A-4E28-8D6F-3818A814B634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29" creationId="{49C979F3-E508-447C-BB98-BA0E67E03D7F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30" creationId="{901975D3-E328-451D-AD6D-82022C9D8FCD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31" creationId="{44160673-5673-4260-9D17-2B4B2DB093C8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32" creationId="{EE1D64CD-DCDB-4A6B-BCED-390251834D58}"/>
          </ac:spMkLst>
        </pc:spChg>
        <pc:spChg chg="mod">
          <ac:chgData name="Hasan Senol Coskun" userId="88cd95f7b86daa2f" providerId="LiveId" clId="{0A1DC79D-782D-493E-B89A-90325507C91B}" dt="2020-11-14T09:35:07.756" v="4269" actId="404"/>
          <ac:spMkLst>
            <pc:docMk/>
            <pc:sldMk cId="833825710" sldId="1747256675"/>
            <ac:spMk id="33" creationId="{B9623DDD-DE16-4DC5-A606-C753A0BE2174}"/>
          </ac:spMkLst>
        </pc:spChg>
        <pc:grpChg chg="mod">
          <ac:chgData name="Hasan Senol Coskun" userId="88cd95f7b86daa2f" providerId="LiveId" clId="{0A1DC79D-782D-493E-B89A-90325507C91B}" dt="2020-11-14T09:35:07.756" v="4269" actId="404"/>
          <ac:grpSpMkLst>
            <pc:docMk/>
            <pc:sldMk cId="833825710" sldId="1747256675"/>
            <ac:grpSpMk id="5" creationId="{62047199-1F28-428F-851C-08047AFBB8A0}"/>
          </ac:grpSpMkLst>
        </pc:grpChg>
        <pc:grpChg chg="mod">
          <ac:chgData name="Hasan Senol Coskun" userId="88cd95f7b86daa2f" providerId="LiveId" clId="{0A1DC79D-782D-493E-B89A-90325507C91B}" dt="2020-11-14T09:35:07.756" v="4269" actId="404"/>
          <ac:grpSpMkLst>
            <pc:docMk/>
            <pc:sldMk cId="833825710" sldId="1747256675"/>
            <ac:grpSpMk id="7" creationId="{A01372B1-1642-4FAC-81EF-CACB7B6147F6}"/>
          </ac:grpSpMkLst>
        </pc:grpChg>
        <pc:picChg chg="add mod">
          <ac:chgData name="Hasan Senol Coskun" userId="88cd95f7b86daa2f" providerId="LiveId" clId="{0A1DC79D-782D-493E-B89A-90325507C91B}" dt="2020-11-14T09:34:56.647" v="4263" actId="1076"/>
          <ac:picMkLst>
            <pc:docMk/>
            <pc:sldMk cId="833825710" sldId="1747256675"/>
            <ac:picMk id="2" creationId="{5A6B9158-1D1C-447A-B6B1-4A67A237BE07}"/>
          </ac:picMkLst>
        </pc:picChg>
        <pc:cxnChg chg="mod">
          <ac:chgData name="Hasan Senol Coskun" userId="88cd95f7b86daa2f" providerId="LiveId" clId="{0A1DC79D-782D-493E-B89A-90325507C91B}" dt="2020-11-14T09:35:07.756" v="4269" actId="404"/>
          <ac:cxnSpMkLst>
            <pc:docMk/>
            <pc:sldMk cId="833825710" sldId="1747256675"/>
            <ac:cxnSpMk id="34" creationId="{72B110A3-CB66-457D-89A6-9352DEBA493C}"/>
          </ac:cxnSpMkLst>
        </pc:cxnChg>
        <pc:cxnChg chg="mod">
          <ac:chgData name="Hasan Senol Coskun" userId="88cd95f7b86daa2f" providerId="LiveId" clId="{0A1DC79D-782D-493E-B89A-90325507C91B}" dt="2020-11-14T09:35:07.756" v="4269" actId="404"/>
          <ac:cxnSpMkLst>
            <pc:docMk/>
            <pc:sldMk cId="833825710" sldId="1747256675"/>
            <ac:cxnSpMk id="35" creationId="{3B1275CF-0E0A-40F5-9CC2-371283843845}"/>
          </ac:cxnSpMkLst>
        </pc:cxnChg>
        <pc:cxnChg chg="mod">
          <ac:chgData name="Hasan Senol Coskun" userId="88cd95f7b86daa2f" providerId="LiveId" clId="{0A1DC79D-782D-493E-B89A-90325507C91B}" dt="2020-11-14T09:35:07.756" v="4269" actId="404"/>
          <ac:cxnSpMkLst>
            <pc:docMk/>
            <pc:sldMk cId="833825710" sldId="1747256675"/>
            <ac:cxnSpMk id="36" creationId="{163BADD4-9DAC-40E6-88E9-EDE12AAB7E9C}"/>
          </ac:cxnSpMkLst>
        </pc:cxnChg>
        <pc:cxnChg chg="mod">
          <ac:chgData name="Hasan Senol Coskun" userId="88cd95f7b86daa2f" providerId="LiveId" clId="{0A1DC79D-782D-493E-B89A-90325507C91B}" dt="2020-11-14T09:35:07.756" v="4269" actId="404"/>
          <ac:cxnSpMkLst>
            <pc:docMk/>
            <pc:sldMk cId="833825710" sldId="1747256675"/>
            <ac:cxnSpMk id="37" creationId="{C2E6F754-72B8-4D24-9418-EDEA2177384C}"/>
          </ac:cxnSpMkLst>
        </pc:cxnChg>
      </pc:sldChg>
      <pc:sldChg chg="addSp delSp modSp new mod modClrScheme chgLayout">
        <pc:chgData name="Hasan Senol Coskun" userId="88cd95f7b86daa2f" providerId="LiveId" clId="{0A1DC79D-782D-493E-B89A-90325507C91B}" dt="2020-11-14T10:21:24.534" v="4296" actId="20577"/>
        <pc:sldMkLst>
          <pc:docMk/>
          <pc:sldMk cId="3049759780" sldId="1747256677"/>
        </pc:sldMkLst>
        <pc:spChg chg="del mod ord">
          <ac:chgData name="Hasan Senol Coskun" userId="88cd95f7b86daa2f" providerId="LiveId" clId="{0A1DC79D-782D-493E-B89A-90325507C91B}" dt="2020-11-14T10:19:41.456" v="4271" actId="700"/>
          <ac:spMkLst>
            <pc:docMk/>
            <pc:sldMk cId="3049759780" sldId="1747256677"/>
            <ac:spMk id="2" creationId="{ACAEDC57-6DB3-4A8A-AAA5-6EA50EBB5CB6}"/>
          </ac:spMkLst>
        </pc:spChg>
        <pc:spChg chg="del">
          <ac:chgData name="Hasan Senol Coskun" userId="88cd95f7b86daa2f" providerId="LiveId" clId="{0A1DC79D-782D-493E-B89A-90325507C91B}" dt="2020-11-14T10:19:41.456" v="4271" actId="700"/>
          <ac:spMkLst>
            <pc:docMk/>
            <pc:sldMk cId="3049759780" sldId="1747256677"/>
            <ac:spMk id="3" creationId="{671A4F33-E423-4891-90CC-8B4D2517D8A4}"/>
          </ac:spMkLst>
        </pc:spChg>
        <pc:spChg chg="add mod ord">
          <ac:chgData name="Hasan Senol Coskun" userId="88cd95f7b86daa2f" providerId="LiveId" clId="{0A1DC79D-782D-493E-B89A-90325507C91B}" dt="2020-11-14T10:20:44.248" v="4289" actId="700"/>
          <ac:spMkLst>
            <pc:docMk/>
            <pc:sldMk cId="3049759780" sldId="1747256677"/>
            <ac:spMk id="4" creationId="{C9A6E9C7-D5AC-414E-9915-ED97D0F6D7AF}"/>
          </ac:spMkLst>
        </pc:spChg>
        <pc:spChg chg="add del mod ord">
          <ac:chgData name="Hasan Senol Coskun" userId="88cd95f7b86daa2f" providerId="LiveId" clId="{0A1DC79D-782D-493E-B89A-90325507C91B}" dt="2020-11-14T10:20:44.248" v="4289" actId="700"/>
          <ac:spMkLst>
            <pc:docMk/>
            <pc:sldMk cId="3049759780" sldId="1747256677"/>
            <ac:spMk id="5" creationId="{0F43B5D1-0348-4930-B2F0-F39CBF5274F5}"/>
          </ac:spMkLst>
        </pc:spChg>
        <pc:spChg chg="add mod ord">
          <ac:chgData name="Hasan Senol Coskun" userId="88cd95f7b86daa2f" providerId="LiveId" clId="{0A1DC79D-782D-493E-B89A-90325507C91B}" dt="2020-11-14T10:21:21.606" v="4294" actId="20577"/>
          <ac:spMkLst>
            <pc:docMk/>
            <pc:sldMk cId="3049759780" sldId="1747256677"/>
            <ac:spMk id="6" creationId="{A3F08C4C-F12C-432C-B7D2-0C23A0977463}"/>
          </ac:spMkLst>
        </pc:spChg>
        <pc:spChg chg="add del mod ord">
          <ac:chgData name="Hasan Senol Coskun" userId="88cd95f7b86daa2f" providerId="LiveId" clId="{0A1DC79D-782D-493E-B89A-90325507C91B}" dt="2020-11-14T10:21:08.138" v="4290" actId="931"/>
          <ac:spMkLst>
            <pc:docMk/>
            <pc:sldMk cId="3049759780" sldId="1747256677"/>
            <ac:spMk id="7" creationId="{79B9E418-6CF6-43EE-8B02-F96837A4FF34}"/>
          </ac:spMkLst>
        </pc:spChg>
        <pc:spChg chg="add mod ord">
          <ac:chgData name="Hasan Senol Coskun" userId="88cd95f7b86daa2f" providerId="LiveId" clId="{0A1DC79D-782D-493E-B89A-90325507C91B}" dt="2020-11-14T10:21:24.534" v="4296" actId="20577"/>
          <ac:spMkLst>
            <pc:docMk/>
            <pc:sldMk cId="3049759780" sldId="1747256677"/>
            <ac:spMk id="8" creationId="{9310DF75-2436-411B-8D4A-6E96B7662BFD}"/>
          </ac:spMkLst>
        </pc:spChg>
        <pc:spChg chg="add del mod ord">
          <ac:chgData name="Hasan Senol Coskun" userId="88cd95f7b86daa2f" providerId="LiveId" clId="{0A1DC79D-782D-493E-B89A-90325507C91B}" dt="2020-11-14T10:21:17.595" v="4291" actId="931"/>
          <ac:spMkLst>
            <pc:docMk/>
            <pc:sldMk cId="3049759780" sldId="1747256677"/>
            <ac:spMk id="9" creationId="{DFF0736B-6A66-4620-BDF1-D5A9AA5A61DB}"/>
          </ac:spMkLst>
        </pc:spChg>
        <pc:picChg chg="add mod">
          <ac:chgData name="Hasan Senol Coskun" userId="88cd95f7b86daa2f" providerId="LiveId" clId="{0A1DC79D-782D-493E-B89A-90325507C91B}" dt="2020-11-14T10:21:08.138" v="4290" actId="931"/>
          <ac:picMkLst>
            <pc:docMk/>
            <pc:sldMk cId="3049759780" sldId="1747256677"/>
            <ac:picMk id="13" creationId="{8C7B955F-1033-455D-B314-C5CFBDC93D5C}"/>
          </ac:picMkLst>
        </pc:picChg>
        <pc:picChg chg="add mod">
          <ac:chgData name="Hasan Senol Coskun" userId="88cd95f7b86daa2f" providerId="LiveId" clId="{0A1DC79D-782D-493E-B89A-90325507C91B}" dt="2020-11-14T10:21:17.595" v="4291" actId="931"/>
          <ac:picMkLst>
            <pc:docMk/>
            <pc:sldMk cId="3049759780" sldId="1747256677"/>
            <ac:picMk id="15" creationId="{C71D2859-4788-4B7B-9F33-43FE76CCB8AF}"/>
          </ac:picMkLst>
        </pc:picChg>
      </pc:sldChg>
      <pc:sldChg chg="addSp delSp modSp new mod modClrScheme chgLayout">
        <pc:chgData name="Hasan Senol Coskun" userId="88cd95f7b86daa2f" providerId="LiveId" clId="{0A1DC79D-782D-493E-B89A-90325507C91B}" dt="2020-11-14T10:34:26.125" v="4434" actId="6549"/>
        <pc:sldMkLst>
          <pc:docMk/>
          <pc:sldMk cId="433371717" sldId="1747256678"/>
        </pc:sldMkLst>
        <pc:spChg chg="del mod ord">
          <ac:chgData name="Hasan Senol Coskun" userId="88cd95f7b86daa2f" providerId="LiveId" clId="{0A1DC79D-782D-493E-B89A-90325507C91B}" dt="2020-11-14T10:24:25.131" v="4302" actId="700"/>
          <ac:spMkLst>
            <pc:docMk/>
            <pc:sldMk cId="433371717" sldId="1747256678"/>
            <ac:spMk id="2" creationId="{C657967B-8869-4576-B8C1-415AEBDDFA65}"/>
          </ac:spMkLst>
        </pc:spChg>
        <pc:spChg chg="del mod ord">
          <ac:chgData name="Hasan Senol Coskun" userId="88cd95f7b86daa2f" providerId="LiveId" clId="{0A1DC79D-782D-493E-B89A-90325507C91B}" dt="2020-11-14T10:24:25.131" v="4302" actId="700"/>
          <ac:spMkLst>
            <pc:docMk/>
            <pc:sldMk cId="433371717" sldId="1747256678"/>
            <ac:spMk id="3" creationId="{4358F5B0-AA49-42C6-B237-1BEFD153929C}"/>
          </ac:spMkLst>
        </pc:spChg>
        <pc:spChg chg="add mod ord">
          <ac:chgData name="Hasan Senol Coskun" userId="88cd95f7b86daa2f" providerId="LiveId" clId="{0A1DC79D-782D-493E-B89A-90325507C91B}" dt="2020-11-14T10:34:26.125" v="4434" actId="6549"/>
          <ac:spMkLst>
            <pc:docMk/>
            <pc:sldMk cId="433371717" sldId="1747256678"/>
            <ac:spMk id="4" creationId="{4DCB1EB4-1D5D-425B-81C0-C6DB218E1DA8}"/>
          </ac:spMkLst>
        </pc:spChg>
        <pc:spChg chg="add mod ord">
          <ac:chgData name="Hasan Senol Coskun" userId="88cd95f7b86daa2f" providerId="LiveId" clId="{0A1DC79D-782D-493E-B89A-90325507C91B}" dt="2020-11-14T10:25:37.287" v="4316" actId="20577"/>
          <ac:spMkLst>
            <pc:docMk/>
            <pc:sldMk cId="433371717" sldId="1747256678"/>
            <ac:spMk id="5" creationId="{EDF06812-1820-4D48-A41A-C72E34CE76B7}"/>
          </ac:spMkLst>
        </pc:spChg>
        <pc:spChg chg="add del mod ord">
          <ac:chgData name="Hasan Senol Coskun" userId="88cd95f7b86daa2f" providerId="LiveId" clId="{0A1DC79D-782D-493E-B89A-90325507C91B}" dt="2020-11-14T10:25:32.142" v="4313" actId="931"/>
          <ac:spMkLst>
            <pc:docMk/>
            <pc:sldMk cId="433371717" sldId="1747256678"/>
            <ac:spMk id="6" creationId="{8C38C8E0-BC69-431A-BEE1-8254D63DC567}"/>
          </ac:spMkLst>
        </pc:spChg>
        <pc:spChg chg="add mod ord">
          <ac:chgData name="Hasan Senol Coskun" userId="88cd95f7b86daa2f" providerId="LiveId" clId="{0A1DC79D-782D-493E-B89A-90325507C91B}" dt="2020-11-14T10:25:40.192" v="4318" actId="20577"/>
          <ac:spMkLst>
            <pc:docMk/>
            <pc:sldMk cId="433371717" sldId="1747256678"/>
            <ac:spMk id="7" creationId="{C8DA8A1D-2C71-4D86-B993-7C60956A5995}"/>
          </ac:spMkLst>
        </pc:spChg>
        <pc:spChg chg="add del mod ord">
          <ac:chgData name="Hasan Senol Coskun" userId="88cd95f7b86daa2f" providerId="LiveId" clId="{0A1DC79D-782D-493E-B89A-90325507C91B}" dt="2020-11-14T10:25:47.856" v="4319" actId="931"/>
          <ac:spMkLst>
            <pc:docMk/>
            <pc:sldMk cId="433371717" sldId="1747256678"/>
            <ac:spMk id="8" creationId="{0576DE59-70EA-403A-A23E-DCC95C1D00A4}"/>
          </ac:spMkLst>
        </pc:spChg>
        <pc:picChg chg="add mod">
          <ac:chgData name="Hasan Senol Coskun" userId="88cd95f7b86daa2f" providerId="LiveId" clId="{0A1DC79D-782D-493E-B89A-90325507C91B}" dt="2020-11-14T10:25:32.142" v="4313" actId="931"/>
          <ac:picMkLst>
            <pc:docMk/>
            <pc:sldMk cId="433371717" sldId="1747256678"/>
            <ac:picMk id="12" creationId="{F58698F5-9649-4AAD-BE11-072EA4B69A00}"/>
          </ac:picMkLst>
        </pc:picChg>
        <pc:picChg chg="add mod">
          <ac:chgData name="Hasan Senol Coskun" userId="88cd95f7b86daa2f" providerId="LiveId" clId="{0A1DC79D-782D-493E-B89A-90325507C91B}" dt="2020-11-14T10:25:47.856" v="4319" actId="931"/>
          <ac:picMkLst>
            <pc:docMk/>
            <pc:sldMk cId="433371717" sldId="1747256678"/>
            <ac:picMk id="14" creationId="{81081073-9618-4249-AA49-D6D14A357DDE}"/>
          </ac:picMkLst>
        </pc:picChg>
      </pc:sldChg>
      <pc:sldChg chg="addSp delSp modSp new mod modClrScheme chgLayout">
        <pc:chgData name="Hasan Senol Coskun" userId="88cd95f7b86daa2f" providerId="LiveId" clId="{0A1DC79D-782D-493E-B89A-90325507C91B}" dt="2020-11-14T10:28:11.704" v="4356" actId="20577"/>
        <pc:sldMkLst>
          <pc:docMk/>
          <pc:sldMk cId="2411722661" sldId="1747256679"/>
        </pc:sldMkLst>
        <pc:spChg chg="del mod ord">
          <ac:chgData name="Hasan Senol Coskun" userId="88cd95f7b86daa2f" providerId="LiveId" clId="{0A1DC79D-782D-493E-B89A-90325507C91B}" dt="2020-11-14T10:26:33.372" v="4323" actId="700"/>
          <ac:spMkLst>
            <pc:docMk/>
            <pc:sldMk cId="2411722661" sldId="1747256679"/>
            <ac:spMk id="2" creationId="{651619AA-2058-4F26-BE76-18C63F2617C9}"/>
          </ac:spMkLst>
        </pc:spChg>
        <pc:spChg chg="del mod ord">
          <ac:chgData name="Hasan Senol Coskun" userId="88cd95f7b86daa2f" providerId="LiveId" clId="{0A1DC79D-782D-493E-B89A-90325507C91B}" dt="2020-11-14T10:26:33.372" v="4323" actId="700"/>
          <ac:spMkLst>
            <pc:docMk/>
            <pc:sldMk cId="2411722661" sldId="1747256679"/>
            <ac:spMk id="3" creationId="{29BCD513-8BA4-4D6A-AC26-ABB58FBED010}"/>
          </ac:spMkLst>
        </pc:spChg>
        <pc:spChg chg="add mod ord">
          <ac:chgData name="Hasan Senol Coskun" userId="88cd95f7b86daa2f" providerId="LiveId" clId="{0A1DC79D-782D-493E-B89A-90325507C91B}" dt="2020-11-14T10:27:48.985" v="4349" actId="404"/>
          <ac:spMkLst>
            <pc:docMk/>
            <pc:sldMk cId="2411722661" sldId="1747256679"/>
            <ac:spMk id="4" creationId="{BB9CFDEF-1204-4564-99A5-F01D840E8B81}"/>
          </ac:spMkLst>
        </pc:spChg>
        <pc:spChg chg="add mod ord">
          <ac:chgData name="Hasan Senol Coskun" userId="88cd95f7b86daa2f" providerId="LiveId" clId="{0A1DC79D-782D-493E-B89A-90325507C91B}" dt="2020-11-14T10:28:09.426" v="4354" actId="20577"/>
          <ac:spMkLst>
            <pc:docMk/>
            <pc:sldMk cId="2411722661" sldId="1747256679"/>
            <ac:spMk id="5" creationId="{D5A94A2B-B60D-4A1E-8A59-473749E56521}"/>
          </ac:spMkLst>
        </pc:spChg>
        <pc:spChg chg="add del mod ord">
          <ac:chgData name="Hasan Senol Coskun" userId="88cd95f7b86daa2f" providerId="LiveId" clId="{0A1DC79D-782D-493E-B89A-90325507C91B}" dt="2020-11-14T10:27:57.664" v="4350" actId="931"/>
          <ac:spMkLst>
            <pc:docMk/>
            <pc:sldMk cId="2411722661" sldId="1747256679"/>
            <ac:spMk id="6" creationId="{638978E8-4CCA-428F-827E-C3723D626F71}"/>
          </ac:spMkLst>
        </pc:spChg>
        <pc:spChg chg="add mod ord">
          <ac:chgData name="Hasan Senol Coskun" userId="88cd95f7b86daa2f" providerId="LiveId" clId="{0A1DC79D-782D-493E-B89A-90325507C91B}" dt="2020-11-14T10:28:11.704" v="4356" actId="20577"/>
          <ac:spMkLst>
            <pc:docMk/>
            <pc:sldMk cId="2411722661" sldId="1747256679"/>
            <ac:spMk id="7" creationId="{282403B1-95A1-4FF2-8342-4B11C7603EB7}"/>
          </ac:spMkLst>
        </pc:spChg>
        <pc:spChg chg="add del mod ord">
          <ac:chgData name="Hasan Senol Coskun" userId="88cd95f7b86daa2f" providerId="LiveId" clId="{0A1DC79D-782D-493E-B89A-90325507C91B}" dt="2020-11-14T10:28:02.855" v="4351" actId="931"/>
          <ac:spMkLst>
            <pc:docMk/>
            <pc:sldMk cId="2411722661" sldId="1747256679"/>
            <ac:spMk id="8" creationId="{94C6CAD8-5695-419D-BEDA-901061811883}"/>
          </ac:spMkLst>
        </pc:spChg>
        <pc:picChg chg="add mod">
          <ac:chgData name="Hasan Senol Coskun" userId="88cd95f7b86daa2f" providerId="LiveId" clId="{0A1DC79D-782D-493E-B89A-90325507C91B}" dt="2020-11-14T10:27:57.664" v="4350" actId="931"/>
          <ac:picMkLst>
            <pc:docMk/>
            <pc:sldMk cId="2411722661" sldId="1747256679"/>
            <ac:picMk id="10" creationId="{2A4BA971-6311-4B09-9CDF-58CC7801D91D}"/>
          </ac:picMkLst>
        </pc:picChg>
        <pc:picChg chg="add mod">
          <ac:chgData name="Hasan Senol Coskun" userId="88cd95f7b86daa2f" providerId="LiveId" clId="{0A1DC79D-782D-493E-B89A-90325507C91B}" dt="2020-11-14T10:28:02.855" v="4351" actId="931"/>
          <ac:picMkLst>
            <pc:docMk/>
            <pc:sldMk cId="2411722661" sldId="1747256679"/>
            <ac:picMk id="12" creationId="{A6C0A266-E0C0-4187-81D9-CDA4A1F7A87E}"/>
          </ac:picMkLst>
        </pc:picChg>
      </pc:sldChg>
      <pc:sldMasterChg chg="delSldLayout">
        <pc:chgData name="Hasan Senol Coskun" userId="88cd95f7b86daa2f" providerId="LiveId" clId="{0A1DC79D-782D-493E-B89A-90325507C91B}" dt="2020-11-13T17:43:53.410" v="379" actId="47"/>
        <pc:sldMasterMkLst>
          <pc:docMk/>
          <pc:sldMasterMk cId="0" sldId="2147483648"/>
        </pc:sldMasterMkLst>
        <pc:sldLayoutChg chg="del">
          <pc:chgData name="Hasan Senol Coskun" userId="88cd95f7b86daa2f" providerId="LiveId" clId="{0A1DC79D-782D-493E-B89A-90325507C91B}" dt="2020-11-13T17:43:01.157" v="314" actId="47"/>
          <pc:sldLayoutMkLst>
            <pc:docMk/>
            <pc:sldMasterMk cId="0" sldId="2147483648"/>
            <pc:sldLayoutMk cId="3055665248" sldId="2147483808"/>
          </pc:sldLayoutMkLst>
        </pc:sldLayoutChg>
        <pc:sldLayoutChg chg="del">
          <pc:chgData name="Hasan Senol Coskun" userId="88cd95f7b86daa2f" providerId="LiveId" clId="{0A1DC79D-782D-493E-B89A-90325507C91B}" dt="2020-11-13T17:43:06.059" v="325" actId="47"/>
          <pc:sldLayoutMkLst>
            <pc:docMk/>
            <pc:sldMasterMk cId="0" sldId="2147483648"/>
            <pc:sldLayoutMk cId="3468298319" sldId="2147483809"/>
          </pc:sldLayoutMkLst>
        </pc:sldLayoutChg>
        <pc:sldLayoutChg chg="del">
          <pc:chgData name="Hasan Senol Coskun" userId="88cd95f7b86daa2f" providerId="LiveId" clId="{0A1DC79D-782D-493E-B89A-90325507C91B}" dt="2020-11-13T17:43:04.003" v="320" actId="47"/>
          <pc:sldLayoutMkLst>
            <pc:docMk/>
            <pc:sldMasterMk cId="0" sldId="2147483648"/>
            <pc:sldLayoutMk cId="3229699469" sldId="2147483810"/>
          </pc:sldLayoutMkLst>
        </pc:sldLayoutChg>
        <pc:sldLayoutChg chg="del">
          <pc:chgData name="Hasan Senol Coskun" userId="88cd95f7b86daa2f" providerId="LiveId" clId="{0A1DC79D-782D-493E-B89A-90325507C91B}" dt="2020-11-13T17:43:06.958" v="327" actId="47"/>
          <pc:sldLayoutMkLst>
            <pc:docMk/>
            <pc:sldMasterMk cId="0" sldId="2147483648"/>
            <pc:sldLayoutMk cId="2351175871" sldId="2147483811"/>
          </pc:sldLayoutMkLst>
        </pc:sldLayoutChg>
        <pc:sldLayoutChg chg="del">
          <pc:chgData name="Hasan Senol Coskun" userId="88cd95f7b86daa2f" providerId="LiveId" clId="{0A1DC79D-782D-493E-B89A-90325507C91B}" dt="2020-11-13T17:43:07.449" v="328" actId="47"/>
          <pc:sldLayoutMkLst>
            <pc:docMk/>
            <pc:sldMasterMk cId="0" sldId="2147483648"/>
            <pc:sldLayoutMk cId="2221323277" sldId="2147483812"/>
          </pc:sldLayoutMkLst>
        </pc:sldLayoutChg>
        <pc:sldLayoutChg chg="del">
          <pc:chgData name="Hasan Senol Coskun" userId="88cd95f7b86daa2f" providerId="LiveId" clId="{0A1DC79D-782D-493E-B89A-90325507C91B}" dt="2020-11-13T17:43:43.573" v="370" actId="47"/>
          <pc:sldLayoutMkLst>
            <pc:docMk/>
            <pc:sldMasterMk cId="0" sldId="2147483648"/>
            <pc:sldLayoutMk cId="3599276290" sldId="2147483813"/>
          </pc:sldLayoutMkLst>
        </pc:sldLayoutChg>
        <pc:sldLayoutChg chg="del">
          <pc:chgData name="Hasan Senol Coskun" userId="88cd95f7b86daa2f" providerId="LiveId" clId="{0A1DC79D-782D-493E-B89A-90325507C91B}" dt="2020-11-13T17:43:47.061" v="372" actId="47"/>
          <pc:sldLayoutMkLst>
            <pc:docMk/>
            <pc:sldMasterMk cId="0" sldId="2147483648"/>
            <pc:sldLayoutMk cId="1977514134" sldId="2147483814"/>
          </pc:sldLayoutMkLst>
        </pc:sldLayoutChg>
        <pc:sldLayoutChg chg="del">
          <pc:chgData name="Hasan Senol Coskun" userId="88cd95f7b86daa2f" providerId="LiveId" clId="{0A1DC79D-782D-493E-B89A-90325507C91B}" dt="2020-11-13T17:43:48.675" v="373" actId="47"/>
          <pc:sldLayoutMkLst>
            <pc:docMk/>
            <pc:sldMasterMk cId="0" sldId="2147483648"/>
            <pc:sldLayoutMk cId="811458992" sldId="2147483815"/>
          </pc:sldLayoutMkLst>
        </pc:sldLayoutChg>
        <pc:sldLayoutChg chg="del">
          <pc:chgData name="Hasan Senol Coskun" userId="88cd95f7b86daa2f" providerId="LiveId" clId="{0A1DC79D-782D-493E-B89A-90325507C91B}" dt="2020-11-13T17:43:49.656" v="374" actId="47"/>
          <pc:sldLayoutMkLst>
            <pc:docMk/>
            <pc:sldMasterMk cId="0" sldId="2147483648"/>
            <pc:sldLayoutMk cId="2091792624" sldId="2147483816"/>
          </pc:sldLayoutMkLst>
        </pc:sldLayoutChg>
        <pc:sldLayoutChg chg="del">
          <pc:chgData name="Hasan Senol Coskun" userId="88cd95f7b86daa2f" providerId="LiveId" clId="{0A1DC79D-782D-493E-B89A-90325507C91B}" dt="2020-11-10T20:32:14.207" v="53" actId="47"/>
          <pc:sldLayoutMkLst>
            <pc:docMk/>
            <pc:sldMasterMk cId="0" sldId="2147483648"/>
            <pc:sldLayoutMk cId="2997962427" sldId="2147483817"/>
          </pc:sldLayoutMkLst>
        </pc:sldLayoutChg>
        <pc:sldLayoutChg chg="del">
          <pc:chgData name="Hasan Senol Coskun" userId="88cd95f7b86daa2f" providerId="LiveId" clId="{0A1DC79D-782D-493E-B89A-90325507C91B}" dt="2020-11-13T17:43:53.410" v="379" actId="47"/>
          <pc:sldLayoutMkLst>
            <pc:docMk/>
            <pc:sldMasterMk cId="0" sldId="2147483648"/>
            <pc:sldLayoutMk cId="3928094781" sldId="2147483817"/>
          </pc:sldLayoutMkLst>
        </pc:sldLayoutChg>
        <pc:sldLayoutChg chg="del">
          <pc:chgData name="Hasan Senol Coskun" userId="88cd95f7b86daa2f" providerId="LiveId" clId="{0A1DC79D-782D-493E-B89A-90325507C91B}" dt="2020-11-10T20:32:14.207" v="53" actId="47"/>
          <pc:sldLayoutMkLst>
            <pc:docMk/>
            <pc:sldMasterMk cId="0" sldId="2147483648"/>
            <pc:sldLayoutMk cId="2002629658" sldId="2147483818"/>
          </pc:sldLayoutMkLst>
        </pc:sldLayoutChg>
        <pc:sldLayoutChg chg="del">
          <pc:chgData name="Hasan Senol Coskun" userId="88cd95f7b86daa2f" providerId="LiveId" clId="{0A1DC79D-782D-493E-B89A-90325507C91B}" dt="2020-11-10T20:32:14.207" v="53" actId="47"/>
          <pc:sldLayoutMkLst>
            <pc:docMk/>
            <pc:sldMasterMk cId="0" sldId="2147483648"/>
            <pc:sldLayoutMk cId="3921040115" sldId="2147483819"/>
          </pc:sldLayoutMkLst>
        </pc:sldLayoutChg>
      </pc:sldMasterChg>
      <pc:sldMasterChg chg="del delSldLayout">
        <pc:chgData name="Hasan Senol Coskun" userId="88cd95f7b86daa2f" providerId="LiveId" clId="{0A1DC79D-782D-493E-B89A-90325507C91B}" dt="2020-11-10T20:34:06.412" v="56" actId="47"/>
        <pc:sldMasterMkLst>
          <pc:docMk/>
          <pc:sldMasterMk cId="0" sldId="2147483660"/>
        </pc:sldMasterMkLst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2240585563" sldId="2147483790"/>
          </pc:sldLayoutMkLst>
        </pc:sldLayoutChg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2495014389" sldId="2147483791"/>
          </pc:sldLayoutMkLst>
        </pc:sldLayoutChg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1262026928" sldId="2147483792"/>
          </pc:sldLayoutMkLst>
        </pc:sldLayoutChg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278731448" sldId="2147483793"/>
          </pc:sldLayoutMkLst>
        </pc:sldLayoutChg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1330225919" sldId="2147483794"/>
          </pc:sldLayoutMkLst>
        </pc:sldLayoutChg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4217754882" sldId="2147483795"/>
          </pc:sldLayoutMkLst>
        </pc:sldLayoutChg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1370323123" sldId="2147483796"/>
          </pc:sldLayoutMkLst>
        </pc:sldLayoutChg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2932373250" sldId="2147483797"/>
          </pc:sldLayoutMkLst>
        </pc:sldLayoutChg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2524852357" sldId="2147483798"/>
          </pc:sldLayoutMkLst>
        </pc:sldLayoutChg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3112423331" sldId="2147483799"/>
          </pc:sldLayoutMkLst>
        </pc:sldLayoutChg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1534935878" sldId="2147483800"/>
          </pc:sldLayoutMkLst>
        </pc:sldLayoutChg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438092735" sldId="2147483801"/>
          </pc:sldLayoutMkLst>
        </pc:sldLayoutChg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3936931584" sldId="2147483802"/>
          </pc:sldLayoutMkLst>
        </pc:sldLayoutChg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1329661667" sldId="2147483803"/>
          </pc:sldLayoutMkLst>
        </pc:sldLayoutChg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3206203708" sldId="2147483804"/>
          </pc:sldLayoutMkLst>
        </pc:sldLayoutChg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3773667327" sldId="2147483805"/>
          </pc:sldLayoutMkLst>
        </pc:sldLayoutChg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1604286449" sldId="2147483806"/>
          </pc:sldLayoutMkLst>
        </pc:sldLayoutChg>
        <pc:sldLayoutChg chg="del">
          <pc:chgData name="Hasan Senol Coskun" userId="88cd95f7b86daa2f" providerId="LiveId" clId="{0A1DC79D-782D-493E-B89A-90325507C91B}" dt="2020-11-10T20:34:06.412" v="56" actId="47"/>
          <pc:sldLayoutMkLst>
            <pc:docMk/>
            <pc:sldMasterMk cId="0" sldId="2147483660"/>
            <pc:sldLayoutMk cId="3445817267" sldId="2147483807"/>
          </pc:sldLayoutMkLst>
        </pc:sldLayoutChg>
      </pc:sldMasterChg>
      <pc:sldMasterChg chg="del delSldLayout">
        <pc:chgData name="Hasan Senol Coskun" userId="88cd95f7b86daa2f" providerId="LiveId" clId="{0A1DC79D-782D-493E-B89A-90325507C91B}" dt="2020-11-13T17:45:43.177" v="383" actId="700"/>
        <pc:sldMasterMkLst>
          <pc:docMk/>
          <pc:sldMasterMk cId="1298248892" sldId="2147483827"/>
        </pc:sldMasterMkLst>
        <pc:sldLayoutChg chg="del">
          <pc:chgData name="Hasan Senol Coskun" userId="88cd95f7b86daa2f" providerId="LiveId" clId="{0A1DC79D-782D-493E-B89A-90325507C91B}" dt="2020-11-13T17:45:43.177" v="383" actId="700"/>
          <pc:sldLayoutMkLst>
            <pc:docMk/>
            <pc:sldMasterMk cId="1298248892" sldId="2147483827"/>
            <pc:sldLayoutMk cId="2997115592" sldId="2147483828"/>
          </pc:sldLayoutMkLst>
        </pc:sldLayoutChg>
        <pc:sldLayoutChg chg="del">
          <pc:chgData name="Hasan Senol Coskun" userId="88cd95f7b86daa2f" providerId="LiveId" clId="{0A1DC79D-782D-493E-B89A-90325507C91B}" dt="2020-11-13T17:45:43.177" v="383" actId="700"/>
          <pc:sldLayoutMkLst>
            <pc:docMk/>
            <pc:sldMasterMk cId="1298248892" sldId="2147483827"/>
            <pc:sldLayoutMk cId="425010484" sldId="2147483829"/>
          </pc:sldLayoutMkLst>
        </pc:sldLayoutChg>
        <pc:sldLayoutChg chg="del">
          <pc:chgData name="Hasan Senol Coskun" userId="88cd95f7b86daa2f" providerId="LiveId" clId="{0A1DC79D-782D-493E-B89A-90325507C91B}" dt="2020-11-13T17:45:43.177" v="383" actId="700"/>
          <pc:sldLayoutMkLst>
            <pc:docMk/>
            <pc:sldMasterMk cId="1298248892" sldId="2147483827"/>
            <pc:sldLayoutMk cId="4168683872" sldId="2147483830"/>
          </pc:sldLayoutMkLst>
        </pc:sldLayoutChg>
        <pc:sldLayoutChg chg="del">
          <pc:chgData name="Hasan Senol Coskun" userId="88cd95f7b86daa2f" providerId="LiveId" clId="{0A1DC79D-782D-493E-B89A-90325507C91B}" dt="2020-11-13T17:45:43.177" v="383" actId="700"/>
          <pc:sldLayoutMkLst>
            <pc:docMk/>
            <pc:sldMasterMk cId="1298248892" sldId="2147483827"/>
            <pc:sldLayoutMk cId="3887570449" sldId="2147483831"/>
          </pc:sldLayoutMkLst>
        </pc:sldLayoutChg>
        <pc:sldLayoutChg chg="del">
          <pc:chgData name="Hasan Senol Coskun" userId="88cd95f7b86daa2f" providerId="LiveId" clId="{0A1DC79D-782D-493E-B89A-90325507C91B}" dt="2020-11-13T17:45:43.177" v="383" actId="700"/>
          <pc:sldLayoutMkLst>
            <pc:docMk/>
            <pc:sldMasterMk cId="1298248892" sldId="2147483827"/>
            <pc:sldLayoutMk cId="2977915120" sldId="2147483832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FFE38F7-58C1-4BCF-805A-185921990D43}" type="doc">
      <dgm:prSet loTypeId="urn:microsoft.com/office/officeart/2005/8/layout/matrix3" loCatId="matrix" qsTypeId="urn:microsoft.com/office/officeart/2005/8/quickstyle/simple1" qsCatId="simple" csTypeId="urn:microsoft.com/office/officeart/2005/8/colors/accent6_1" csCatId="accent6" phldr="1"/>
      <dgm:spPr/>
      <dgm:t>
        <a:bodyPr/>
        <a:lstStyle/>
        <a:p>
          <a:endParaRPr lang="tr-TR"/>
        </a:p>
      </dgm:t>
    </dgm:pt>
    <dgm:pt modelId="{B35EBE37-6A35-4D41-8C55-7F2508EB1AB6}">
      <dgm:prSet phldrT="[Metin]" custT="1"/>
      <dgm:spPr>
        <a:solidFill>
          <a:srgbClr val="FFC000"/>
        </a:solidFill>
      </dgm:spPr>
      <dgm:t>
        <a:bodyPr/>
        <a:lstStyle/>
        <a:p>
          <a:r>
            <a:rPr lang="tr-TR" sz="1400" b="1" dirty="0"/>
            <a:t>Genel</a:t>
          </a:r>
        </a:p>
      </dgm:t>
    </dgm:pt>
    <dgm:pt modelId="{A9439EB6-5271-47C6-87B1-08F2A7570EB0}" type="parTrans" cxnId="{997FCE80-D96E-4E03-B81A-19353260153E}">
      <dgm:prSet/>
      <dgm:spPr/>
      <dgm:t>
        <a:bodyPr/>
        <a:lstStyle/>
        <a:p>
          <a:endParaRPr lang="tr-TR" sz="1400"/>
        </a:p>
      </dgm:t>
    </dgm:pt>
    <dgm:pt modelId="{362F297A-AE7F-4F4A-813C-DCF7C264797A}" type="sibTrans" cxnId="{997FCE80-D96E-4E03-B81A-19353260153E}">
      <dgm:prSet/>
      <dgm:spPr/>
      <dgm:t>
        <a:bodyPr/>
        <a:lstStyle/>
        <a:p>
          <a:endParaRPr lang="tr-TR" sz="1400"/>
        </a:p>
      </dgm:t>
    </dgm:pt>
    <dgm:pt modelId="{D46DC657-6F12-467D-BF74-C52C8FC153D3}">
      <dgm:prSet phldrT="[Metin]" custT="1"/>
      <dgm:spPr>
        <a:solidFill>
          <a:srgbClr val="FFC000"/>
        </a:solidFill>
      </dgm:spPr>
      <dgm:t>
        <a:bodyPr/>
        <a:lstStyle/>
        <a:p>
          <a:r>
            <a:rPr lang="en-GB" sz="1400" b="1" dirty="0"/>
            <a:t>HSMPK</a:t>
          </a:r>
          <a:endParaRPr lang="tr-TR" sz="1400" b="1" dirty="0"/>
        </a:p>
      </dgm:t>
    </dgm:pt>
    <dgm:pt modelId="{05B4C6D7-F52D-4BD9-AFD8-1B16BB38A60D}" type="parTrans" cxnId="{5C0E9583-A99A-45AB-B8C6-6839930D2C3E}">
      <dgm:prSet/>
      <dgm:spPr/>
      <dgm:t>
        <a:bodyPr/>
        <a:lstStyle/>
        <a:p>
          <a:endParaRPr lang="tr-TR" sz="1400"/>
        </a:p>
      </dgm:t>
    </dgm:pt>
    <dgm:pt modelId="{E7BEDD21-72BA-4E1C-B448-08F2FD6802FD}" type="sibTrans" cxnId="{5C0E9583-A99A-45AB-B8C6-6839930D2C3E}">
      <dgm:prSet/>
      <dgm:spPr/>
      <dgm:t>
        <a:bodyPr/>
        <a:lstStyle/>
        <a:p>
          <a:endParaRPr lang="tr-TR" sz="1400"/>
        </a:p>
      </dgm:t>
    </dgm:pt>
    <dgm:pt modelId="{3749793C-7D55-4F1C-ABBD-587F91960E12}">
      <dgm:prSet phldrT="[Metin]" custT="1"/>
      <dgm:spPr>
        <a:solidFill>
          <a:srgbClr val="FFC000"/>
        </a:solidFill>
      </dgm:spPr>
      <dgm:t>
        <a:bodyPr/>
        <a:lstStyle/>
        <a:p>
          <a:r>
            <a:rPr lang="en-GB" sz="1400" b="1" dirty="0"/>
            <a:t>MKDPK</a:t>
          </a:r>
          <a:endParaRPr lang="tr-TR" sz="1400" b="1" dirty="0"/>
        </a:p>
      </dgm:t>
    </dgm:pt>
    <dgm:pt modelId="{5357F668-C360-40C6-A293-6CEF88C1A1ED}" type="parTrans" cxnId="{A91D5C4F-6C80-4861-A9AE-38A87A4CCB28}">
      <dgm:prSet/>
      <dgm:spPr/>
      <dgm:t>
        <a:bodyPr/>
        <a:lstStyle/>
        <a:p>
          <a:endParaRPr lang="tr-TR" sz="1400"/>
        </a:p>
      </dgm:t>
    </dgm:pt>
    <dgm:pt modelId="{DF759000-3D2B-45AA-8DF7-AC678CDBD6B9}" type="sibTrans" cxnId="{A91D5C4F-6C80-4861-A9AE-38A87A4CCB28}">
      <dgm:prSet/>
      <dgm:spPr/>
      <dgm:t>
        <a:bodyPr/>
        <a:lstStyle/>
        <a:p>
          <a:endParaRPr lang="tr-TR" sz="1400"/>
        </a:p>
      </dgm:t>
    </dgm:pt>
    <dgm:pt modelId="{02F33C3E-3258-40DC-9F5E-3460C3C94035}">
      <dgm:prSet phldrT="[Metin]" custT="1"/>
      <dgm:spPr>
        <a:solidFill>
          <a:srgbClr val="FFC000"/>
        </a:solidFill>
      </dgm:spPr>
      <dgm:t>
        <a:bodyPr/>
        <a:lstStyle/>
        <a:p>
          <a:r>
            <a:rPr lang="en-GB" sz="1400" b="1" dirty="0"/>
            <a:t>MO KDPK</a:t>
          </a:r>
          <a:endParaRPr lang="tr-TR" sz="1400" b="1" dirty="0"/>
        </a:p>
      </dgm:t>
    </dgm:pt>
    <dgm:pt modelId="{6DF800A0-CB7C-460B-989D-49EE63025171}" type="parTrans" cxnId="{8316B574-3EA9-4F05-A57C-F7B45FB48AA9}">
      <dgm:prSet/>
      <dgm:spPr/>
      <dgm:t>
        <a:bodyPr/>
        <a:lstStyle/>
        <a:p>
          <a:endParaRPr lang="tr-TR" sz="1400"/>
        </a:p>
      </dgm:t>
    </dgm:pt>
    <dgm:pt modelId="{5B6D150A-C2CC-47C8-B9E9-CF3811C892DE}" type="sibTrans" cxnId="{8316B574-3EA9-4F05-A57C-F7B45FB48AA9}">
      <dgm:prSet/>
      <dgm:spPr/>
      <dgm:t>
        <a:bodyPr/>
        <a:lstStyle/>
        <a:p>
          <a:endParaRPr lang="tr-TR" sz="1400"/>
        </a:p>
      </dgm:t>
    </dgm:pt>
    <dgm:pt modelId="{7D33C60A-4571-4FF7-8BFD-49A4F1AC853E}" type="pres">
      <dgm:prSet presAssocID="{AFFE38F7-58C1-4BCF-805A-185921990D43}" presName="matrix" presStyleCnt="0">
        <dgm:presLayoutVars>
          <dgm:chMax val="1"/>
          <dgm:dir/>
          <dgm:resizeHandles val="exact"/>
        </dgm:presLayoutVars>
      </dgm:prSet>
      <dgm:spPr/>
    </dgm:pt>
    <dgm:pt modelId="{4E6092A6-A735-4175-8D91-8959D87C0D6D}" type="pres">
      <dgm:prSet presAssocID="{AFFE38F7-58C1-4BCF-805A-185921990D43}" presName="diamond" presStyleLbl="bgShp" presStyleIdx="0" presStyleCnt="1"/>
      <dgm:spPr/>
    </dgm:pt>
    <dgm:pt modelId="{5A6BFA93-5B6C-4557-B87A-141EC809CA35}" type="pres">
      <dgm:prSet presAssocID="{AFFE38F7-58C1-4BCF-805A-185921990D43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760B0C4-4A3C-4921-AE2B-07EEEFCF72E8}" type="pres">
      <dgm:prSet presAssocID="{AFFE38F7-58C1-4BCF-805A-185921990D43}" presName="quad2" presStyleLbl="node1" presStyleIdx="1" presStyleCnt="4" custLinFactNeighborX="641" custLinFactNeighborY="-2683">
        <dgm:presLayoutVars>
          <dgm:chMax val="0"/>
          <dgm:chPref val="0"/>
          <dgm:bulletEnabled val="1"/>
        </dgm:presLayoutVars>
      </dgm:prSet>
      <dgm:spPr/>
    </dgm:pt>
    <dgm:pt modelId="{8FA6D266-EAA8-4692-8936-2814744BE824}" type="pres">
      <dgm:prSet presAssocID="{AFFE38F7-58C1-4BCF-805A-185921990D43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ED5911AD-CE1F-4E21-ACED-0F3BB4F5827B}" type="pres">
      <dgm:prSet presAssocID="{AFFE38F7-58C1-4BCF-805A-185921990D43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4433618-5DAE-4DCD-83AE-790BCD1CD733}" type="presOf" srcId="{3749793C-7D55-4F1C-ABBD-587F91960E12}" destId="{8FA6D266-EAA8-4692-8936-2814744BE824}" srcOrd="0" destOrd="0" presId="urn:microsoft.com/office/officeart/2005/8/layout/matrix3"/>
    <dgm:cxn modelId="{3FFBD21C-129A-4279-99F9-3CD7E46A58CD}" type="presOf" srcId="{AFFE38F7-58C1-4BCF-805A-185921990D43}" destId="{7D33C60A-4571-4FF7-8BFD-49A4F1AC853E}" srcOrd="0" destOrd="0" presId="urn:microsoft.com/office/officeart/2005/8/layout/matrix3"/>
    <dgm:cxn modelId="{A91D5C4F-6C80-4861-A9AE-38A87A4CCB28}" srcId="{AFFE38F7-58C1-4BCF-805A-185921990D43}" destId="{3749793C-7D55-4F1C-ABBD-587F91960E12}" srcOrd="2" destOrd="0" parTransId="{5357F668-C360-40C6-A293-6CEF88C1A1ED}" sibTransId="{DF759000-3D2B-45AA-8DF7-AC678CDBD6B9}"/>
    <dgm:cxn modelId="{5909646F-FFAA-48BC-9E28-96C5597C0F1F}" type="presOf" srcId="{B35EBE37-6A35-4D41-8C55-7F2508EB1AB6}" destId="{5A6BFA93-5B6C-4557-B87A-141EC809CA35}" srcOrd="0" destOrd="0" presId="urn:microsoft.com/office/officeart/2005/8/layout/matrix3"/>
    <dgm:cxn modelId="{8316B574-3EA9-4F05-A57C-F7B45FB48AA9}" srcId="{AFFE38F7-58C1-4BCF-805A-185921990D43}" destId="{02F33C3E-3258-40DC-9F5E-3460C3C94035}" srcOrd="3" destOrd="0" parTransId="{6DF800A0-CB7C-460B-989D-49EE63025171}" sibTransId="{5B6D150A-C2CC-47C8-B9E9-CF3811C892DE}"/>
    <dgm:cxn modelId="{997FCE80-D96E-4E03-B81A-19353260153E}" srcId="{AFFE38F7-58C1-4BCF-805A-185921990D43}" destId="{B35EBE37-6A35-4D41-8C55-7F2508EB1AB6}" srcOrd="0" destOrd="0" parTransId="{A9439EB6-5271-47C6-87B1-08F2A7570EB0}" sibTransId="{362F297A-AE7F-4F4A-813C-DCF7C264797A}"/>
    <dgm:cxn modelId="{5C0E9583-A99A-45AB-B8C6-6839930D2C3E}" srcId="{AFFE38F7-58C1-4BCF-805A-185921990D43}" destId="{D46DC657-6F12-467D-BF74-C52C8FC153D3}" srcOrd="1" destOrd="0" parTransId="{05B4C6D7-F52D-4BD9-AFD8-1B16BB38A60D}" sibTransId="{E7BEDD21-72BA-4E1C-B448-08F2FD6802FD}"/>
    <dgm:cxn modelId="{6A00B786-873F-491E-9862-5489CF06E3A2}" type="presOf" srcId="{D46DC657-6F12-467D-BF74-C52C8FC153D3}" destId="{C760B0C4-4A3C-4921-AE2B-07EEEFCF72E8}" srcOrd="0" destOrd="0" presId="urn:microsoft.com/office/officeart/2005/8/layout/matrix3"/>
    <dgm:cxn modelId="{028EA3BB-3B13-47AF-8A97-C6D53DE200B5}" type="presOf" srcId="{02F33C3E-3258-40DC-9F5E-3460C3C94035}" destId="{ED5911AD-CE1F-4E21-ACED-0F3BB4F5827B}" srcOrd="0" destOrd="0" presId="urn:microsoft.com/office/officeart/2005/8/layout/matrix3"/>
    <dgm:cxn modelId="{7B8B1615-6930-43A9-8D98-683AF8F4ABBC}" type="presParOf" srcId="{7D33C60A-4571-4FF7-8BFD-49A4F1AC853E}" destId="{4E6092A6-A735-4175-8D91-8959D87C0D6D}" srcOrd="0" destOrd="0" presId="urn:microsoft.com/office/officeart/2005/8/layout/matrix3"/>
    <dgm:cxn modelId="{2624D8F7-CE17-4DE9-8C7D-5D8DF6DB2259}" type="presParOf" srcId="{7D33C60A-4571-4FF7-8BFD-49A4F1AC853E}" destId="{5A6BFA93-5B6C-4557-B87A-141EC809CA35}" srcOrd="1" destOrd="0" presId="urn:microsoft.com/office/officeart/2005/8/layout/matrix3"/>
    <dgm:cxn modelId="{0EAAA998-1D29-467B-90E7-D7436C059C62}" type="presParOf" srcId="{7D33C60A-4571-4FF7-8BFD-49A4F1AC853E}" destId="{C760B0C4-4A3C-4921-AE2B-07EEEFCF72E8}" srcOrd="2" destOrd="0" presId="urn:microsoft.com/office/officeart/2005/8/layout/matrix3"/>
    <dgm:cxn modelId="{7C2900F3-09D8-4A35-A6EA-CFF8F365129C}" type="presParOf" srcId="{7D33C60A-4571-4FF7-8BFD-49A4F1AC853E}" destId="{8FA6D266-EAA8-4692-8936-2814744BE824}" srcOrd="3" destOrd="0" presId="urn:microsoft.com/office/officeart/2005/8/layout/matrix3"/>
    <dgm:cxn modelId="{2CCBAFF5-49C4-45FE-9796-9F6D52CB058E}" type="presParOf" srcId="{7D33C60A-4571-4FF7-8BFD-49A4F1AC853E}" destId="{ED5911AD-CE1F-4E21-ACED-0F3BB4F5827B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ABCCE2DA-C0D3-4548-B041-C3EA06DDC759}" type="doc">
      <dgm:prSet loTypeId="urn:microsoft.com/office/officeart/2005/8/layout/b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657A76F-D8BF-4AA7-A7C1-86A6822E7B5C}">
      <dgm:prSet/>
      <dgm:spPr>
        <a:solidFill>
          <a:srgbClr val="66CCFF"/>
        </a:solidFill>
      </dgm:spPr>
      <dgm:t>
        <a:bodyPr/>
        <a:lstStyle/>
        <a:p>
          <a:r>
            <a:rPr lang="en-GB"/>
            <a:t>Tarihsel değişimin başlangıcı</a:t>
          </a:r>
        </a:p>
      </dgm:t>
    </dgm:pt>
    <dgm:pt modelId="{3A8C32CD-B9DB-4DD2-AC96-1B1D29CE14B5}" type="parTrans" cxnId="{1EA15247-997D-4054-933E-C629190434D2}">
      <dgm:prSet/>
      <dgm:spPr/>
      <dgm:t>
        <a:bodyPr/>
        <a:lstStyle/>
        <a:p>
          <a:endParaRPr lang="en-GB"/>
        </a:p>
      </dgm:t>
    </dgm:pt>
    <dgm:pt modelId="{AAD301DA-B514-46AC-A36C-056FF411EE7A}" type="sibTrans" cxnId="{1EA15247-997D-4054-933E-C629190434D2}">
      <dgm:prSet/>
      <dgm:spPr/>
      <dgm:t>
        <a:bodyPr/>
        <a:lstStyle/>
        <a:p>
          <a:endParaRPr lang="en-GB"/>
        </a:p>
      </dgm:t>
    </dgm:pt>
    <dgm:pt modelId="{BDE8DCEF-85AE-44D2-A72C-A13BB622DEF2}">
      <dgm:prSet custT="1"/>
      <dgm:spPr>
        <a:solidFill>
          <a:schemeClr val="accent5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GB" sz="2000"/>
            <a:t>2004</a:t>
          </a:r>
        </a:p>
      </dgm:t>
    </dgm:pt>
    <dgm:pt modelId="{5B79351D-9903-40D6-850D-14887AFFBC51}" type="parTrans" cxnId="{0AB43D4E-97EF-46F7-A635-3317AED48CC0}">
      <dgm:prSet/>
      <dgm:spPr/>
      <dgm:t>
        <a:bodyPr/>
        <a:lstStyle/>
        <a:p>
          <a:endParaRPr lang="en-GB"/>
        </a:p>
      </dgm:t>
    </dgm:pt>
    <dgm:pt modelId="{C0E4AE4F-6448-4FF1-A104-6F2EB9F74B3E}" type="sibTrans" cxnId="{0AB43D4E-97EF-46F7-A635-3317AED48CC0}">
      <dgm:prSet/>
      <dgm:spPr/>
      <dgm:t>
        <a:bodyPr/>
        <a:lstStyle/>
        <a:p>
          <a:endParaRPr lang="en-GB"/>
        </a:p>
      </dgm:t>
    </dgm:pt>
    <dgm:pt modelId="{A517F7D0-93A6-4F46-ADBF-76616F6B2AFE}">
      <dgm:prSet/>
      <dgm:spPr>
        <a:solidFill>
          <a:srgbClr val="66CCFF"/>
        </a:solidFill>
      </dgm:spPr>
      <dgm:t>
        <a:bodyPr/>
        <a:lstStyle/>
        <a:p>
          <a:r>
            <a:rPr lang="en-GB"/>
            <a:t>İlk sistemik tedavi</a:t>
          </a:r>
        </a:p>
      </dgm:t>
    </dgm:pt>
    <dgm:pt modelId="{C4B730AE-ADF1-46C1-A1A7-C61142A536F0}" type="parTrans" cxnId="{BBC26D18-0415-4BE0-978E-FF5E92A4086A}">
      <dgm:prSet/>
      <dgm:spPr/>
      <dgm:t>
        <a:bodyPr/>
        <a:lstStyle/>
        <a:p>
          <a:endParaRPr lang="en-GB"/>
        </a:p>
      </dgm:t>
    </dgm:pt>
    <dgm:pt modelId="{B6498320-08E9-41F4-B6C7-A1580624FA86}" type="sibTrans" cxnId="{BBC26D18-0415-4BE0-978E-FF5E92A4086A}">
      <dgm:prSet/>
      <dgm:spPr/>
      <dgm:t>
        <a:bodyPr/>
        <a:lstStyle/>
        <a:p>
          <a:endParaRPr lang="en-GB"/>
        </a:p>
      </dgm:t>
    </dgm:pt>
    <dgm:pt modelId="{3700BCDA-5703-4C80-89F9-5AD31795F566}">
      <dgm:prSet custT="1"/>
      <dgm:spPr>
        <a:solidFill>
          <a:schemeClr val="accent5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GB" sz="2000" dirty="0" err="1"/>
            <a:t>Dosetaksel</a:t>
          </a:r>
          <a:r>
            <a:rPr lang="en-GB" sz="2000" dirty="0"/>
            <a:t> </a:t>
          </a:r>
          <a:r>
            <a:rPr lang="en-GB" sz="2000" dirty="0" err="1"/>
            <a:t>Mitoxantron</a:t>
          </a:r>
          <a:r>
            <a:rPr lang="en-GB" sz="2000" dirty="0"/>
            <a:t> dan </a:t>
          </a:r>
          <a:r>
            <a:rPr lang="en-GB" sz="2000" dirty="0" err="1"/>
            <a:t>üstün</a:t>
          </a:r>
          <a:endParaRPr lang="en-GB" sz="2000" dirty="0"/>
        </a:p>
      </dgm:t>
    </dgm:pt>
    <dgm:pt modelId="{87C6E740-B61A-4151-9E42-08810EDDF856}" type="parTrans" cxnId="{2E1B6547-809C-4318-876D-3FFA6A9726E5}">
      <dgm:prSet/>
      <dgm:spPr/>
      <dgm:t>
        <a:bodyPr/>
        <a:lstStyle/>
        <a:p>
          <a:endParaRPr lang="en-GB"/>
        </a:p>
      </dgm:t>
    </dgm:pt>
    <dgm:pt modelId="{4BEDBFB6-FDC4-4A16-839A-910141D2A1F6}" type="sibTrans" cxnId="{2E1B6547-809C-4318-876D-3FFA6A9726E5}">
      <dgm:prSet/>
      <dgm:spPr/>
      <dgm:t>
        <a:bodyPr/>
        <a:lstStyle/>
        <a:p>
          <a:endParaRPr lang="en-GB"/>
        </a:p>
      </dgm:t>
    </dgm:pt>
    <dgm:pt modelId="{A9BE41C5-9CEA-414F-AF5B-2346FD04FE2D}">
      <dgm:prSet/>
      <dgm:spPr>
        <a:solidFill>
          <a:srgbClr val="66CCFF"/>
        </a:solidFill>
      </dgm:spPr>
      <dgm:t>
        <a:bodyPr/>
        <a:lstStyle/>
        <a:p>
          <a:r>
            <a:rPr lang="en-GB"/>
            <a:t>Türkiyede geri ödeme ana koşulu</a:t>
          </a:r>
        </a:p>
      </dgm:t>
    </dgm:pt>
    <dgm:pt modelId="{F890BCB8-580E-4F52-BFA5-3E4E0C96A6ED}" type="parTrans" cxnId="{7F5CFE40-2386-4B81-94D4-515A06D63F14}">
      <dgm:prSet/>
      <dgm:spPr/>
      <dgm:t>
        <a:bodyPr/>
        <a:lstStyle/>
        <a:p>
          <a:endParaRPr lang="en-GB"/>
        </a:p>
      </dgm:t>
    </dgm:pt>
    <dgm:pt modelId="{E4832BC6-B183-42CC-9063-AE1B5047B309}" type="sibTrans" cxnId="{7F5CFE40-2386-4B81-94D4-515A06D63F14}">
      <dgm:prSet/>
      <dgm:spPr/>
      <dgm:t>
        <a:bodyPr/>
        <a:lstStyle/>
        <a:p>
          <a:endParaRPr lang="en-GB"/>
        </a:p>
      </dgm:t>
    </dgm:pt>
    <dgm:pt modelId="{7B60BBF4-A6C8-4993-8307-89C5299098C7}">
      <dgm:prSet custT="1"/>
      <dgm:spPr>
        <a:solidFill>
          <a:schemeClr val="accent5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GB" sz="2000"/>
            <a:t>AR inhibitörü öncesi gerekli</a:t>
          </a:r>
        </a:p>
      </dgm:t>
    </dgm:pt>
    <dgm:pt modelId="{0E6A3D5F-BA6E-4912-A1CA-2C3BA4C976B2}" type="parTrans" cxnId="{E622BCD4-3EDD-4A5A-91F2-E38721405844}">
      <dgm:prSet/>
      <dgm:spPr/>
      <dgm:t>
        <a:bodyPr/>
        <a:lstStyle/>
        <a:p>
          <a:endParaRPr lang="en-GB"/>
        </a:p>
      </dgm:t>
    </dgm:pt>
    <dgm:pt modelId="{516FDCEE-BCEC-47C3-9CE6-30B4D307B955}" type="sibTrans" cxnId="{E622BCD4-3EDD-4A5A-91F2-E38721405844}">
      <dgm:prSet/>
      <dgm:spPr/>
      <dgm:t>
        <a:bodyPr/>
        <a:lstStyle/>
        <a:p>
          <a:endParaRPr lang="en-GB"/>
        </a:p>
      </dgm:t>
    </dgm:pt>
    <dgm:pt modelId="{B13A6715-5637-4C0F-AF91-CB315763E436}">
      <dgm:prSet custT="1"/>
      <dgm:spPr>
        <a:solidFill>
          <a:schemeClr val="accent5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GB" sz="2000"/>
            <a:t>Endikasyon dışı</a:t>
          </a:r>
        </a:p>
      </dgm:t>
    </dgm:pt>
    <dgm:pt modelId="{DBC4CECE-AA6F-4FE3-BBFD-9BB5C08C79F4}" type="parTrans" cxnId="{6EAB1457-DA71-45DC-9472-C058F22492AA}">
      <dgm:prSet/>
      <dgm:spPr/>
      <dgm:t>
        <a:bodyPr/>
        <a:lstStyle/>
        <a:p>
          <a:endParaRPr lang="en-GB"/>
        </a:p>
      </dgm:t>
    </dgm:pt>
    <dgm:pt modelId="{C920481D-F824-4181-AD26-42C7C6DD1D01}" type="sibTrans" cxnId="{6EAB1457-DA71-45DC-9472-C058F22492AA}">
      <dgm:prSet/>
      <dgm:spPr/>
      <dgm:t>
        <a:bodyPr/>
        <a:lstStyle/>
        <a:p>
          <a:endParaRPr lang="en-GB"/>
        </a:p>
      </dgm:t>
    </dgm:pt>
    <dgm:pt modelId="{BBC7011D-D05F-482E-8AF5-5AAA9E6A5E7A}">
      <dgm:prSet custT="1"/>
      <dgm:spPr>
        <a:solidFill>
          <a:schemeClr val="accent5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GB" sz="2000" dirty="0"/>
            <a:t>Steroid </a:t>
          </a:r>
          <a:r>
            <a:rPr lang="en-GB" sz="2000" dirty="0" err="1"/>
            <a:t>zorunluluğu</a:t>
          </a:r>
          <a:r>
            <a:rPr lang="en-GB" sz="2000" dirty="0"/>
            <a:t> </a:t>
          </a:r>
          <a:r>
            <a:rPr lang="en-GB" sz="2000" dirty="0" err="1"/>
            <a:t>getirdi</a:t>
          </a:r>
          <a:endParaRPr lang="en-GB" sz="2000" dirty="0"/>
        </a:p>
      </dgm:t>
    </dgm:pt>
    <dgm:pt modelId="{A608981C-20D5-4D62-A8E5-3B3AE1CFB04C}" type="parTrans" cxnId="{8DD6EB9D-57FD-4B95-99FE-B21D009E00EC}">
      <dgm:prSet/>
      <dgm:spPr/>
      <dgm:t>
        <a:bodyPr/>
        <a:lstStyle/>
        <a:p>
          <a:endParaRPr lang="en-GB"/>
        </a:p>
      </dgm:t>
    </dgm:pt>
    <dgm:pt modelId="{C3B458BD-EF24-43CE-B4D1-124AB96BF151}" type="sibTrans" cxnId="{8DD6EB9D-57FD-4B95-99FE-B21D009E00EC}">
      <dgm:prSet/>
      <dgm:spPr/>
      <dgm:t>
        <a:bodyPr/>
        <a:lstStyle/>
        <a:p>
          <a:endParaRPr lang="en-GB"/>
        </a:p>
      </dgm:t>
    </dgm:pt>
    <dgm:pt modelId="{B5E277A7-42FE-4C6A-BE6B-042C16C2D089}" type="pres">
      <dgm:prSet presAssocID="{ABCCE2DA-C0D3-4548-B041-C3EA06DDC759}" presName="diagram" presStyleCnt="0">
        <dgm:presLayoutVars>
          <dgm:dir/>
          <dgm:animLvl val="lvl"/>
          <dgm:resizeHandles val="exact"/>
        </dgm:presLayoutVars>
      </dgm:prSet>
      <dgm:spPr/>
    </dgm:pt>
    <dgm:pt modelId="{65BA4B83-E947-4F7B-BD01-54132446D786}" type="pres">
      <dgm:prSet presAssocID="{6657A76F-D8BF-4AA7-A7C1-86A6822E7B5C}" presName="compNode" presStyleCnt="0"/>
      <dgm:spPr/>
    </dgm:pt>
    <dgm:pt modelId="{F4879FE0-D9C3-46AC-9BBB-DC0C71F024FD}" type="pres">
      <dgm:prSet presAssocID="{6657A76F-D8BF-4AA7-A7C1-86A6822E7B5C}" presName="childRect" presStyleLbl="bgAcc1" presStyleIdx="0" presStyleCnt="3">
        <dgm:presLayoutVars>
          <dgm:bulletEnabled val="1"/>
        </dgm:presLayoutVars>
      </dgm:prSet>
      <dgm:spPr/>
    </dgm:pt>
    <dgm:pt modelId="{D02EFFFD-6CD1-4462-9145-81962645EBD2}" type="pres">
      <dgm:prSet presAssocID="{6657A76F-D8BF-4AA7-A7C1-86A6822E7B5C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EE547524-684A-4665-9A93-2F79B46A6F76}" type="pres">
      <dgm:prSet presAssocID="{6657A76F-D8BF-4AA7-A7C1-86A6822E7B5C}" presName="parentRect" presStyleLbl="alignNode1" presStyleIdx="0" presStyleCnt="3"/>
      <dgm:spPr/>
    </dgm:pt>
    <dgm:pt modelId="{DDE49E85-273F-4F37-BBCD-6476FB876B30}" type="pres">
      <dgm:prSet presAssocID="{6657A76F-D8BF-4AA7-A7C1-86A6822E7B5C}" presName="adorn" presStyleLbl="fgAccFollowNode1" presStyleIdx="0" presStyleCnt="3"/>
      <dgm:spPr/>
    </dgm:pt>
    <dgm:pt modelId="{D706DAF4-5ACD-492A-A8C3-77A004F11881}" type="pres">
      <dgm:prSet presAssocID="{AAD301DA-B514-46AC-A36C-056FF411EE7A}" presName="sibTrans" presStyleLbl="sibTrans2D1" presStyleIdx="0" presStyleCnt="0"/>
      <dgm:spPr/>
    </dgm:pt>
    <dgm:pt modelId="{C37408C7-9F78-4394-AB5C-E10B9045586B}" type="pres">
      <dgm:prSet presAssocID="{A517F7D0-93A6-4F46-ADBF-76616F6B2AFE}" presName="compNode" presStyleCnt="0"/>
      <dgm:spPr/>
    </dgm:pt>
    <dgm:pt modelId="{6ED362E1-4BC9-45CA-8C20-ADCDD333D094}" type="pres">
      <dgm:prSet presAssocID="{A517F7D0-93A6-4F46-ADBF-76616F6B2AFE}" presName="childRect" presStyleLbl="bgAcc1" presStyleIdx="1" presStyleCnt="3">
        <dgm:presLayoutVars>
          <dgm:bulletEnabled val="1"/>
        </dgm:presLayoutVars>
      </dgm:prSet>
      <dgm:spPr/>
    </dgm:pt>
    <dgm:pt modelId="{81D0FF98-7B7F-468F-997D-4ECEF88B982E}" type="pres">
      <dgm:prSet presAssocID="{A517F7D0-93A6-4F46-ADBF-76616F6B2AFE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4DCA6C15-4F38-4035-A8FB-C8C8CBCC5067}" type="pres">
      <dgm:prSet presAssocID="{A517F7D0-93A6-4F46-ADBF-76616F6B2AFE}" presName="parentRect" presStyleLbl="alignNode1" presStyleIdx="1" presStyleCnt="3"/>
      <dgm:spPr/>
    </dgm:pt>
    <dgm:pt modelId="{6C8EE90D-2465-404E-B1D4-1CC8D77DE994}" type="pres">
      <dgm:prSet presAssocID="{A517F7D0-93A6-4F46-ADBF-76616F6B2AFE}" presName="adorn" presStyleLbl="fgAccFollowNode1" presStyleIdx="1" presStyleCnt="3"/>
      <dgm:spPr/>
    </dgm:pt>
    <dgm:pt modelId="{B164C364-285A-4738-BFD7-EF26D3851751}" type="pres">
      <dgm:prSet presAssocID="{B6498320-08E9-41F4-B6C7-A1580624FA86}" presName="sibTrans" presStyleLbl="sibTrans2D1" presStyleIdx="0" presStyleCnt="0"/>
      <dgm:spPr/>
    </dgm:pt>
    <dgm:pt modelId="{461FAE2C-CB57-4DBC-AF48-E4BA89904A1A}" type="pres">
      <dgm:prSet presAssocID="{A9BE41C5-9CEA-414F-AF5B-2346FD04FE2D}" presName="compNode" presStyleCnt="0"/>
      <dgm:spPr/>
    </dgm:pt>
    <dgm:pt modelId="{CD4B526C-45A8-46A5-A0E4-AC0DE8F68316}" type="pres">
      <dgm:prSet presAssocID="{A9BE41C5-9CEA-414F-AF5B-2346FD04FE2D}" presName="childRect" presStyleLbl="bgAcc1" presStyleIdx="2" presStyleCnt="3">
        <dgm:presLayoutVars>
          <dgm:bulletEnabled val="1"/>
        </dgm:presLayoutVars>
      </dgm:prSet>
      <dgm:spPr/>
    </dgm:pt>
    <dgm:pt modelId="{3512AFAD-ACBD-45CD-B6F6-FC7832AD150C}" type="pres">
      <dgm:prSet presAssocID="{A9BE41C5-9CEA-414F-AF5B-2346FD04FE2D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F0E69EB9-85E6-49B5-8442-B790D46B9353}" type="pres">
      <dgm:prSet presAssocID="{A9BE41C5-9CEA-414F-AF5B-2346FD04FE2D}" presName="parentRect" presStyleLbl="alignNode1" presStyleIdx="2" presStyleCnt="3"/>
      <dgm:spPr/>
    </dgm:pt>
    <dgm:pt modelId="{A844A659-F201-40AD-8A26-A2F13919D357}" type="pres">
      <dgm:prSet presAssocID="{A9BE41C5-9CEA-414F-AF5B-2346FD04FE2D}" presName="adorn" presStyleLbl="fgAccFollowNode1" presStyleIdx="2" presStyleCnt="3"/>
      <dgm:spPr/>
    </dgm:pt>
  </dgm:ptLst>
  <dgm:cxnLst>
    <dgm:cxn modelId="{DFFD7F05-112A-42B0-BEF0-04BDBFE141D0}" type="presOf" srcId="{B6498320-08E9-41F4-B6C7-A1580624FA86}" destId="{B164C364-285A-4738-BFD7-EF26D3851751}" srcOrd="0" destOrd="0" presId="urn:microsoft.com/office/officeart/2005/8/layout/bList2"/>
    <dgm:cxn modelId="{C512FA0F-EE16-4260-A251-57210FDA7CC5}" type="presOf" srcId="{A517F7D0-93A6-4F46-ADBF-76616F6B2AFE}" destId="{81D0FF98-7B7F-468F-997D-4ECEF88B982E}" srcOrd="0" destOrd="0" presId="urn:microsoft.com/office/officeart/2005/8/layout/bList2"/>
    <dgm:cxn modelId="{BBC26D18-0415-4BE0-978E-FF5E92A4086A}" srcId="{ABCCE2DA-C0D3-4548-B041-C3EA06DDC759}" destId="{A517F7D0-93A6-4F46-ADBF-76616F6B2AFE}" srcOrd="1" destOrd="0" parTransId="{C4B730AE-ADF1-46C1-A1A7-C61142A536F0}" sibTransId="{B6498320-08E9-41F4-B6C7-A1580624FA86}"/>
    <dgm:cxn modelId="{7900CB2E-5EC6-4C8B-B255-17401F8B7024}" type="presOf" srcId="{7B60BBF4-A6C8-4993-8307-89C5299098C7}" destId="{CD4B526C-45A8-46A5-A0E4-AC0DE8F68316}" srcOrd="0" destOrd="0" presId="urn:microsoft.com/office/officeart/2005/8/layout/bList2"/>
    <dgm:cxn modelId="{CFC4883B-4390-48EC-AF7C-950782B4752A}" type="presOf" srcId="{A9BE41C5-9CEA-414F-AF5B-2346FD04FE2D}" destId="{F0E69EB9-85E6-49B5-8442-B790D46B9353}" srcOrd="1" destOrd="0" presId="urn:microsoft.com/office/officeart/2005/8/layout/bList2"/>
    <dgm:cxn modelId="{B964F63B-412B-4AF0-BE6A-03CF035FED44}" type="presOf" srcId="{3700BCDA-5703-4C80-89F9-5AD31795F566}" destId="{6ED362E1-4BC9-45CA-8C20-ADCDD333D094}" srcOrd="0" destOrd="0" presId="urn:microsoft.com/office/officeart/2005/8/layout/bList2"/>
    <dgm:cxn modelId="{7F5CFE40-2386-4B81-94D4-515A06D63F14}" srcId="{ABCCE2DA-C0D3-4548-B041-C3EA06DDC759}" destId="{A9BE41C5-9CEA-414F-AF5B-2346FD04FE2D}" srcOrd="2" destOrd="0" parTransId="{F890BCB8-580E-4F52-BFA5-3E4E0C96A6ED}" sibTransId="{E4832BC6-B183-42CC-9063-AE1B5047B309}"/>
    <dgm:cxn modelId="{DC198462-4E2F-4B4B-A5FA-2F1D708B645B}" type="presOf" srcId="{6657A76F-D8BF-4AA7-A7C1-86A6822E7B5C}" destId="{EE547524-684A-4665-9A93-2F79B46A6F76}" srcOrd="1" destOrd="0" presId="urn:microsoft.com/office/officeart/2005/8/layout/bList2"/>
    <dgm:cxn modelId="{6DA66246-8A54-491B-A5BD-BCADD8EF3C24}" type="presOf" srcId="{ABCCE2DA-C0D3-4548-B041-C3EA06DDC759}" destId="{B5E277A7-42FE-4C6A-BE6B-042C16C2D089}" srcOrd="0" destOrd="0" presId="urn:microsoft.com/office/officeart/2005/8/layout/bList2"/>
    <dgm:cxn modelId="{2E1B6547-809C-4318-876D-3FFA6A9726E5}" srcId="{A517F7D0-93A6-4F46-ADBF-76616F6B2AFE}" destId="{3700BCDA-5703-4C80-89F9-5AD31795F566}" srcOrd="0" destOrd="0" parTransId="{87C6E740-B61A-4151-9E42-08810EDDF856}" sibTransId="{4BEDBFB6-FDC4-4A16-839A-910141D2A1F6}"/>
    <dgm:cxn modelId="{1EA15247-997D-4054-933E-C629190434D2}" srcId="{ABCCE2DA-C0D3-4548-B041-C3EA06DDC759}" destId="{6657A76F-D8BF-4AA7-A7C1-86A6822E7B5C}" srcOrd="0" destOrd="0" parTransId="{3A8C32CD-B9DB-4DD2-AC96-1B1D29CE14B5}" sibTransId="{AAD301DA-B514-46AC-A36C-056FF411EE7A}"/>
    <dgm:cxn modelId="{0AB43D4E-97EF-46F7-A635-3317AED48CC0}" srcId="{6657A76F-D8BF-4AA7-A7C1-86A6822E7B5C}" destId="{BDE8DCEF-85AE-44D2-A72C-A13BB622DEF2}" srcOrd="0" destOrd="0" parTransId="{5B79351D-9903-40D6-850D-14887AFFBC51}" sibTransId="{C0E4AE4F-6448-4FF1-A104-6F2EB9F74B3E}"/>
    <dgm:cxn modelId="{6EAB1457-DA71-45DC-9472-C058F22492AA}" srcId="{A9BE41C5-9CEA-414F-AF5B-2346FD04FE2D}" destId="{B13A6715-5637-4C0F-AF91-CB315763E436}" srcOrd="1" destOrd="0" parTransId="{DBC4CECE-AA6F-4FE3-BBFD-9BB5C08C79F4}" sibTransId="{C920481D-F824-4181-AD26-42C7C6DD1D01}"/>
    <dgm:cxn modelId="{C4BE947E-2073-41FF-954F-41CCF728D01B}" type="presOf" srcId="{6657A76F-D8BF-4AA7-A7C1-86A6822E7B5C}" destId="{D02EFFFD-6CD1-4462-9145-81962645EBD2}" srcOrd="0" destOrd="0" presId="urn:microsoft.com/office/officeart/2005/8/layout/bList2"/>
    <dgm:cxn modelId="{8DD6EB9D-57FD-4B95-99FE-B21D009E00EC}" srcId="{A517F7D0-93A6-4F46-ADBF-76616F6B2AFE}" destId="{BBC7011D-D05F-482E-8AF5-5AAA9E6A5E7A}" srcOrd="1" destOrd="0" parTransId="{A608981C-20D5-4D62-A8E5-3B3AE1CFB04C}" sibTransId="{C3B458BD-EF24-43CE-B4D1-124AB96BF151}"/>
    <dgm:cxn modelId="{8FA567A3-6C38-4990-A0C4-41D89BA479C6}" type="presOf" srcId="{B13A6715-5637-4C0F-AF91-CB315763E436}" destId="{CD4B526C-45A8-46A5-A0E4-AC0DE8F68316}" srcOrd="0" destOrd="1" presId="urn:microsoft.com/office/officeart/2005/8/layout/bList2"/>
    <dgm:cxn modelId="{F8D597BE-9CC6-4121-92AC-4D51BC6A7330}" type="presOf" srcId="{A9BE41C5-9CEA-414F-AF5B-2346FD04FE2D}" destId="{3512AFAD-ACBD-45CD-B6F6-FC7832AD150C}" srcOrd="0" destOrd="0" presId="urn:microsoft.com/office/officeart/2005/8/layout/bList2"/>
    <dgm:cxn modelId="{E622BCD4-3EDD-4A5A-91F2-E38721405844}" srcId="{A9BE41C5-9CEA-414F-AF5B-2346FD04FE2D}" destId="{7B60BBF4-A6C8-4993-8307-89C5299098C7}" srcOrd="0" destOrd="0" parTransId="{0E6A3D5F-BA6E-4912-A1CA-2C3BA4C976B2}" sibTransId="{516FDCEE-BCEC-47C3-9CE6-30B4D307B955}"/>
    <dgm:cxn modelId="{3B625FD5-CDA8-430B-AEF1-7EA469CF90F1}" type="presOf" srcId="{AAD301DA-B514-46AC-A36C-056FF411EE7A}" destId="{D706DAF4-5ACD-492A-A8C3-77A004F11881}" srcOrd="0" destOrd="0" presId="urn:microsoft.com/office/officeart/2005/8/layout/bList2"/>
    <dgm:cxn modelId="{5E8EAED8-DB69-4CAE-B8EE-EE0573741DE8}" type="presOf" srcId="{A517F7D0-93A6-4F46-ADBF-76616F6B2AFE}" destId="{4DCA6C15-4F38-4035-A8FB-C8C8CBCC5067}" srcOrd="1" destOrd="0" presId="urn:microsoft.com/office/officeart/2005/8/layout/bList2"/>
    <dgm:cxn modelId="{2D84CDF7-4023-4B26-B544-9B2A6239DEAC}" type="presOf" srcId="{BDE8DCEF-85AE-44D2-A72C-A13BB622DEF2}" destId="{F4879FE0-D9C3-46AC-9BBB-DC0C71F024FD}" srcOrd="0" destOrd="0" presId="urn:microsoft.com/office/officeart/2005/8/layout/bList2"/>
    <dgm:cxn modelId="{09A43FFD-1BCD-42F5-B74D-FEC09187E08C}" type="presOf" srcId="{BBC7011D-D05F-482E-8AF5-5AAA9E6A5E7A}" destId="{6ED362E1-4BC9-45CA-8C20-ADCDD333D094}" srcOrd="0" destOrd="1" presId="urn:microsoft.com/office/officeart/2005/8/layout/bList2"/>
    <dgm:cxn modelId="{A774FDF6-6788-47EE-997F-C1C679F09326}" type="presParOf" srcId="{B5E277A7-42FE-4C6A-BE6B-042C16C2D089}" destId="{65BA4B83-E947-4F7B-BD01-54132446D786}" srcOrd="0" destOrd="0" presId="urn:microsoft.com/office/officeart/2005/8/layout/bList2"/>
    <dgm:cxn modelId="{7BA060A8-1F35-4BEC-A85E-B6056F680E56}" type="presParOf" srcId="{65BA4B83-E947-4F7B-BD01-54132446D786}" destId="{F4879FE0-D9C3-46AC-9BBB-DC0C71F024FD}" srcOrd="0" destOrd="0" presId="urn:microsoft.com/office/officeart/2005/8/layout/bList2"/>
    <dgm:cxn modelId="{82673F3C-AF17-4F0D-8DBC-D1884D60664C}" type="presParOf" srcId="{65BA4B83-E947-4F7B-BD01-54132446D786}" destId="{D02EFFFD-6CD1-4462-9145-81962645EBD2}" srcOrd="1" destOrd="0" presId="urn:microsoft.com/office/officeart/2005/8/layout/bList2"/>
    <dgm:cxn modelId="{512C414F-83FF-43B5-A9E9-91AE47D50EBB}" type="presParOf" srcId="{65BA4B83-E947-4F7B-BD01-54132446D786}" destId="{EE547524-684A-4665-9A93-2F79B46A6F76}" srcOrd="2" destOrd="0" presId="urn:microsoft.com/office/officeart/2005/8/layout/bList2"/>
    <dgm:cxn modelId="{5DF719EA-B462-4087-8E81-CF363DF181E8}" type="presParOf" srcId="{65BA4B83-E947-4F7B-BD01-54132446D786}" destId="{DDE49E85-273F-4F37-BBCD-6476FB876B30}" srcOrd="3" destOrd="0" presId="urn:microsoft.com/office/officeart/2005/8/layout/bList2"/>
    <dgm:cxn modelId="{23E1A58A-9660-4121-B215-D3F331445F62}" type="presParOf" srcId="{B5E277A7-42FE-4C6A-BE6B-042C16C2D089}" destId="{D706DAF4-5ACD-492A-A8C3-77A004F11881}" srcOrd="1" destOrd="0" presId="urn:microsoft.com/office/officeart/2005/8/layout/bList2"/>
    <dgm:cxn modelId="{3563D883-CEAB-4DD6-97D2-EFE5795AB8D6}" type="presParOf" srcId="{B5E277A7-42FE-4C6A-BE6B-042C16C2D089}" destId="{C37408C7-9F78-4394-AB5C-E10B9045586B}" srcOrd="2" destOrd="0" presId="urn:microsoft.com/office/officeart/2005/8/layout/bList2"/>
    <dgm:cxn modelId="{3ACA23D3-BEA9-4EEE-8EB6-33078D7C32FC}" type="presParOf" srcId="{C37408C7-9F78-4394-AB5C-E10B9045586B}" destId="{6ED362E1-4BC9-45CA-8C20-ADCDD333D094}" srcOrd="0" destOrd="0" presId="urn:microsoft.com/office/officeart/2005/8/layout/bList2"/>
    <dgm:cxn modelId="{F0F01BAE-4AC1-4A90-9D78-942EABA4A50E}" type="presParOf" srcId="{C37408C7-9F78-4394-AB5C-E10B9045586B}" destId="{81D0FF98-7B7F-468F-997D-4ECEF88B982E}" srcOrd="1" destOrd="0" presId="urn:microsoft.com/office/officeart/2005/8/layout/bList2"/>
    <dgm:cxn modelId="{28915CFC-FE35-44D2-9AF9-65B6B1C01E73}" type="presParOf" srcId="{C37408C7-9F78-4394-AB5C-E10B9045586B}" destId="{4DCA6C15-4F38-4035-A8FB-C8C8CBCC5067}" srcOrd="2" destOrd="0" presId="urn:microsoft.com/office/officeart/2005/8/layout/bList2"/>
    <dgm:cxn modelId="{90AF10C9-E1F5-42BA-BC3D-DDB9BF0B8EAC}" type="presParOf" srcId="{C37408C7-9F78-4394-AB5C-E10B9045586B}" destId="{6C8EE90D-2465-404E-B1D4-1CC8D77DE994}" srcOrd="3" destOrd="0" presId="urn:microsoft.com/office/officeart/2005/8/layout/bList2"/>
    <dgm:cxn modelId="{EEC6FBAC-4B60-4099-B575-640A86EEDFEA}" type="presParOf" srcId="{B5E277A7-42FE-4C6A-BE6B-042C16C2D089}" destId="{B164C364-285A-4738-BFD7-EF26D3851751}" srcOrd="3" destOrd="0" presId="urn:microsoft.com/office/officeart/2005/8/layout/bList2"/>
    <dgm:cxn modelId="{09274E71-2155-49A6-B82A-878ACD4CC634}" type="presParOf" srcId="{B5E277A7-42FE-4C6A-BE6B-042C16C2D089}" destId="{461FAE2C-CB57-4DBC-AF48-E4BA89904A1A}" srcOrd="4" destOrd="0" presId="urn:microsoft.com/office/officeart/2005/8/layout/bList2"/>
    <dgm:cxn modelId="{EDBFF0B4-67DD-48D8-A6A4-5B6EA359E5F6}" type="presParOf" srcId="{461FAE2C-CB57-4DBC-AF48-E4BA89904A1A}" destId="{CD4B526C-45A8-46A5-A0E4-AC0DE8F68316}" srcOrd="0" destOrd="0" presId="urn:microsoft.com/office/officeart/2005/8/layout/bList2"/>
    <dgm:cxn modelId="{B4677A1D-C190-4222-A5E0-65ACB48847B8}" type="presParOf" srcId="{461FAE2C-CB57-4DBC-AF48-E4BA89904A1A}" destId="{3512AFAD-ACBD-45CD-B6F6-FC7832AD150C}" srcOrd="1" destOrd="0" presId="urn:microsoft.com/office/officeart/2005/8/layout/bList2"/>
    <dgm:cxn modelId="{4C99EE74-0DBB-4684-BC34-AD37AB9903D3}" type="presParOf" srcId="{461FAE2C-CB57-4DBC-AF48-E4BA89904A1A}" destId="{F0E69EB9-85E6-49B5-8442-B790D46B9353}" srcOrd="2" destOrd="0" presId="urn:microsoft.com/office/officeart/2005/8/layout/bList2"/>
    <dgm:cxn modelId="{8D0D624D-EC7C-4FA0-ACC3-9E285AFB7712}" type="presParOf" srcId="{461FAE2C-CB57-4DBC-AF48-E4BA89904A1A}" destId="{A844A659-F201-40AD-8A26-A2F13919D357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1B83027-5D54-4C88-A05C-3B4486A8A856}" type="doc">
      <dgm:prSet loTypeId="urn:microsoft.com/office/officeart/2005/8/layout/chevronAccent+Icon" loCatId="officeonline" qsTypeId="urn:microsoft.com/office/officeart/2005/8/quickstyle/simple1" qsCatId="simple" csTypeId="urn:microsoft.com/office/officeart/2005/8/colors/accent1_2" csCatId="accent1" phldr="1"/>
      <dgm:spPr/>
    </dgm:pt>
    <dgm:pt modelId="{A32A90D8-6AA5-4C9D-AFF8-25A2707DBC30}">
      <dgm:prSet phldrT="[Text]" custT="1"/>
      <dgm:spPr/>
      <dgm:t>
        <a:bodyPr/>
        <a:lstStyle/>
        <a:p>
          <a:r>
            <a:rPr lang="en-GB" sz="2400" b="1" dirty="0">
              <a:solidFill>
                <a:srgbClr val="FF0000"/>
              </a:solidFill>
            </a:rPr>
            <a:t>Lu</a:t>
          </a:r>
        </a:p>
      </dgm:t>
    </dgm:pt>
    <dgm:pt modelId="{3A4E8DFC-359C-4568-BF90-288972C8DE88}" type="parTrans" cxnId="{DAF85081-1A9E-4419-A7CF-C985B7199A90}">
      <dgm:prSet/>
      <dgm:spPr/>
      <dgm:t>
        <a:bodyPr/>
        <a:lstStyle/>
        <a:p>
          <a:endParaRPr lang="en-GB"/>
        </a:p>
      </dgm:t>
    </dgm:pt>
    <dgm:pt modelId="{9082CBEB-0294-477B-953D-99EDDF3CA495}" type="sibTrans" cxnId="{DAF85081-1A9E-4419-A7CF-C985B7199A90}">
      <dgm:prSet/>
      <dgm:spPr/>
      <dgm:t>
        <a:bodyPr/>
        <a:lstStyle/>
        <a:p>
          <a:endParaRPr lang="en-GB"/>
        </a:p>
      </dgm:t>
    </dgm:pt>
    <dgm:pt modelId="{7F98F46D-63E3-41A2-BEF0-9B8EB557AD75}">
      <dgm:prSet phldrT="[Text]" custT="1"/>
      <dgm:spPr/>
      <dgm:t>
        <a:bodyPr/>
        <a:lstStyle/>
        <a:p>
          <a:r>
            <a:rPr lang="en-GB" sz="2400" b="1" dirty="0">
              <a:solidFill>
                <a:srgbClr val="FF0000"/>
              </a:solidFill>
            </a:rPr>
            <a:t>İT</a:t>
          </a:r>
        </a:p>
      </dgm:t>
    </dgm:pt>
    <dgm:pt modelId="{5207BA55-E099-4E48-A742-586F42B474F2}" type="parTrans" cxnId="{7D7C6726-5DF4-408A-94DF-A02162B9A1A1}">
      <dgm:prSet/>
      <dgm:spPr/>
      <dgm:t>
        <a:bodyPr/>
        <a:lstStyle/>
        <a:p>
          <a:endParaRPr lang="en-GB"/>
        </a:p>
      </dgm:t>
    </dgm:pt>
    <dgm:pt modelId="{539FA4EA-787C-4DC7-9073-FC2DCBD7C96F}" type="sibTrans" cxnId="{7D7C6726-5DF4-408A-94DF-A02162B9A1A1}">
      <dgm:prSet/>
      <dgm:spPr/>
      <dgm:t>
        <a:bodyPr/>
        <a:lstStyle/>
        <a:p>
          <a:endParaRPr lang="en-GB"/>
        </a:p>
      </dgm:t>
    </dgm:pt>
    <dgm:pt modelId="{33395116-CF6A-4041-8717-04C8A44383AE}">
      <dgm:prSet phldrT="[Text]" custT="1"/>
      <dgm:spPr/>
      <dgm:t>
        <a:bodyPr/>
        <a:lstStyle/>
        <a:p>
          <a:r>
            <a:rPr lang="en-GB" sz="2400" b="1" dirty="0">
              <a:solidFill>
                <a:srgbClr val="FF0000"/>
              </a:solidFill>
            </a:rPr>
            <a:t>Ra-223</a:t>
          </a:r>
        </a:p>
      </dgm:t>
    </dgm:pt>
    <dgm:pt modelId="{7A595F59-B5C5-499E-B36C-643EEF3F0D5D}" type="parTrans" cxnId="{C6FD134B-2C52-46AD-ADFA-59F9C7E9C277}">
      <dgm:prSet/>
      <dgm:spPr/>
      <dgm:t>
        <a:bodyPr/>
        <a:lstStyle/>
        <a:p>
          <a:endParaRPr lang="en-GB"/>
        </a:p>
      </dgm:t>
    </dgm:pt>
    <dgm:pt modelId="{1F354C44-3120-486C-89D0-2C1DCCDBA6E9}" type="sibTrans" cxnId="{C6FD134B-2C52-46AD-ADFA-59F9C7E9C277}">
      <dgm:prSet/>
      <dgm:spPr/>
      <dgm:t>
        <a:bodyPr/>
        <a:lstStyle/>
        <a:p>
          <a:endParaRPr lang="en-GB"/>
        </a:p>
      </dgm:t>
    </dgm:pt>
    <dgm:pt modelId="{4A1DC398-3AD6-4EBD-860F-B1C93D67F640}" type="pres">
      <dgm:prSet presAssocID="{91B83027-5D54-4C88-A05C-3B4486A8A856}" presName="Name0" presStyleCnt="0">
        <dgm:presLayoutVars>
          <dgm:dir/>
          <dgm:resizeHandles val="exact"/>
        </dgm:presLayoutVars>
      </dgm:prSet>
      <dgm:spPr/>
    </dgm:pt>
    <dgm:pt modelId="{6DAF6438-84BF-4C55-8929-35877C33F728}" type="pres">
      <dgm:prSet presAssocID="{A32A90D8-6AA5-4C9D-AFF8-25A2707DBC30}" presName="composite" presStyleCnt="0"/>
      <dgm:spPr/>
    </dgm:pt>
    <dgm:pt modelId="{CEEF7905-11F9-4FB7-AD23-D4F8336E2B26}" type="pres">
      <dgm:prSet presAssocID="{A32A90D8-6AA5-4C9D-AFF8-25A2707DBC30}" presName="bgChev" presStyleLbl="node1" presStyleIdx="0" presStyleCnt="3"/>
      <dgm:spPr>
        <a:solidFill>
          <a:schemeClr val="bg2">
            <a:lumMod val="60000"/>
            <a:lumOff val="40000"/>
          </a:schemeClr>
        </a:solidFill>
      </dgm:spPr>
    </dgm:pt>
    <dgm:pt modelId="{F2E41807-43DA-487A-9BC0-6B741D8A21A3}" type="pres">
      <dgm:prSet presAssocID="{A32A90D8-6AA5-4C9D-AFF8-25A2707DBC30}" presName="txNode" presStyleLbl="fgAcc1" presStyleIdx="0" presStyleCnt="3">
        <dgm:presLayoutVars>
          <dgm:bulletEnabled val="1"/>
        </dgm:presLayoutVars>
      </dgm:prSet>
      <dgm:spPr/>
    </dgm:pt>
    <dgm:pt modelId="{C4B50CE4-14D4-410F-BCF6-75E8727026E5}" type="pres">
      <dgm:prSet presAssocID="{9082CBEB-0294-477B-953D-99EDDF3CA495}" presName="compositeSpace" presStyleCnt="0"/>
      <dgm:spPr/>
    </dgm:pt>
    <dgm:pt modelId="{26CEA33F-0D38-4080-A1DC-0C01A2E6F85E}" type="pres">
      <dgm:prSet presAssocID="{7F98F46D-63E3-41A2-BEF0-9B8EB557AD75}" presName="composite" presStyleCnt="0"/>
      <dgm:spPr/>
    </dgm:pt>
    <dgm:pt modelId="{E862C939-0F40-4B1A-B04B-5BA4C9D3B48B}" type="pres">
      <dgm:prSet presAssocID="{7F98F46D-63E3-41A2-BEF0-9B8EB557AD75}" presName="bgChev" presStyleLbl="node1" presStyleIdx="1" presStyleCnt="3"/>
      <dgm:spPr>
        <a:solidFill>
          <a:schemeClr val="bg2">
            <a:lumMod val="60000"/>
            <a:lumOff val="40000"/>
          </a:schemeClr>
        </a:solidFill>
      </dgm:spPr>
    </dgm:pt>
    <dgm:pt modelId="{BF01E7C8-0892-4552-AC11-CDE1A427FAC3}" type="pres">
      <dgm:prSet presAssocID="{7F98F46D-63E3-41A2-BEF0-9B8EB557AD75}" presName="txNode" presStyleLbl="fgAcc1" presStyleIdx="1" presStyleCnt="3">
        <dgm:presLayoutVars>
          <dgm:bulletEnabled val="1"/>
        </dgm:presLayoutVars>
      </dgm:prSet>
      <dgm:spPr/>
    </dgm:pt>
    <dgm:pt modelId="{4CC2398A-D749-4A8D-A469-6A4B5A010B02}" type="pres">
      <dgm:prSet presAssocID="{539FA4EA-787C-4DC7-9073-FC2DCBD7C96F}" presName="compositeSpace" presStyleCnt="0"/>
      <dgm:spPr/>
    </dgm:pt>
    <dgm:pt modelId="{2ACF46A1-DDDB-4CA9-948F-528B0D683C3D}" type="pres">
      <dgm:prSet presAssocID="{33395116-CF6A-4041-8717-04C8A44383AE}" presName="composite" presStyleCnt="0"/>
      <dgm:spPr/>
    </dgm:pt>
    <dgm:pt modelId="{49437364-1EC5-4F35-BDCE-2BE516FB3F7B}" type="pres">
      <dgm:prSet presAssocID="{33395116-CF6A-4041-8717-04C8A44383AE}" presName="bgChev" presStyleLbl="node1" presStyleIdx="2" presStyleCnt="3"/>
      <dgm:spPr>
        <a:solidFill>
          <a:schemeClr val="bg2">
            <a:lumMod val="60000"/>
            <a:lumOff val="40000"/>
          </a:schemeClr>
        </a:solidFill>
      </dgm:spPr>
    </dgm:pt>
    <dgm:pt modelId="{02193293-DC23-4C2A-8830-1373448CCA57}" type="pres">
      <dgm:prSet presAssocID="{33395116-CF6A-4041-8717-04C8A44383AE}" presName="txNode" presStyleLbl="fgAcc1" presStyleIdx="2" presStyleCnt="3">
        <dgm:presLayoutVars>
          <dgm:bulletEnabled val="1"/>
        </dgm:presLayoutVars>
      </dgm:prSet>
      <dgm:spPr/>
    </dgm:pt>
  </dgm:ptLst>
  <dgm:cxnLst>
    <dgm:cxn modelId="{7D7C6726-5DF4-408A-94DF-A02162B9A1A1}" srcId="{91B83027-5D54-4C88-A05C-3B4486A8A856}" destId="{7F98F46D-63E3-41A2-BEF0-9B8EB557AD75}" srcOrd="1" destOrd="0" parTransId="{5207BA55-E099-4E48-A742-586F42B474F2}" sibTransId="{539FA4EA-787C-4DC7-9073-FC2DCBD7C96F}"/>
    <dgm:cxn modelId="{C0D7053D-C0EE-430B-9764-9ACBA00800CF}" type="presOf" srcId="{A32A90D8-6AA5-4C9D-AFF8-25A2707DBC30}" destId="{F2E41807-43DA-487A-9BC0-6B741D8A21A3}" srcOrd="0" destOrd="0" presId="urn:microsoft.com/office/officeart/2005/8/layout/chevronAccent+Icon"/>
    <dgm:cxn modelId="{0B44A85B-9B70-4DE0-BE48-005DBAB1D2B5}" type="presOf" srcId="{91B83027-5D54-4C88-A05C-3B4486A8A856}" destId="{4A1DC398-3AD6-4EBD-860F-B1C93D67F640}" srcOrd="0" destOrd="0" presId="urn:microsoft.com/office/officeart/2005/8/layout/chevronAccent+Icon"/>
    <dgm:cxn modelId="{C6FD134B-2C52-46AD-ADFA-59F9C7E9C277}" srcId="{91B83027-5D54-4C88-A05C-3B4486A8A856}" destId="{33395116-CF6A-4041-8717-04C8A44383AE}" srcOrd="2" destOrd="0" parTransId="{7A595F59-B5C5-499E-B36C-643EEF3F0D5D}" sibTransId="{1F354C44-3120-486C-89D0-2C1DCCDBA6E9}"/>
    <dgm:cxn modelId="{DAF85081-1A9E-4419-A7CF-C985B7199A90}" srcId="{91B83027-5D54-4C88-A05C-3B4486A8A856}" destId="{A32A90D8-6AA5-4C9D-AFF8-25A2707DBC30}" srcOrd="0" destOrd="0" parTransId="{3A4E8DFC-359C-4568-BF90-288972C8DE88}" sibTransId="{9082CBEB-0294-477B-953D-99EDDF3CA495}"/>
    <dgm:cxn modelId="{A3D2BAF0-851E-4B6F-9E1E-BDB0F2242AB9}" type="presOf" srcId="{33395116-CF6A-4041-8717-04C8A44383AE}" destId="{02193293-DC23-4C2A-8830-1373448CCA57}" srcOrd="0" destOrd="0" presId="urn:microsoft.com/office/officeart/2005/8/layout/chevronAccent+Icon"/>
    <dgm:cxn modelId="{8EA8E9F7-1246-44C3-9F93-8EFB4F5F5827}" type="presOf" srcId="{7F98F46D-63E3-41A2-BEF0-9B8EB557AD75}" destId="{BF01E7C8-0892-4552-AC11-CDE1A427FAC3}" srcOrd="0" destOrd="0" presId="urn:microsoft.com/office/officeart/2005/8/layout/chevronAccent+Icon"/>
    <dgm:cxn modelId="{08EBC73D-B72E-4145-A134-1C80F710DC48}" type="presParOf" srcId="{4A1DC398-3AD6-4EBD-860F-B1C93D67F640}" destId="{6DAF6438-84BF-4C55-8929-35877C33F728}" srcOrd="0" destOrd="0" presId="urn:microsoft.com/office/officeart/2005/8/layout/chevronAccent+Icon"/>
    <dgm:cxn modelId="{6FEB9D66-C215-41F5-A421-3121424AE674}" type="presParOf" srcId="{6DAF6438-84BF-4C55-8929-35877C33F728}" destId="{CEEF7905-11F9-4FB7-AD23-D4F8336E2B26}" srcOrd="0" destOrd="0" presId="urn:microsoft.com/office/officeart/2005/8/layout/chevronAccent+Icon"/>
    <dgm:cxn modelId="{09335261-E4D6-474F-BEF2-5060A0AB0A23}" type="presParOf" srcId="{6DAF6438-84BF-4C55-8929-35877C33F728}" destId="{F2E41807-43DA-487A-9BC0-6B741D8A21A3}" srcOrd="1" destOrd="0" presId="urn:microsoft.com/office/officeart/2005/8/layout/chevronAccent+Icon"/>
    <dgm:cxn modelId="{AF99EA1D-0FF8-4A85-828A-DEC43FE83B8E}" type="presParOf" srcId="{4A1DC398-3AD6-4EBD-860F-B1C93D67F640}" destId="{C4B50CE4-14D4-410F-BCF6-75E8727026E5}" srcOrd="1" destOrd="0" presId="urn:microsoft.com/office/officeart/2005/8/layout/chevronAccent+Icon"/>
    <dgm:cxn modelId="{0149A965-1821-4EE1-BE54-CF083F9F48BD}" type="presParOf" srcId="{4A1DC398-3AD6-4EBD-860F-B1C93D67F640}" destId="{26CEA33F-0D38-4080-A1DC-0C01A2E6F85E}" srcOrd="2" destOrd="0" presId="urn:microsoft.com/office/officeart/2005/8/layout/chevronAccent+Icon"/>
    <dgm:cxn modelId="{BC3D78C4-1CBD-46F3-B994-5DFC7DFDAFFB}" type="presParOf" srcId="{26CEA33F-0D38-4080-A1DC-0C01A2E6F85E}" destId="{E862C939-0F40-4B1A-B04B-5BA4C9D3B48B}" srcOrd="0" destOrd="0" presId="urn:microsoft.com/office/officeart/2005/8/layout/chevronAccent+Icon"/>
    <dgm:cxn modelId="{5C7CBF0E-9884-4361-8964-865216116EA7}" type="presParOf" srcId="{26CEA33F-0D38-4080-A1DC-0C01A2E6F85E}" destId="{BF01E7C8-0892-4552-AC11-CDE1A427FAC3}" srcOrd="1" destOrd="0" presId="urn:microsoft.com/office/officeart/2005/8/layout/chevronAccent+Icon"/>
    <dgm:cxn modelId="{5AA4155F-384C-4788-BA7F-10A056212C13}" type="presParOf" srcId="{4A1DC398-3AD6-4EBD-860F-B1C93D67F640}" destId="{4CC2398A-D749-4A8D-A469-6A4B5A010B02}" srcOrd="3" destOrd="0" presId="urn:microsoft.com/office/officeart/2005/8/layout/chevronAccent+Icon"/>
    <dgm:cxn modelId="{E3C5A42C-32C4-4169-9EFF-D749B61AD555}" type="presParOf" srcId="{4A1DC398-3AD6-4EBD-860F-B1C93D67F640}" destId="{2ACF46A1-DDDB-4CA9-948F-528B0D683C3D}" srcOrd="4" destOrd="0" presId="urn:microsoft.com/office/officeart/2005/8/layout/chevronAccent+Icon"/>
    <dgm:cxn modelId="{3E40F55A-C4CA-4D15-BA19-3C34F8E07853}" type="presParOf" srcId="{2ACF46A1-DDDB-4CA9-948F-528B0D683C3D}" destId="{49437364-1EC5-4F35-BDCE-2BE516FB3F7B}" srcOrd="0" destOrd="0" presId="urn:microsoft.com/office/officeart/2005/8/layout/chevronAccent+Icon"/>
    <dgm:cxn modelId="{8E54016C-2A39-44CF-A22F-FDC51218845B}" type="presParOf" srcId="{2ACF46A1-DDDB-4CA9-948F-528B0D683C3D}" destId="{02193293-DC23-4C2A-8830-1373448CCA57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0C1D5F6-E74A-4C35-9297-2616E754D162}" type="doc">
      <dgm:prSet loTypeId="urn:microsoft.com/office/officeart/2005/8/layout/b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D7E584F4-B111-4413-BF6D-87CF53E1F005}">
      <dgm:prSet/>
      <dgm:spPr>
        <a:solidFill>
          <a:srgbClr val="C00000"/>
        </a:solidFill>
      </dgm:spPr>
      <dgm:t>
        <a:bodyPr/>
        <a:lstStyle/>
        <a:p>
          <a:r>
            <a:rPr lang="en-US" b="1"/>
            <a:t>mHSPC</a:t>
          </a:r>
          <a:endParaRPr lang="en-GB" b="1"/>
        </a:p>
      </dgm:t>
    </dgm:pt>
    <dgm:pt modelId="{A563930C-E72F-43B5-9702-9EC1C45EDD34}" type="parTrans" cxnId="{AAE7A13D-2731-4C93-81E3-99330C013C13}">
      <dgm:prSet/>
      <dgm:spPr/>
      <dgm:t>
        <a:bodyPr/>
        <a:lstStyle/>
        <a:p>
          <a:endParaRPr lang="en-GB"/>
        </a:p>
      </dgm:t>
    </dgm:pt>
    <dgm:pt modelId="{79E9FD34-C74E-4075-82FA-05B53735EAEE}" type="sibTrans" cxnId="{AAE7A13D-2731-4C93-81E3-99330C013C13}">
      <dgm:prSet/>
      <dgm:spPr/>
      <dgm:t>
        <a:bodyPr/>
        <a:lstStyle/>
        <a:p>
          <a:endParaRPr lang="en-GB"/>
        </a:p>
      </dgm:t>
    </dgm:pt>
    <dgm:pt modelId="{EA20F490-D334-480F-92EB-70BE4891FBCA}">
      <dgm:prSet/>
      <dgm:spPr/>
      <dgm:t>
        <a:bodyPr/>
        <a:lstStyle/>
        <a:p>
          <a:r>
            <a:rPr lang="en-US"/>
            <a:t>Docetaksel</a:t>
          </a:r>
          <a:endParaRPr lang="en-GB"/>
        </a:p>
      </dgm:t>
    </dgm:pt>
    <dgm:pt modelId="{4871E4E1-FEFC-40E3-91B1-72FB31E22BD8}" type="parTrans" cxnId="{3D5835E5-82A5-4799-B8E2-25F3FC72F550}">
      <dgm:prSet/>
      <dgm:spPr/>
      <dgm:t>
        <a:bodyPr/>
        <a:lstStyle/>
        <a:p>
          <a:endParaRPr lang="en-GB"/>
        </a:p>
      </dgm:t>
    </dgm:pt>
    <dgm:pt modelId="{14B4688D-DD58-4108-9899-EED873411A39}" type="sibTrans" cxnId="{3D5835E5-82A5-4799-B8E2-25F3FC72F550}">
      <dgm:prSet/>
      <dgm:spPr/>
      <dgm:t>
        <a:bodyPr/>
        <a:lstStyle/>
        <a:p>
          <a:endParaRPr lang="en-GB"/>
        </a:p>
      </dgm:t>
    </dgm:pt>
    <dgm:pt modelId="{15F8605B-7EC2-45D8-B031-E4B527616DCC}">
      <dgm:prSet/>
      <dgm:spPr/>
      <dgm:t>
        <a:bodyPr/>
        <a:lstStyle/>
        <a:p>
          <a:r>
            <a:rPr lang="en-US"/>
            <a:t>Abirateron</a:t>
          </a:r>
          <a:endParaRPr lang="en-GB"/>
        </a:p>
      </dgm:t>
    </dgm:pt>
    <dgm:pt modelId="{C7E7006D-7B76-49E6-8F9C-C48DD8E3224F}" type="parTrans" cxnId="{F85211D1-28FA-4ED2-8D7C-30A8804C6646}">
      <dgm:prSet/>
      <dgm:spPr/>
      <dgm:t>
        <a:bodyPr/>
        <a:lstStyle/>
        <a:p>
          <a:endParaRPr lang="en-GB"/>
        </a:p>
      </dgm:t>
    </dgm:pt>
    <dgm:pt modelId="{95E38F5D-E304-4045-AD24-76DB45B86B21}" type="sibTrans" cxnId="{F85211D1-28FA-4ED2-8D7C-30A8804C6646}">
      <dgm:prSet/>
      <dgm:spPr/>
      <dgm:t>
        <a:bodyPr/>
        <a:lstStyle/>
        <a:p>
          <a:endParaRPr lang="en-GB"/>
        </a:p>
      </dgm:t>
    </dgm:pt>
    <dgm:pt modelId="{4F091390-9844-47C4-B3BD-A7EF99C1262D}">
      <dgm:prSet/>
      <dgm:spPr/>
      <dgm:t>
        <a:bodyPr/>
        <a:lstStyle/>
        <a:p>
          <a:r>
            <a:rPr lang="en-US"/>
            <a:t>Enzalutamide</a:t>
          </a:r>
          <a:endParaRPr lang="en-GB"/>
        </a:p>
      </dgm:t>
    </dgm:pt>
    <dgm:pt modelId="{5D7C05F7-939E-4A5A-A45C-45A19E4EF127}" type="parTrans" cxnId="{BFCA5D72-5D71-4EDA-AF8E-43A3623451B7}">
      <dgm:prSet/>
      <dgm:spPr/>
      <dgm:t>
        <a:bodyPr/>
        <a:lstStyle/>
        <a:p>
          <a:endParaRPr lang="en-GB"/>
        </a:p>
      </dgm:t>
    </dgm:pt>
    <dgm:pt modelId="{FE477D00-7673-42B1-AF67-A94558E69405}" type="sibTrans" cxnId="{BFCA5D72-5D71-4EDA-AF8E-43A3623451B7}">
      <dgm:prSet/>
      <dgm:spPr/>
      <dgm:t>
        <a:bodyPr/>
        <a:lstStyle/>
        <a:p>
          <a:endParaRPr lang="en-GB"/>
        </a:p>
      </dgm:t>
    </dgm:pt>
    <dgm:pt modelId="{AD5F51EF-074C-4720-9AAD-2AAA56371428}">
      <dgm:prSet/>
      <dgm:spPr/>
      <dgm:t>
        <a:bodyPr/>
        <a:lstStyle/>
        <a:p>
          <a:r>
            <a:rPr lang="en-US"/>
            <a:t>Apalutamide</a:t>
          </a:r>
          <a:endParaRPr lang="en-GB"/>
        </a:p>
      </dgm:t>
    </dgm:pt>
    <dgm:pt modelId="{BE743CB0-5782-4E58-9163-5C3C2ABDCD04}" type="parTrans" cxnId="{8642EFBF-ABFE-44E7-B71D-71512BF0A0B9}">
      <dgm:prSet/>
      <dgm:spPr/>
      <dgm:t>
        <a:bodyPr/>
        <a:lstStyle/>
        <a:p>
          <a:endParaRPr lang="en-GB"/>
        </a:p>
      </dgm:t>
    </dgm:pt>
    <dgm:pt modelId="{E496107E-F9AB-4EF7-90D8-9FE507F63A6D}" type="sibTrans" cxnId="{8642EFBF-ABFE-44E7-B71D-71512BF0A0B9}">
      <dgm:prSet/>
      <dgm:spPr/>
      <dgm:t>
        <a:bodyPr/>
        <a:lstStyle/>
        <a:p>
          <a:endParaRPr lang="en-GB"/>
        </a:p>
      </dgm:t>
    </dgm:pt>
    <dgm:pt modelId="{E7AA2DC4-0A80-448F-AC8E-4AF081CF10C9}">
      <dgm:prSet/>
      <dgm:spPr>
        <a:solidFill>
          <a:srgbClr val="C00000"/>
        </a:solidFill>
      </dgm:spPr>
      <dgm:t>
        <a:bodyPr/>
        <a:lstStyle/>
        <a:p>
          <a:r>
            <a:rPr lang="en-US" b="1" dirty="0"/>
            <a:t>M0 KDPK</a:t>
          </a:r>
          <a:endParaRPr lang="en-GB" b="1" dirty="0"/>
        </a:p>
      </dgm:t>
    </dgm:pt>
    <dgm:pt modelId="{2F7EFBB1-BAFF-4D8A-B0A9-E081BB6EF60E}" type="parTrans" cxnId="{58D0189D-4EDC-4E54-99E5-9303320EA77F}">
      <dgm:prSet/>
      <dgm:spPr/>
      <dgm:t>
        <a:bodyPr/>
        <a:lstStyle/>
        <a:p>
          <a:endParaRPr lang="en-GB"/>
        </a:p>
      </dgm:t>
    </dgm:pt>
    <dgm:pt modelId="{179A3358-676F-4694-9C83-928058ABFFF4}" type="sibTrans" cxnId="{58D0189D-4EDC-4E54-99E5-9303320EA77F}">
      <dgm:prSet/>
      <dgm:spPr/>
      <dgm:t>
        <a:bodyPr/>
        <a:lstStyle/>
        <a:p>
          <a:endParaRPr lang="en-GB"/>
        </a:p>
      </dgm:t>
    </dgm:pt>
    <dgm:pt modelId="{B18AD962-4D1A-4352-A3FE-5929C7CC527A}">
      <dgm:prSet/>
      <dgm:spPr/>
      <dgm:t>
        <a:bodyPr/>
        <a:lstStyle/>
        <a:p>
          <a:r>
            <a:rPr lang="en-US"/>
            <a:t>Apulatamide</a:t>
          </a:r>
          <a:endParaRPr lang="en-GB"/>
        </a:p>
      </dgm:t>
    </dgm:pt>
    <dgm:pt modelId="{A72AE0BE-F22C-425C-B9D6-D8F684EC9923}" type="parTrans" cxnId="{0F2F3EBB-8358-43E5-9432-43ADD043C517}">
      <dgm:prSet/>
      <dgm:spPr/>
      <dgm:t>
        <a:bodyPr/>
        <a:lstStyle/>
        <a:p>
          <a:endParaRPr lang="en-GB"/>
        </a:p>
      </dgm:t>
    </dgm:pt>
    <dgm:pt modelId="{B41449F2-7D20-475A-88C8-C86C02C08693}" type="sibTrans" cxnId="{0F2F3EBB-8358-43E5-9432-43ADD043C517}">
      <dgm:prSet/>
      <dgm:spPr/>
      <dgm:t>
        <a:bodyPr/>
        <a:lstStyle/>
        <a:p>
          <a:endParaRPr lang="en-GB"/>
        </a:p>
      </dgm:t>
    </dgm:pt>
    <dgm:pt modelId="{5EE5F155-1168-4EA1-82B1-A8D3E53889AA}">
      <dgm:prSet/>
      <dgm:spPr/>
      <dgm:t>
        <a:bodyPr/>
        <a:lstStyle/>
        <a:p>
          <a:r>
            <a:rPr lang="en-US"/>
            <a:t>Enzalutamide</a:t>
          </a:r>
          <a:endParaRPr lang="en-GB"/>
        </a:p>
      </dgm:t>
    </dgm:pt>
    <dgm:pt modelId="{C1692EF5-44E4-4E13-88A9-F7DD66FCEF96}" type="parTrans" cxnId="{8DA3A0EB-A1B2-42A8-BDBA-FDCCF45E9CB6}">
      <dgm:prSet/>
      <dgm:spPr/>
      <dgm:t>
        <a:bodyPr/>
        <a:lstStyle/>
        <a:p>
          <a:endParaRPr lang="en-GB"/>
        </a:p>
      </dgm:t>
    </dgm:pt>
    <dgm:pt modelId="{BA958DB0-C243-4E31-9C4C-D2B3AD898274}" type="sibTrans" cxnId="{8DA3A0EB-A1B2-42A8-BDBA-FDCCF45E9CB6}">
      <dgm:prSet/>
      <dgm:spPr/>
      <dgm:t>
        <a:bodyPr/>
        <a:lstStyle/>
        <a:p>
          <a:endParaRPr lang="en-GB"/>
        </a:p>
      </dgm:t>
    </dgm:pt>
    <dgm:pt modelId="{65A1844F-D856-40FF-AE13-28F8F3A9E912}">
      <dgm:prSet/>
      <dgm:spPr/>
      <dgm:t>
        <a:bodyPr/>
        <a:lstStyle/>
        <a:p>
          <a:r>
            <a:rPr lang="en-US"/>
            <a:t>Darolutamide</a:t>
          </a:r>
          <a:endParaRPr lang="en-GB"/>
        </a:p>
      </dgm:t>
    </dgm:pt>
    <dgm:pt modelId="{033B40D8-CA50-4D43-82DC-CE6E704F4EE6}" type="parTrans" cxnId="{2C0389BE-B852-4BAA-AB1E-1434B57D88C7}">
      <dgm:prSet/>
      <dgm:spPr/>
      <dgm:t>
        <a:bodyPr/>
        <a:lstStyle/>
        <a:p>
          <a:endParaRPr lang="en-GB"/>
        </a:p>
      </dgm:t>
    </dgm:pt>
    <dgm:pt modelId="{08A07F7C-E1D6-4484-8B2E-0730C3DA2987}" type="sibTrans" cxnId="{2C0389BE-B852-4BAA-AB1E-1434B57D88C7}">
      <dgm:prSet/>
      <dgm:spPr/>
      <dgm:t>
        <a:bodyPr/>
        <a:lstStyle/>
        <a:p>
          <a:endParaRPr lang="en-GB"/>
        </a:p>
      </dgm:t>
    </dgm:pt>
    <dgm:pt modelId="{D09DB346-C1E2-442E-B46B-4C5A4E6BDF89}">
      <dgm:prSet/>
      <dgm:spPr>
        <a:solidFill>
          <a:srgbClr val="C00000"/>
        </a:solidFill>
      </dgm:spPr>
      <dgm:t>
        <a:bodyPr/>
        <a:lstStyle/>
        <a:p>
          <a:r>
            <a:rPr lang="en-US" b="1" dirty="0" err="1"/>
            <a:t>mKDPK</a:t>
          </a:r>
          <a:endParaRPr lang="en-GB" b="1" dirty="0"/>
        </a:p>
      </dgm:t>
    </dgm:pt>
    <dgm:pt modelId="{92C19621-679F-408A-8DDC-76E928B69086}" type="parTrans" cxnId="{57B17FCC-C489-43BE-9812-9D6BE23228EE}">
      <dgm:prSet/>
      <dgm:spPr/>
      <dgm:t>
        <a:bodyPr/>
        <a:lstStyle/>
        <a:p>
          <a:endParaRPr lang="en-GB"/>
        </a:p>
      </dgm:t>
    </dgm:pt>
    <dgm:pt modelId="{9B98D394-C2D6-4AC3-88F0-3854008A5459}" type="sibTrans" cxnId="{57B17FCC-C489-43BE-9812-9D6BE23228EE}">
      <dgm:prSet/>
      <dgm:spPr/>
      <dgm:t>
        <a:bodyPr/>
        <a:lstStyle/>
        <a:p>
          <a:endParaRPr lang="en-GB"/>
        </a:p>
      </dgm:t>
    </dgm:pt>
    <dgm:pt modelId="{2D5E09AC-E29A-4C0F-969C-DBDBC48215CB}">
      <dgm:prSet/>
      <dgm:spPr/>
      <dgm:t>
        <a:bodyPr/>
        <a:lstStyle/>
        <a:p>
          <a:r>
            <a:rPr lang="en-US"/>
            <a:t>Docetaksel</a:t>
          </a:r>
          <a:endParaRPr lang="en-GB"/>
        </a:p>
      </dgm:t>
    </dgm:pt>
    <dgm:pt modelId="{979CF75B-A64A-402A-9865-FE2D82065473}" type="parTrans" cxnId="{4F4BE9EE-E5B2-4BE5-A650-27EF7F234C07}">
      <dgm:prSet/>
      <dgm:spPr/>
      <dgm:t>
        <a:bodyPr/>
        <a:lstStyle/>
        <a:p>
          <a:endParaRPr lang="en-GB"/>
        </a:p>
      </dgm:t>
    </dgm:pt>
    <dgm:pt modelId="{6BA3A51D-5BE3-4E6E-B8AE-4C4F65A9B135}" type="sibTrans" cxnId="{4F4BE9EE-E5B2-4BE5-A650-27EF7F234C07}">
      <dgm:prSet/>
      <dgm:spPr/>
      <dgm:t>
        <a:bodyPr/>
        <a:lstStyle/>
        <a:p>
          <a:endParaRPr lang="en-GB"/>
        </a:p>
      </dgm:t>
    </dgm:pt>
    <dgm:pt modelId="{798E1342-491C-4B38-9CFB-E006019C271F}">
      <dgm:prSet/>
      <dgm:spPr/>
      <dgm:t>
        <a:bodyPr/>
        <a:lstStyle/>
        <a:p>
          <a:r>
            <a:rPr lang="en-US"/>
            <a:t>Abirateron</a:t>
          </a:r>
          <a:endParaRPr lang="en-GB"/>
        </a:p>
      </dgm:t>
    </dgm:pt>
    <dgm:pt modelId="{4CDD8244-1310-4F3A-A919-B39DF7B21E54}" type="parTrans" cxnId="{3C7231A0-2484-418F-A524-1F4197640A7D}">
      <dgm:prSet/>
      <dgm:spPr/>
      <dgm:t>
        <a:bodyPr/>
        <a:lstStyle/>
        <a:p>
          <a:endParaRPr lang="en-GB"/>
        </a:p>
      </dgm:t>
    </dgm:pt>
    <dgm:pt modelId="{F53E7115-F983-4C20-9892-9C112450A7AD}" type="sibTrans" cxnId="{3C7231A0-2484-418F-A524-1F4197640A7D}">
      <dgm:prSet/>
      <dgm:spPr/>
      <dgm:t>
        <a:bodyPr/>
        <a:lstStyle/>
        <a:p>
          <a:endParaRPr lang="en-GB"/>
        </a:p>
      </dgm:t>
    </dgm:pt>
    <dgm:pt modelId="{0217356B-CD8E-4F13-A914-4CB5C7B78C2E}">
      <dgm:prSet/>
      <dgm:spPr/>
      <dgm:t>
        <a:bodyPr/>
        <a:lstStyle/>
        <a:p>
          <a:r>
            <a:rPr lang="en-US"/>
            <a:t>Enzalutamid</a:t>
          </a:r>
          <a:endParaRPr lang="en-GB"/>
        </a:p>
      </dgm:t>
    </dgm:pt>
    <dgm:pt modelId="{50190663-A9D1-4EA3-BAB6-0746B4262F08}" type="parTrans" cxnId="{55676F02-251F-47B2-9FC9-9083BCE1BA67}">
      <dgm:prSet/>
      <dgm:spPr/>
      <dgm:t>
        <a:bodyPr/>
        <a:lstStyle/>
        <a:p>
          <a:endParaRPr lang="en-GB"/>
        </a:p>
      </dgm:t>
    </dgm:pt>
    <dgm:pt modelId="{450B7E6A-6190-4953-B133-549075DA9AF9}" type="sibTrans" cxnId="{55676F02-251F-47B2-9FC9-9083BCE1BA67}">
      <dgm:prSet/>
      <dgm:spPr/>
      <dgm:t>
        <a:bodyPr/>
        <a:lstStyle/>
        <a:p>
          <a:endParaRPr lang="en-GB"/>
        </a:p>
      </dgm:t>
    </dgm:pt>
    <dgm:pt modelId="{AF4FE8FC-256D-4C4D-ACC4-DD59422939D8}">
      <dgm:prSet/>
      <dgm:spPr/>
      <dgm:t>
        <a:bodyPr/>
        <a:lstStyle/>
        <a:p>
          <a:r>
            <a:rPr lang="en-US"/>
            <a:t>Post docetaxel</a:t>
          </a:r>
          <a:endParaRPr lang="en-GB"/>
        </a:p>
      </dgm:t>
    </dgm:pt>
    <dgm:pt modelId="{C6C8FA2B-4176-4421-913F-FB9BABBDD5D8}" type="parTrans" cxnId="{EC3CBA0E-EE70-4561-8539-52F966DA01EB}">
      <dgm:prSet/>
      <dgm:spPr/>
      <dgm:t>
        <a:bodyPr/>
        <a:lstStyle/>
        <a:p>
          <a:endParaRPr lang="en-GB"/>
        </a:p>
      </dgm:t>
    </dgm:pt>
    <dgm:pt modelId="{22A81A6E-B73A-4455-B12C-7BD14085D33F}" type="sibTrans" cxnId="{EC3CBA0E-EE70-4561-8539-52F966DA01EB}">
      <dgm:prSet/>
      <dgm:spPr/>
      <dgm:t>
        <a:bodyPr/>
        <a:lstStyle/>
        <a:p>
          <a:endParaRPr lang="en-GB"/>
        </a:p>
      </dgm:t>
    </dgm:pt>
    <dgm:pt modelId="{99C6BE9B-806C-4390-8B62-76B57B37723E}">
      <dgm:prSet/>
      <dgm:spPr/>
      <dgm:t>
        <a:bodyPr/>
        <a:lstStyle/>
        <a:p>
          <a:r>
            <a:rPr lang="en-US"/>
            <a:t>Cabazitaxel</a:t>
          </a:r>
          <a:endParaRPr lang="en-GB"/>
        </a:p>
      </dgm:t>
    </dgm:pt>
    <dgm:pt modelId="{02FC3B91-7301-46E8-803A-CDF9A91D4993}" type="parTrans" cxnId="{FC516B72-D640-4437-89A1-395D16421C11}">
      <dgm:prSet/>
      <dgm:spPr/>
      <dgm:t>
        <a:bodyPr/>
        <a:lstStyle/>
        <a:p>
          <a:endParaRPr lang="en-GB"/>
        </a:p>
      </dgm:t>
    </dgm:pt>
    <dgm:pt modelId="{C5FF8F1D-8454-4AD5-AB9F-EF9E34A63C9C}" type="sibTrans" cxnId="{FC516B72-D640-4437-89A1-395D16421C11}">
      <dgm:prSet/>
      <dgm:spPr/>
      <dgm:t>
        <a:bodyPr/>
        <a:lstStyle/>
        <a:p>
          <a:endParaRPr lang="en-GB"/>
        </a:p>
      </dgm:t>
    </dgm:pt>
    <dgm:pt modelId="{60739A05-188B-4D3A-B8A8-4E87B09F2FED}">
      <dgm:prSet/>
      <dgm:spPr>
        <a:solidFill>
          <a:srgbClr val="C00000"/>
        </a:solidFill>
      </dgm:spPr>
      <dgm:t>
        <a:bodyPr/>
        <a:lstStyle/>
        <a:p>
          <a:r>
            <a:rPr lang="en-US" b="1" dirty="0"/>
            <a:t>PARP </a:t>
          </a:r>
          <a:r>
            <a:rPr lang="en-US" b="1" dirty="0" err="1"/>
            <a:t>inhibitörü</a:t>
          </a:r>
          <a:endParaRPr lang="en-GB" b="1" dirty="0"/>
        </a:p>
      </dgm:t>
    </dgm:pt>
    <dgm:pt modelId="{DD5B13BD-47DB-41DB-87DB-D340810553B4}" type="parTrans" cxnId="{FA2C8C12-8E7B-4CAF-9FF3-8E0C5FBB1320}">
      <dgm:prSet/>
      <dgm:spPr/>
      <dgm:t>
        <a:bodyPr/>
        <a:lstStyle/>
        <a:p>
          <a:endParaRPr lang="en-GB"/>
        </a:p>
      </dgm:t>
    </dgm:pt>
    <dgm:pt modelId="{DE1C6037-6702-4D29-9F3E-099E946345D7}" type="sibTrans" cxnId="{FA2C8C12-8E7B-4CAF-9FF3-8E0C5FBB1320}">
      <dgm:prSet/>
      <dgm:spPr/>
      <dgm:t>
        <a:bodyPr/>
        <a:lstStyle/>
        <a:p>
          <a:endParaRPr lang="en-GB"/>
        </a:p>
      </dgm:t>
    </dgm:pt>
    <dgm:pt modelId="{89D5F8F5-4D64-4A08-9C19-DB6F4C69D28C}">
      <dgm:prSet/>
      <dgm:spPr/>
      <dgm:t>
        <a:bodyPr/>
        <a:lstStyle/>
        <a:p>
          <a:r>
            <a:rPr lang="en-US"/>
            <a:t>Olaparib</a:t>
          </a:r>
          <a:endParaRPr lang="en-GB"/>
        </a:p>
      </dgm:t>
    </dgm:pt>
    <dgm:pt modelId="{2D2A1C8C-81DD-4E87-A7C6-509B7805D8A4}" type="parTrans" cxnId="{292BBF5A-0E25-4A71-A599-914A94F701C4}">
      <dgm:prSet/>
      <dgm:spPr/>
      <dgm:t>
        <a:bodyPr/>
        <a:lstStyle/>
        <a:p>
          <a:endParaRPr lang="en-GB"/>
        </a:p>
      </dgm:t>
    </dgm:pt>
    <dgm:pt modelId="{6CBC54A3-E39D-40C6-8347-587E1285FDD2}" type="sibTrans" cxnId="{292BBF5A-0E25-4A71-A599-914A94F701C4}">
      <dgm:prSet/>
      <dgm:spPr/>
      <dgm:t>
        <a:bodyPr/>
        <a:lstStyle/>
        <a:p>
          <a:endParaRPr lang="en-GB"/>
        </a:p>
      </dgm:t>
    </dgm:pt>
    <dgm:pt modelId="{814D5289-3ADD-4751-81C4-3771D9A7F879}">
      <dgm:prSet/>
      <dgm:spPr/>
      <dgm:t>
        <a:bodyPr/>
        <a:lstStyle/>
        <a:p>
          <a:r>
            <a:rPr lang="en-US"/>
            <a:t>Rucoparib</a:t>
          </a:r>
          <a:endParaRPr lang="en-GB"/>
        </a:p>
      </dgm:t>
    </dgm:pt>
    <dgm:pt modelId="{D669036E-9BD5-4AD2-9F1E-7CE10983450E}" type="parTrans" cxnId="{9BCD6543-040D-47D0-ABA0-1E3274DC6B7B}">
      <dgm:prSet/>
      <dgm:spPr/>
      <dgm:t>
        <a:bodyPr/>
        <a:lstStyle/>
        <a:p>
          <a:endParaRPr lang="en-GB"/>
        </a:p>
      </dgm:t>
    </dgm:pt>
    <dgm:pt modelId="{66836601-7DC0-4EF2-ADF1-55539B5C0510}" type="sibTrans" cxnId="{9BCD6543-040D-47D0-ABA0-1E3274DC6B7B}">
      <dgm:prSet/>
      <dgm:spPr/>
      <dgm:t>
        <a:bodyPr/>
        <a:lstStyle/>
        <a:p>
          <a:endParaRPr lang="en-GB"/>
        </a:p>
      </dgm:t>
    </dgm:pt>
    <dgm:pt modelId="{0A91AC16-1573-4692-84C7-5BC25E1DEE5E}" type="pres">
      <dgm:prSet presAssocID="{F0C1D5F6-E74A-4C35-9297-2616E754D162}" presName="diagram" presStyleCnt="0">
        <dgm:presLayoutVars>
          <dgm:dir/>
          <dgm:animLvl val="lvl"/>
          <dgm:resizeHandles val="exact"/>
        </dgm:presLayoutVars>
      </dgm:prSet>
      <dgm:spPr/>
    </dgm:pt>
    <dgm:pt modelId="{FB2D7071-17A1-476A-904D-1530A3434026}" type="pres">
      <dgm:prSet presAssocID="{D7E584F4-B111-4413-BF6D-87CF53E1F005}" presName="compNode" presStyleCnt="0"/>
      <dgm:spPr/>
    </dgm:pt>
    <dgm:pt modelId="{016D5FD1-293B-4FA5-B4FF-4658C0187F7F}" type="pres">
      <dgm:prSet presAssocID="{D7E584F4-B111-4413-BF6D-87CF53E1F005}" presName="childRect" presStyleLbl="bgAcc1" presStyleIdx="0" presStyleCnt="4">
        <dgm:presLayoutVars>
          <dgm:bulletEnabled val="1"/>
        </dgm:presLayoutVars>
      </dgm:prSet>
      <dgm:spPr/>
    </dgm:pt>
    <dgm:pt modelId="{5CE00E69-21E6-47A2-9BAF-79AB12725AC6}" type="pres">
      <dgm:prSet presAssocID="{D7E584F4-B111-4413-BF6D-87CF53E1F005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AD61260F-67E5-4161-AED7-1B56F34D4D03}" type="pres">
      <dgm:prSet presAssocID="{D7E584F4-B111-4413-BF6D-87CF53E1F005}" presName="parentRect" presStyleLbl="alignNode1" presStyleIdx="0" presStyleCnt="4"/>
      <dgm:spPr/>
    </dgm:pt>
    <dgm:pt modelId="{D69EFB63-590B-45F9-8D03-4EB633136820}" type="pres">
      <dgm:prSet presAssocID="{D7E584F4-B111-4413-BF6D-87CF53E1F005}" presName="adorn" presStyleLbl="fgAccFollowNode1" presStyleIdx="0" presStyleCnt="4"/>
      <dgm:spPr/>
    </dgm:pt>
    <dgm:pt modelId="{127A968A-1236-4DCD-B207-EA6A4C5415A6}" type="pres">
      <dgm:prSet presAssocID="{79E9FD34-C74E-4075-82FA-05B53735EAEE}" presName="sibTrans" presStyleLbl="sibTrans2D1" presStyleIdx="0" presStyleCnt="0"/>
      <dgm:spPr/>
    </dgm:pt>
    <dgm:pt modelId="{76115F6D-37B4-4D11-8C33-1775C3369819}" type="pres">
      <dgm:prSet presAssocID="{E7AA2DC4-0A80-448F-AC8E-4AF081CF10C9}" presName="compNode" presStyleCnt="0"/>
      <dgm:spPr/>
    </dgm:pt>
    <dgm:pt modelId="{B49EA1A0-8470-48C2-80D7-80800D28E861}" type="pres">
      <dgm:prSet presAssocID="{E7AA2DC4-0A80-448F-AC8E-4AF081CF10C9}" presName="childRect" presStyleLbl="bgAcc1" presStyleIdx="1" presStyleCnt="4">
        <dgm:presLayoutVars>
          <dgm:bulletEnabled val="1"/>
        </dgm:presLayoutVars>
      </dgm:prSet>
      <dgm:spPr/>
    </dgm:pt>
    <dgm:pt modelId="{58ABCD37-7258-44A6-90BA-1F0F7248337F}" type="pres">
      <dgm:prSet presAssocID="{E7AA2DC4-0A80-448F-AC8E-4AF081CF10C9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F52F5B91-DBDD-4A2A-B409-45E4F19D8B18}" type="pres">
      <dgm:prSet presAssocID="{E7AA2DC4-0A80-448F-AC8E-4AF081CF10C9}" presName="parentRect" presStyleLbl="alignNode1" presStyleIdx="1" presStyleCnt="4"/>
      <dgm:spPr/>
    </dgm:pt>
    <dgm:pt modelId="{C20FDFFC-219B-4612-B43B-1C764F251F5A}" type="pres">
      <dgm:prSet presAssocID="{E7AA2DC4-0A80-448F-AC8E-4AF081CF10C9}" presName="adorn" presStyleLbl="fgAccFollowNode1" presStyleIdx="1" presStyleCnt="4"/>
      <dgm:spPr/>
    </dgm:pt>
    <dgm:pt modelId="{FB11B2FA-7188-4D90-99FF-A9FF9E93A573}" type="pres">
      <dgm:prSet presAssocID="{179A3358-676F-4694-9C83-928058ABFFF4}" presName="sibTrans" presStyleLbl="sibTrans2D1" presStyleIdx="0" presStyleCnt="0"/>
      <dgm:spPr/>
    </dgm:pt>
    <dgm:pt modelId="{B45D8F2C-7E80-4D79-B47A-0FD542424710}" type="pres">
      <dgm:prSet presAssocID="{D09DB346-C1E2-442E-B46B-4C5A4E6BDF89}" presName="compNode" presStyleCnt="0"/>
      <dgm:spPr/>
    </dgm:pt>
    <dgm:pt modelId="{5F0FBF7D-3D0D-496C-98CF-B9EB32253D1D}" type="pres">
      <dgm:prSet presAssocID="{D09DB346-C1E2-442E-B46B-4C5A4E6BDF89}" presName="childRect" presStyleLbl="bgAcc1" presStyleIdx="2" presStyleCnt="4">
        <dgm:presLayoutVars>
          <dgm:bulletEnabled val="1"/>
        </dgm:presLayoutVars>
      </dgm:prSet>
      <dgm:spPr/>
    </dgm:pt>
    <dgm:pt modelId="{BC4E5E96-36B9-4B25-89E5-B7CDEDEA95DE}" type="pres">
      <dgm:prSet presAssocID="{D09DB346-C1E2-442E-B46B-4C5A4E6BDF89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21822AFD-0256-4AFC-8087-3BF7CC92EEBB}" type="pres">
      <dgm:prSet presAssocID="{D09DB346-C1E2-442E-B46B-4C5A4E6BDF89}" presName="parentRect" presStyleLbl="alignNode1" presStyleIdx="2" presStyleCnt="4"/>
      <dgm:spPr/>
    </dgm:pt>
    <dgm:pt modelId="{67E1145A-C971-43A9-9065-FC47CD748026}" type="pres">
      <dgm:prSet presAssocID="{D09DB346-C1E2-442E-B46B-4C5A4E6BDF89}" presName="adorn" presStyleLbl="fgAccFollowNode1" presStyleIdx="2" presStyleCnt="4"/>
      <dgm:spPr/>
    </dgm:pt>
    <dgm:pt modelId="{82708F82-4BEB-46FD-85BD-803D2E906FF9}" type="pres">
      <dgm:prSet presAssocID="{9B98D394-C2D6-4AC3-88F0-3854008A5459}" presName="sibTrans" presStyleLbl="sibTrans2D1" presStyleIdx="0" presStyleCnt="0"/>
      <dgm:spPr/>
    </dgm:pt>
    <dgm:pt modelId="{CBD5A8C9-D478-451B-854C-64DD13F8EBF6}" type="pres">
      <dgm:prSet presAssocID="{60739A05-188B-4D3A-B8A8-4E87B09F2FED}" presName="compNode" presStyleCnt="0"/>
      <dgm:spPr/>
    </dgm:pt>
    <dgm:pt modelId="{E407B217-D8AB-41EE-A96B-F94DB07CDE17}" type="pres">
      <dgm:prSet presAssocID="{60739A05-188B-4D3A-B8A8-4E87B09F2FED}" presName="childRect" presStyleLbl="bgAcc1" presStyleIdx="3" presStyleCnt="4">
        <dgm:presLayoutVars>
          <dgm:bulletEnabled val="1"/>
        </dgm:presLayoutVars>
      </dgm:prSet>
      <dgm:spPr/>
    </dgm:pt>
    <dgm:pt modelId="{8AEE9AC7-2813-4D73-A50B-89649323FF30}" type="pres">
      <dgm:prSet presAssocID="{60739A05-188B-4D3A-B8A8-4E87B09F2FED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82D31804-5139-4EF8-9147-E34A86B5A75E}" type="pres">
      <dgm:prSet presAssocID="{60739A05-188B-4D3A-B8A8-4E87B09F2FED}" presName="parentRect" presStyleLbl="alignNode1" presStyleIdx="3" presStyleCnt="4"/>
      <dgm:spPr/>
    </dgm:pt>
    <dgm:pt modelId="{3548267F-1CF2-496B-B26F-03412C947C5F}" type="pres">
      <dgm:prSet presAssocID="{60739A05-188B-4D3A-B8A8-4E87B09F2FED}" presName="adorn" presStyleLbl="fgAccFollowNode1" presStyleIdx="3" presStyleCnt="4"/>
      <dgm:spPr/>
    </dgm:pt>
  </dgm:ptLst>
  <dgm:cxnLst>
    <dgm:cxn modelId="{55676F02-251F-47B2-9FC9-9083BCE1BA67}" srcId="{D09DB346-C1E2-442E-B46B-4C5A4E6BDF89}" destId="{0217356B-CD8E-4F13-A914-4CB5C7B78C2E}" srcOrd="2" destOrd="0" parTransId="{50190663-A9D1-4EA3-BAB6-0746B4262F08}" sibTransId="{450B7E6A-6190-4953-B133-549075DA9AF9}"/>
    <dgm:cxn modelId="{256AAD05-B520-4CAE-A88B-690AAF5D66F8}" type="presOf" srcId="{60739A05-188B-4D3A-B8A8-4E87B09F2FED}" destId="{82D31804-5139-4EF8-9147-E34A86B5A75E}" srcOrd="1" destOrd="0" presId="urn:microsoft.com/office/officeart/2005/8/layout/bList2"/>
    <dgm:cxn modelId="{F0643E0D-9636-4505-8956-D8174CC7F80C}" type="presOf" srcId="{814D5289-3ADD-4751-81C4-3771D9A7F879}" destId="{E407B217-D8AB-41EE-A96B-F94DB07CDE17}" srcOrd="0" destOrd="1" presId="urn:microsoft.com/office/officeart/2005/8/layout/bList2"/>
    <dgm:cxn modelId="{EC3CBA0E-EE70-4561-8539-52F966DA01EB}" srcId="{D09DB346-C1E2-442E-B46B-4C5A4E6BDF89}" destId="{AF4FE8FC-256D-4C4D-ACC4-DD59422939D8}" srcOrd="3" destOrd="0" parTransId="{C6C8FA2B-4176-4421-913F-FB9BABBDD5D8}" sibTransId="{22A81A6E-B73A-4455-B12C-7BD14085D33F}"/>
    <dgm:cxn modelId="{FA2C8C12-8E7B-4CAF-9FF3-8E0C5FBB1320}" srcId="{F0C1D5F6-E74A-4C35-9297-2616E754D162}" destId="{60739A05-188B-4D3A-B8A8-4E87B09F2FED}" srcOrd="3" destOrd="0" parTransId="{DD5B13BD-47DB-41DB-87DB-D340810553B4}" sibTransId="{DE1C6037-6702-4D29-9F3E-099E946345D7}"/>
    <dgm:cxn modelId="{173AC923-A543-42B1-9215-BA84541184C9}" type="presOf" srcId="{99C6BE9B-806C-4390-8B62-76B57B37723E}" destId="{5F0FBF7D-3D0D-496C-98CF-B9EB32253D1D}" srcOrd="0" destOrd="4" presId="urn:microsoft.com/office/officeart/2005/8/layout/bList2"/>
    <dgm:cxn modelId="{7D47B22F-8D32-4E1C-BA26-927E3F233D19}" type="presOf" srcId="{E7AA2DC4-0A80-448F-AC8E-4AF081CF10C9}" destId="{F52F5B91-DBDD-4A2A-B409-45E4F19D8B18}" srcOrd="1" destOrd="0" presId="urn:microsoft.com/office/officeart/2005/8/layout/bList2"/>
    <dgm:cxn modelId="{AAE7A13D-2731-4C93-81E3-99330C013C13}" srcId="{F0C1D5F6-E74A-4C35-9297-2616E754D162}" destId="{D7E584F4-B111-4413-BF6D-87CF53E1F005}" srcOrd="0" destOrd="0" parTransId="{A563930C-E72F-43B5-9702-9EC1C45EDD34}" sibTransId="{79E9FD34-C74E-4075-82FA-05B53735EAEE}"/>
    <dgm:cxn modelId="{7014595F-FCBE-4DF8-BE9E-4755A4E6FC85}" type="presOf" srcId="{0217356B-CD8E-4F13-A914-4CB5C7B78C2E}" destId="{5F0FBF7D-3D0D-496C-98CF-B9EB32253D1D}" srcOrd="0" destOrd="2" presId="urn:microsoft.com/office/officeart/2005/8/layout/bList2"/>
    <dgm:cxn modelId="{9BCD6543-040D-47D0-ABA0-1E3274DC6B7B}" srcId="{60739A05-188B-4D3A-B8A8-4E87B09F2FED}" destId="{814D5289-3ADD-4751-81C4-3771D9A7F879}" srcOrd="1" destOrd="0" parTransId="{D669036E-9BD5-4AD2-9F1E-7CE10983450E}" sibTransId="{66836601-7DC0-4EF2-ADF1-55539B5C0510}"/>
    <dgm:cxn modelId="{DD333A4F-6D85-4E10-AED9-FF8DA6A41D7B}" type="presOf" srcId="{179A3358-676F-4694-9C83-928058ABFFF4}" destId="{FB11B2FA-7188-4D90-99FF-A9FF9E93A573}" srcOrd="0" destOrd="0" presId="urn:microsoft.com/office/officeart/2005/8/layout/bList2"/>
    <dgm:cxn modelId="{BFCA5D72-5D71-4EDA-AF8E-43A3623451B7}" srcId="{D7E584F4-B111-4413-BF6D-87CF53E1F005}" destId="{4F091390-9844-47C4-B3BD-A7EF99C1262D}" srcOrd="2" destOrd="0" parTransId="{5D7C05F7-939E-4A5A-A45C-45A19E4EF127}" sibTransId="{FE477D00-7673-42B1-AF67-A94558E69405}"/>
    <dgm:cxn modelId="{FC516B72-D640-4437-89A1-395D16421C11}" srcId="{AF4FE8FC-256D-4C4D-ACC4-DD59422939D8}" destId="{99C6BE9B-806C-4390-8B62-76B57B37723E}" srcOrd="0" destOrd="0" parTransId="{02FC3B91-7301-46E8-803A-CDF9A91D4993}" sibTransId="{C5FF8F1D-8454-4AD5-AB9F-EF9E34A63C9C}"/>
    <dgm:cxn modelId="{2C50BB73-FAE8-42E7-AF68-0F1F94A79413}" type="presOf" srcId="{D09DB346-C1E2-442E-B46B-4C5A4E6BDF89}" destId="{21822AFD-0256-4AFC-8087-3BF7CC92EEBB}" srcOrd="1" destOrd="0" presId="urn:microsoft.com/office/officeart/2005/8/layout/bList2"/>
    <dgm:cxn modelId="{9ACA4079-7A93-4F58-ADFE-F6E155AE34ED}" type="presOf" srcId="{15F8605B-7EC2-45D8-B031-E4B527616DCC}" destId="{016D5FD1-293B-4FA5-B4FF-4658C0187F7F}" srcOrd="0" destOrd="1" presId="urn:microsoft.com/office/officeart/2005/8/layout/bList2"/>
    <dgm:cxn modelId="{337B847A-CD29-4C60-98A7-8DB19AC3F8BB}" type="presOf" srcId="{798E1342-491C-4B38-9CFB-E006019C271F}" destId="{5F0FBF7D-3D0D-496C-98CF-B9EB32253D1D}" srcOrd="0" destOrd="1" presId="urn:microsoft.com/office/officeart/2005/8/layout/bList2"/>
    <dgm:cxn modelId="{292BBF5A-0E25-4A71-A599-914A94F701C4}" srcId="{60739A05-188B-4D3A-B8A8-4E87B09F2FED}" destId="{89D5F8F5-4D64-4A08-9C19-DB6F4C69D28C}" srcOrd="0" destOrd="0" parTransId="{2D2A1C8C-81DD-4E87-A7C6-509B7805D8A4}" sibTransId="{6CBC54A3-E39D-40C6-8347-587E1285FDD2}"/>
    <dgm:cxn modelId="{20225881-5845-4158-99B2-B22C3E78347B}" type="presOf" srcId="{2D5E09AC-E29A-4C0F-969C-DBDBC48215CB}" destId="{5F0FBF7D-3D0D-496C-98CF-B9EB32253D1D}" srcOrd="0" destOrd="0" presId="urn:microsoft.com/office/officeart/2005/8/layout/bList2"/>
    <dgm:cxn modelId="{2F83338E-9375-47DD-9E4E-1E21F694CC44}" type="presOf" srcId="{B18AD962-4D1A-4352-A3FE-5929C7CC527A}" destId="{B49EA1A0-8470-48C2-80D7-80800D28E861}" srcOrd="0" destOrd="0" presId="urn:microsoft.com/office/officeart/2005/8/layout/bList2"/>
    <dgm:cxn modelId="{B50F0292-34E3-433D-9D83-64C205D0C47F}" type="presOf" srcId="{D7E584F4-B111-4413-BF6D-87CF53E1F005}" destId="{AD61260F-67E5-4161-AED7-1B56F34D4D03}" srcOrd="1" destOrd="0" presId="urn:microsoft.com/office/officeart/2005/8/layout/bList2"/>
    <dgm:cxn modelId="{58D0189D-4EDC-4E54-99E5-9303320EA77F}" srcId="{F0C1D5F6-E74A-4C35-9297-2616E754D162}" destId="{E7AA2DC4-0A80-448F-AC8E-4AF081CF10C9}" srcOrd="1" destOrd="0" parTransId="{2F7EFBB1-BAFF-4D8A-B0A9-E081BB6EF60E}" sibTransId="{179A3358-676F-4694-9C83-928058ABFFF4}"/>
    <dgm:cxn modelId="{DA97039E-BBFD-43D1-B745-2EA67345FA27}" type="presOf" srcId="{4F091390-9844-47C4-B3BD-A7EF99C1262D}" destId="{016D5FD1-293B-4FA5-B4FF-4658C0187F7F}" srcOrd="0" destOrd="2" presId="urn:microsoft.com/office/officeart/2005/8/layout/bList2"/>
    <dgm:cxn modelId="{61DCDA9E-1920-41ED-A7CA-3ED8D707F072}" type="presOf" srcId="{89D5F8F5-4D64-4A08-9C19-DB6F4C69D28C}" destId="{E407B217-D8AB-41EE-A96B-F94DB07CDE17}" srcOrd="0" destOrd="0" presId="urn:microsoft.com/office/officeart/2005/8/layout/bList2"/>
    <dgm:cxn modelId="{3C7231A0-2484-418F-A524-1F4197640A7D}" srcId="{D09DB346-C1E2-442E-B46B-4C5A4E6BDF89}" destId="{798E1342-491C-4B38-9CFB-E006019C271F}" srcOrd="1" destOrd="0" parTransId="{4CDD8244-1310-4F3A-A919-B39DF7B21E54}" sibTransId="{F53E7115-F983-4C20-9892-9C112450A7AD}"/>
    <dgm:cxn modelId="{EB611CA7-3601-45F5-BD8E-F1647241BC39}" type="presOf" srcId="{5EE5F155-1168-4EA1-82B1-A8D3E53889AA}" destId="{B49EA1A0-8470-48C2-80D7-80800D28E861}" srcOrd="0" destOrd="1" presId="urn:microsoft.com/office/officeart/2005/8/layout/bList2"/>
    <dgm:cxn modelId="{6EA3D1B5-E23E-42CB-AD64-23711EE51943}" type="presOf" srcId="{9B98D394-C2D6-4AC3-88F0-3854008A5459}" destId="{82708F82-4BEB-46FD-85BD-803D2E906FF9}" srcOrd="0" destOrd="0" presId="urn:microsoft.com/office/officeart/2005/8/layout/bList2"/>
    <dgm:cxn modelId="{0F2F3EBB-8358-43E5-9432-43ADD043C517}" srcId="{E7AA2DC4-0A80-448F-AC8E-4AF081CF10C9}" destId="{B18AD962-4D1A-4352-A3FE-5929C7CC527A}" srcOrd="0" destOrd="0" parTransId="{A72AE0BE-F22C-425C-B9D6-D8F684EC9923}" sibTransId="{B41449F2-7D20-475A-88C8-C86C02C08693}"/>
    <dgm:cxn modelId="{2C0389BE-B852-4BAA-AB1E-1434B57D88C7}" srcId="{E7AA2DC4-0A80-448F-AC8E-4AF081CF10C9}" destId="{65A1844F-D856-40FF-AE13-28F8F3A9E912}" srcOrd="2" destOrd="0" parTransId="{033B40D8-CA50-4D43-82DC-CE6E704F4EE6}" sibTransId="{08A07F7C-E1D6-4484-8B2E-0730C3DA2987}"/>
    <dgm:cxn modelId="{8642EFBF-ABFE-44E7-B71D-71512BF0A0B9}" srcId="{D7E584F4-B111-4413-BF6D-87CF53E1F005}" destId="{AD5F51EF-074C-4720-9AAD-2AAA56371428}" srcOrd="3" destOrd="0" parTransId="{BE743CB0-5782-4E58-9163-5C3C2ABDCD04}" sibTransId="{E496107E-F9AB-4EF7-90D8-9FE507F63A6D}"/>
    <dgm:cxn modelId="{F5AB8FC1-86F4-45DB-B9DF-10297AF8CB23}" type="presOf" srcId="{D09DB346-C1E2-442E-B46B-4C5A4E6BDF89}" destId="{BC4E5E96-36B9-4B25-89E5-B7CDEDEA95DE}" srcOrd="0" destOrd="0" presId="urn:microsoft.com/office/officeart/2005/8/layout/bList2"/>
    <dgm:cxn modelId="{6BC2AEC4-EBCE-486C-9629-DABFED7838BE}" type="presOf" srcId="{AF4FE8FC-256D-4C4D-ACC4-DD59422939D8}" destId="{5F0FBF7D-3D0D-496C-98CF-B9EB32253D1D}" srcOrd="0" destOrd="3" presId="urn:microsoft.com/office/officeart/2005/8/layout/bList2"/>
    <dgm:cxn modelId="{AD7C6FC5-C5CC-4CA2-BA6D-1ADF6AF8A4AF}" type="presOf" srcId="{E7AA2DC4-0A80-448F-AC8E-4AF081CF10C9}" destId="{58ABCD37-7258-44A6-90BA-1F0F7248337F}" srcOrd="0" destOrd="0" presId="urn:microsoft.com/office/officeart/2005/8/layout/bList2"/>
    <dgm:cxn modelId="{E47856C7-40D4-4B5E-AD61-2770946E29FB}" type="presOf" srcId="{60739A05-188B-4D3A-B8A8-4E87B09F2FED}" destId="{8AEE9AC7-2813-4D73-A50B-89649323FF30}" srcOrd="0" destOrd="0" presId="urn:microsoft.com/office/officeart/2005/8/layout/bList2"/>
    <dgm:cxn modelId="{57B17FCC-C489-43BE-9812-9D6BE23228EE}" srcId="{F0C1D5F6-E74A-4C35-9297-2616E754D162}" destId="{D09DB346-C1E2-442E-B46B-4C5A4E6BDF89}" srcOrd="2" destOrd="0" parTransId="{92C19621-679F-408A-8DDC-76E928B69086}" sibTransId="{9B98D394-C2D6-4AC3-88F0-3854008A5459}"/>
    <dgm:cxn modelId="{FAA99ACE-5845-4D93-8278-88F75F157347}" type="presOf" srcId="{65A1844F-D856-40FF-AE13-28F8F3A9E912}" destId="{B49EA1A0-8470-48C2-80D7-80800D28E861}" srcOrd="0" destOrd="2" presId="urn:microsoft.com/office/officeart/2005/8/layout/bList2"/>
    <dgm:cxn modelId="{94B4E6D0-14CE-4CA6-B3E2-17726304D865}" type="presOf" srcId="{79E9FD34-C74E-4075-82FA-05B53735EAEE}" destId="{127A968A-1236-4DCD-B207-EA6A4C5415A6}" srcOrd="0" destOrd="0" presId="urn:microsoft.com/office/officeart/2005/8/layout/bList2"/>
    <dgm:cxn modelId="{F85211D1-28FA-4ED2-8D7C-30A8804C6646}" srcId="{D7E584F4-B111-4413-BF6D-87CF53E1F005}" destId="{15F8605B-7EC2-45D8-B031-E4B527616DCC}" srcOrd="1" destOrd="0" parTransId="{C7E7006D-7B76-49E6-8F9C-C48DD8E3224F}" sibTransId="{95E38F5D-E304-4045-AD24-76DB45B86B21}"/>
    <dgm:cxn modelId="{595789DC-40A3-4593-A54D-ED4604E6029D}" type="presOf" srcId="{F0C1D5F6-E74A-4C35-9297-2616E754D162}" destId="{0A91AC16-1573-4692-84C7-5BC25E1DEE5E}" srcOrd="0" destOrd="0" presId="urn:microsoft.com/office/officeart/2005/8/layout/bList2"/>
    <dgm:cxn modelId="{6513B9E4-909C-461F-80D4-AEBBF79A4999}" type="presOf" srcId="{AD5F51EF-074C-4720-9AAD-2AAA56371428}" destId="{016D5FD1-293B-4FA5-B4FF-4658C0187F7F}" srcOrd="0" destOrd="3" presId="urn:microsoft.com/office/officeart/2005/8/layout/bList2"/>
    <dgm:cxn modelId="{3D5835E5-82A5-4799-B8E2-25F3FC72F550}" srcId="{D7E584F4-B111-4413-BF6D-87CF53E1F005}" destId="{EA20F490-D334-480F-92EB-70BE4891FBCA}" srcOrd="0" destOrd="0" parTransId="{4871E4E1-FEFC-40E3-91B1-72FB31E22BD8}" sibTransId="{14B4688D-DD58-4108-9899-EED873411A39}"/>
    <dgm:cxn modelId="{ADCF20EB-A976-4EB7-9FA1-D91164523D56}" type="presOf" srcId="{D7E584F4-B111-4413-BF6D-87CF53E1F005}" destId="{5CE00E69-21E6-47A2-9BAF-79AB12725AC6}" srcOrd="0" destOrd="0" presId="urn:microsoft.com/office/officeart/2005/8/layout/bList2"/>
    <dgm:cxn modelId="{8DA3A0EB-A1B2-42A8-BDBA-FDCCF45E9CB6}" srcId="{E7AA2DC4-0A80-448F-AC8E-4AF081CF10C9}" destId="{5EE5F155-1168-4EA1-82B1-A8D3E53889AA}" srcOrd="1" destOrd="0" parTransId="{C1692EF5-44E4-4E13-88A9-F7DD66FCEF96}" sibTransId="{BA958DB0-C243-4E31-9C4C-D2B3AD898274}"/>
    <dgm:cxn modelId="{4F4BE9EE-E5B2-4BE5-A650-27EF7F234C07}" srcId="{D09DB346-C1E2-442E-B46B-4C5A4E6BDF89}" destId="{2D5E09AC-E29A-4C0F-969C-DBDBC48215CB}" srcOrd="0" destOrd="0" parTransId="{979CF75B-A64A-402A-9865-FE2D82065473}" sibTransId="{6BA3A51D-5BE3-4E6E-B8AE-4C4F65A9B135}"/>
    <dgm:cxn modelId="{F00EB5F8-C0CD-46B8-90FC-1AA8D6AAF74B}" type="presOf" srcId="{EA20F490-D334-480F-92EB-70BE4891FBCA}" destId="{016D5FD1-293B-4FA5-B4FF-4658C0187F7F}" srcOrd="0" destOrd="0" presId="urn:microsoft.com/office/officeart/2005/8/layout/bList2"/>
    <dgm:cxn modelId="{7E827879-4861-4F54-8605-456FB73F9779}" type="presParOf" srcId="{0A91AC16-1573-4692-84C7-5BC25E1DEE5E}" destId="{FB2D7071-17A1-476A-904D-1530A3434026}" srcOrd="0" destOrd="0" presId="urn:microsoft.com/office/officeart/2005/8/layout/bList2"/>
    <dgm:cxn modelId="{19F98B70-93A8-4CF2-87C8-E50D03EC3669}" type="presParOf" srcId="{FB2D7071-17A1-476A-904D-1530A3434026}" destId="{016D5FD1-293B-4FA5-B4FF-4658C0187F7F}" srcOrd="0" destOrd="0" presId="urn:microsoft.com/office/officeart/2005/8/layout/bList2"/>
    <dgm:cxn modelId="{85010E2C-6E80-43E9-BA5C-F2AF7132E548}" type="presParOf" srcId="{FB2D7071-17A1-476A-904D-1530A3434026}" destId="{5CE00E69-21E6-47A2-9BAF-79AB12725AC6}" srcOrd="1" destOrd="0" presId="urn:microsoft.com/office/officeart/2005/8/layout/bList2"/>
    <dgm:cxn modelId="{32AA36CC-3B0A-46B6-8C99-665A1E262734}" type="presParOf" srcId="{FB2D7071-17A1-476A-904D-1530A3434026}" destId="{AD61260F-67E5-4161-AED7-1B56F34D4D03}" srcOrd="2" destOrd="0" presId="urn:microsoft.com/office/officeart/2005/8/layout/bList2"/>
    <dgm:cxn modelId="{8FB5A1EF-860C-4CC3-A0C3-8389277EA8A4}" type="presParOf" srcId="{FB2D7071-17A1-476A-904D-1530A3434026}" destId="{D69EFB63-590B-45F9-8D03-4EB633136820}" srcOrd="3" destOrd="0" presId="urn:microsoft.com/office/officeart/2005/8/layout/bList2"/>
    <dgm:cxn modelId="{97F2A470-42D3-490A-86AA-9964FE8117E3}" type="presParOf" srcId="{0A91AC16-1573-4692-84C7-5BC25E1DEE5E}" destId="{127A968A-1236-4DCD-B207-EA6A4C5415A6}" srcOrd="1" destOrd="0" presId="urn:microsoft.com/office/officeart/2005/8/layout/bList2"/>
    <dgm:cxn modelId="{F5AB2BE1-C638-48FF-A4A2-675A6543B547}" type="presParOf" srcId="{0A91AC16-1573-4692-84C7-5BC25E1DEE5E}" destId="{76115F6D-37B4-4D11-8C33-1775C3369819}" srcOrd="2" destOrd="0" presId="urn:microsoft.com/office/officeart/2005/8/layout/bList2"/>
    <dgm:cxn modelId="{503ECD1A-1B44-4475-9817-5A84ED372CEE}" type="presParOf" srcId="{76115F6D-37B4-4D11-8C33-1775C3369819}" destId="{B49EA1A0-8470-48C2-80D7-80800D28E861}" srcOrd="0" destOrd="0" presId="urn:microsoft.com/office/officeart/2005/8/layout/bList2"/>
    <dgm:cxn modelId="{338A1FB9-4E4A-45CA-9D68-8E207787900B}" type="presParOf" srcId="{76115F6D-37B4-4D11-8C33-1775C3369819}" destId="{58ABCD37-7258-44A6-90BA-1F0F7248337F}" srcOrd="1" destOrd="0" presId="urn:microsoft.com/office/officeart/2005/8/layout/bList2"/>
    <dgm:cxn modelId="{03491C4A-FF23-441E-B63D-D93CC9041C9F}" type="presParOf" srcId="{76115F6D-37B4-4D11-8C33-1775C3369819}" destId="{F52F5B91-DBDD-4A2A-B409-45E4F19D8B18}" srcOrd="2" destOrd="0" presId="urn:microsoft.com/office/officeart/2005/8/layout/bList2"/>
    <dgm:cxn modelId="{9C6E1A98-02B9-4460-9AC1-393A7A4191E0}" type="presParOf" srcId="{76115F6D-37B4-4D11-8C33-1775C3369819}" destId="{C20FDFFC-219B-4612-B43B-1C764F251F5A}" srcOrd="3" destOrd="0" presId="urn:microsoft.com/office/officeart/2005/8/layout/bList2"/>
    <dgm:cxn modelId="{E1A6656C-E38E-4C13-A6E7-4203B688897D}" type="presParOf" srcId="{0A91AC16-1573-4692-84C7-5BC25E1DEE5E}" destId="{FB11B2FA-7188-4D90-99FF-A9FF9E93A573}" srcOrd="3" destOrd="0" presId="urn:microsoft.com/office/officeart/2005/8/layout/bList2"/>
    <dgm:cxn modelId="{FB0DA25F-2319-4C7B-A27D-114F42D83F21}" type="presParOf" srcId="{0A91AC16-1573-4692-84C7-5BC25E1DEE5E}" destId="{B45D8F2C-7E80-4D79-B47A-0FD542424710}" srcOrd="4" destOrd="0" presId="urn:microsoft.com/office/officeart/2005/8/layout/bList2"/>
    <dgm:cxn modelId="{C1CD82D2-8A85-4EAC-A064-D5178230B1EE}" type="presParOf" srcId="{B45D8F2C-7E80-4D79-B47A-0FD542424710}" destId="{5F0FBF7D-3D0D-496C-98CF-B9EB32253D1D}" srcOrd="0" destOrd="0" presId="urn:microsoft.com/office/officeart/2005/8/layout/bList2"/>
    <dgm:cxn modelId="{6797E36F-F407-44EF-81BE-3B52FFCB49B8}" type="presParOf" srcId="{B45D8F2C-7E80-4D79-B47A-0FD542424710}" destId="{BC4E5E96-36B9-4B25-89E5-B7CDEDEA95DE}" srcOrd="1" destOrd="0" presId="urn:microsoft.com/office/officeart/2005/8/layout/bList2"/>
    <dgm:cxn modelId="{95560A66-56E5-4075-9919-B26EB0BC4746}" type="presParOf" srcId="{B45D8F2C-7E80-4D79-B47A-0FD542424710}" destId="{21822AFD-0256-4AFC-8087-3BF7CC92EEBB}" srcOrd="2" destOrd="0" presId="urn:microsoft.com/office/officeart/2005/8/layout/bList2"/>
    <dgm:cxn modelId="{C055CDC6-4A4B-4D8E-BBA3-B3B46D7BF3CE}" type="presParOf" srcId="{B45D8F2C-7E80-4D79-B47A-0FD542424710}" destId="{67E1145A-C971-43A9-9065-FC47CD748026}" srcOrd="3" destOrd="0" presId="urn:microsoft.com/office/officeart/2005/8/layout/bList2"/>
    <dgm:cxn modelId="{7FBBCD3B-4CE8-4048-A29D-9965EC5675A8}" type="presParOf" srcId="{0A91AC16-1573-4692-84C7-5BC25E1DEE5E}" destId="{82708F82-4BEB-46FD-85BD-803D2E906FF9}" srcOrd="5" destOrd="0" presId="urn:microsoft.com/office/officeart/2005/8/layout/bList2"/>
    <dgm:cxn modelId="{BA3D60C9-2520-41BE-BBFC-F303EF472038}" type="presParOf" srcId="{0A91AC16-1573-4692-84C7-5BC25E1DEE5E}" destId="{CBD5A8C9-D478-451B-854C-64DD13F8EBF6}" srcOrd="6" destOrd="0" presId="urn:microsoft.com/office/officeart/2005/8/layout/bList2"/>
    <dgm:cxn modelId="{D042EE66-A4AC-4380-8761-131C3989CD25}" type="presParOf" srcId="{CBD5A8C9-D478-451B-854C-64DD13F8EBF6}" destId="{E407B217-D8AB-41EE-A96B-F94DB07CDE17}" srcOrd="0" destOrd="0" presId="urn:microsoft.com/office/officeart/2005/8/layout/bList2"/>
    <dgm:cxn modelId="{A30B79D7-7F08-4A35-B298-6A26EEB3238D}" type="presParOf" srcId="{CBD5A8C9-D478-451B-854C-64DD13F8EBF6}" destId="{8AEE9AC7-2813-4D73-A50B-89649323FF30}" srcOrd="1" destOrd="0" presId="urn:microsoft.com/office/officeart/2005/8/layout/bList2"/>
    <dgm:cxn modelId="{58B87D30-F49A-4356-B76B-76EC14C86A1A}" type="presParOf" srcId="{CBD5A8C9-D478-451B-854C-64DD13F8EBF6}" destId="{82D31804-5139-4EF8-9147-E34A86B5A75E}" srcOrd="2" destOrd="0" presId="urn:microsoft.com/office/officeart/2005/8/layout/bList2"/>
    <dgm:cxn modelId="{DF7969F9-F5CD-4AD1-9C93-C686B3A2BED0}" type="presParOf" srcId="{CBD5A8C9-D478-451B-854C-64DD13F8EBF6}" destId="{3548267F-1CF2-496B-B26F-03412C947C5F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A89CD8E0-E5D6-4D50-B138-BEF778D78B31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A27EF5D-DB7B-4269-B2AB-28C83BD68254}">
      <dgm:prSet custT="1"/>
      <dgm:spPr/>
      <dgm:t>
        <a:bodyPr/>
        <a:lstStyle/>
        <a:p>
          <a:r>
            <a:rPr lang="en-GB" sz="3600" dirty="0" err="1"/>
            <a:t>Seçenekler</a:t>
          </a:r>
          <a:r>
            <a:rPr lang="en-GB" sz="3600" dirty="0"/>
            <a:t> </a:t>
          </a:r>
          <a:r>
            <a:rPr lang="en-GB" sz="3600" dirty="0" err="1"/>
            <a:t>yeterli</a:t>
          </a:r>
          <a:r>
            <a:rPr lang="en-GB" sz="3600" dirty="0"/>
            <a:t> </a:t>
          </a:r>
          <a:r>
            <a:rPr lang="en-GB" sz="3600" dirty="0" err="1"/>
            <a:t>sayılabilir</a:t>
          </a:r>
          <a:endParaRPr lang="en-GB" sz="3600" dirty="0"/>
        </a:p>
      </dgm:t>
    </dgm:pt>
    <dgm:pt modelId="{0804BEA0-B354-47AD-81F8-07FBA161DC8A}" type="parTrans" cxnId="{30A507AF-6466-4692-A0FE-826E9E8838C6}">
      <dgm:prSet/>
      <dgm:spPr/>
      <dgm:t>
        <a:bodyPr/>
        <a:lstStyle/>
        <a:p>
          <a:endParaRPr lang="en-GB" sz="1050"/>
        </a:p>
      </dgm:t>
    </dgm:pt>
    <dgm:pt modelId="{FECD39D7-CCF5-4E25-BD30-293B75722ED9}" type="sibTrans" cxnId="{30A507AF-6466-4692-A0FE-826E9E8838C6}">
      <dgm:prSet/>
      <dgm:spPr/>
      <dgm:t>
        <a:bodyPr/>
        <a:lstStyle/>
        <a:p>
          <a:endParaRPr lang="en-GB" sz="1050"/>
        </a:p>
      </dgm:t>
    </dgm:pt>
    <dgm:pt modelId="{6CDE1083-BBB1-4C02-B308-77852D0460E6}">
      <dgm:prSet custT="1"/>
      <dgm:spPr/>
      <dgm:t>
        <a:bodyPr/>
        <a:lstStyle/>
        <a:p>
          <a:r>
            <a:rPr lang="en-GB" sz="3600" dirty="0"/>
            <a:t>Geri </a:t>
          </a:r>
          <a:r>
            <a:rPr lang="en-GB" sz="3600" dirty="0" err="1"/>
            <a:t>ödeme</a:t>
          </a:r>
          <a:r>
            <a:rPr lang="en-GB" sz="3600" dirty="0"/>
            <a:t> </a:t>
          </a:r>
          <a:r>
            <a:rPr lang="en-GB" sz="3600" dirty="0" err="1"/>
            <a:t>gerekliliği</a:t>
          </a:r>
          <a:r>
            <a:rPr lang="en-GB" sz="3600" dirty="0"/>
            <a:t> var</a:t>
          </a:r>
        </a:p>
      </dgm:t>
    </dgm:pt>
    <dgm:pt modelId="{B59C2254-E44F-4085-A9DB-82CF65B3BBD1}" type="parTrans" cxnId="{4BBC5A1D-1035-45A6-BF3E-FA2B98546537}">
      <dgm:prSet/>
      <dgm:spPr/>
      <dgm:t>
        <a:bodyPr/>
        <a:lstStyle/>
        <a:p>
          <a:endParaRPr lang="en-GB" sz="1050"/>
        </a:p>
      </dgm:t>
    </dgm:pt>
    <dgm:pt modelId="{F1177327-199E-4D95-A76F-BD70680769CB}" type="sibTrans" cxnId="{4BBC5A1D-1035-45A6-BF3E-FA2B98546537}">
      <dgm:prSet/>
      <dgm:spPr/>
      <dgm:t>
        <a:bodyPr/>
        <a:lstStyle/>
        <a:p>
          <a:endParaRPr lang="en-GB" sz="1050"/>
        </a:p>
      </dgm:t>
    </dgm:pt>
    <dgm:pt modelId="{85EB74E0-A787-4838-BEB0-C992A7DF692A}" type="pres">
      <dgm:prSet presAssocID="{A89CD8E0-E5D6-4D50-B138-BEF778D78B31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098EC1EE-E264-489E-B3BF-3E1DE57FCC66}" type="pres">
      <dgm:prSet presAssocID="{4A27EF5D-DB7B-4269-B2AB-28C83BD68254}" presName="circle1" presStyleLbl="node1" presStyleIdx="0" presStyleCnt="2"/>
      <dgm:spPr>
        <a:solidFill>
          <a:srgbClr val="FF0000"/>
        </a:solidFill>
      </dgm:spPr>
    </dgm:pt>
    <dgm:pt modelId="{A0B29B97-8937-49DB-894E-3A22EEC54086}" type="pres">
      <dgm:prSet presAssocID="{4A27EF5D-DB7B-4269-B2AB-28C83BD68254}" presName="space" presStyleCnt="0"/>
      <dgm:spPr/>
    </dgm:pt>
    <dgm:pt modelId="{0AD8D25F-884B-4291-8D50-C700CB4D847F}" type="pres">
      <dgm:prSet presAssocID="{4A27EF5D-DB7B-4269-B2AB-28C83BD68254}" presName="rect1" presStyleLbl="alignAcc1" presStyleIdx="0" presStyleCnt="2"/>
      <dgm:spPr/>
    </dgm:pt>
    <dgm:pt modelId="{4CC48285-2D5E-4E97-A69A-BBAEB3C52152}" type="pres">
      <dgm:prSet presAssocID="{6CDE1083-BBB1-4C02-B308-77852D0460E6}" presName="vertSpace2" presStyleLbl="node1" presStyleIdx="0" presStyleCnt="2"/>
      <dgm:spPr/>
    </dgm:pt>
    <dgm:pt modelId="{14444BE7-25F4-49FF-82D6-DC5AD39C6D24}" type="pres">
      <dgm:prSet presAssocID="{6CDE1083-BBB1-4C02-B308-77852D0460E6}" presName="circle2" presStyleLbl="node1" presStyleIdx="1" presStyleCnt="2"/>
      <dgm:spPr>
        <a:solidFill>
          <a:schemeClr val="accent1">
            <a:lumMod val="60000"/>
            <a:lumOff val="40000"/>
          </a:schemeClr>
        </a:solidFill>
      </dgm:spPr>
    </dgm:pt>
    <dgm:pt modelId="{5AF3587E-7C5C-49D0-8CF9-3C34284DBFB9}" type="pres">
      <dgm:prSet presAssocID="{6CDE1083-BBB1-4C02-B308-77852D0460E6}" presName="rect2" presStyleLbl="alignAcc1" presStyleIdx="1" presStyleCnt="2"/>
      <dgm:spPr/>
    </dgm:pt>
    <dgm:pt modelId="{BB9F30C9-512F-4393-B965-C634A96E9F04}" type="pres">
      <dgm:prSet presAssocID="{4A27EF5D-DB7B-4269-B2AB-28C83BD68254}" presName="rect1ParTxNoCh" presStyleLbl="alignAcc1" presStyleIdx="1" presStyleCnt="2">
        <dgm:presLayoutVars>
          <dgm:chMax val="1"/>
          <dgm:bulletEnabled val="1"/>
        </dgm:presLayoutVars>
      </dgm:prSet>
      <dgm:spPr/>
    </dgm:pt>
    <dgm:pt modelId="{19ED07C2-B6E5-48D0-890F-4C08F03E2990}" type="pres">
      <dgm:prSet presAssocID="{6CDE1083-BBB1-4C02-B308-77852D0460E6}" presName="rect2ParTxNoCh" presStyleLbl="alignAcc1" presStyleIdx="1" presStyleCnt="2">
        <dgm:presLayoutVars>
          <dgm:chMax val="1"/>
          <dgm:bulletEnabled val="1"/>
        </dgm:presLayoutVars>
      </dgm:prSet>
      <dgm:spPr/>
    </dgm:pt>
  </dgm:ptLst>
  <dgm:cxnLst>
    <dgm:cxn modelId="{57C31214-0609-4037-B31B-D2E57AFF4AA6}" type="presOf" srcId="{6CDE1083-BBB1-4C02-B308-77852D0460E6}" destId="{19ED07C2-B6E5-48D0-890F-4C08F03E2990}" srcOrd="1" destOrd="0" presId="urn:microsoft.com/office/officeart/2005/8/layout/target3"/>
    <dgm:cxn modelId="{4BBC5A1D-1035-45A6-BF3E-FA2B98546537}" srcId="{A89CD8E0-E5D6-4D50-B138-BEF778D78B31}" destId="{6CDE1083-BBB1-4C02-B308-77852D0460E6}" srcOrd="1" destOrd="0" parTransId="{B59C2254-E44F-4085-A9DB-82CF65B3BBD1}" sibTransId="{F1177327-199E-4D95-A76F-BD70680769CB}"/>
    <dgm:cxn modelId="{5344911D-4CFE-409D-9A81-5024DAA219BC}" type="presOf" srcId="{6CDE1083-BBB1-4C02-B308-77852D0460E6}" destId="{5AF3587E-7C5C-49D0-8CF9-3C34284DBFB9}" srcOrd="0" destOrd="0" presId="urn:microsoft.com/office/officeart/2005/8/layout/target3"/>
    <dgm:cxn modelId="{D216915F-0E47-461A-AC0C-946BA03E7BF8}" type="presOf" srcId="{4A27EF5D-DB7B-4269-B2AB-28C83BD68254}" destId="{0AD8D25F-884B-4291-8D50-C700CB4D847F}" srcOrd="0" destOrd="0" presId="urn:microsoft.com/office/officeart/2005/8/layout/target3"/>
    <dgm:cxn modelId="{457CFB49-7752-4663-BF7B-2D1F597999BE}" type="presOf" srcId="{4A27EF5D-DB7B-4269-B2AB-28C83BD68254}" destId="{BB9F30C9-512F-4393-B965-C634A96E9F04}" srcOrd="1" destOrd="0" presId="urn:microsoft.com/office/officeart/2005/8/layout/target3"/>
    <dgm:cxn modelId="{30A507AF-6466-4692-A0FE-826E9E8838C6}" srcId="{A89CD8E0-E5D6-4D50-B138-BEF778D78B31}" destId="{4A27EF5D-DB7B-4269-B2AB-28C83BD68254}" srcOrd="0" destOrd="0" parTransId="{0804BEA0-B354-47AD-81F8-07FBA161DC8A}" sibTransId="{FECD39D7-CCF5-4E25-BD30-293B75722ED9}"/>
    <dgm:cxn modelId="{C2004CCF-1D2A-4C95-952C-537E97AE9935}" type="presOf" srcId="{A89CD8E0-E5D6-4D50-B138-BEF778D78B31}" destId="{85EB74E0-A787-4838-BEB0-C992A7DF692A}" srcOrd="0" destOrd="0" presId="urn:microsoft.com/office/officeart/2005/8/layout/target3"/>
    <dgm:cxn modelId="{BDD0D941-6CAE-476B-8502-2855A80EB77A}" type="presParOf" srcId="{85EB74E0-A787-4838-BEB0-C992A7DF692A}" destId="{098EC1EE-E264-489E-B3BF-3E1DE57FCC66}" srcOrd="0" destOrd="0" presId="urn:microsoft.com/office/officeart/2005/8/layout/target3"/>
    <dgm:cxn modelId="{A86BC667-9E25-470B-8A89-B8769B6E5D56}" type="presParOf" srcId="{85EB74E0-A787-4838-BEB0-C992A7DF692A}" destId="{A0B29B97-8937-49DB-894E-3A22EEC54086}" srcOrd="1" destOrd="0" presId="urn:microsoft.com/office/officeart/2005/8/layout/target3"/>
    <dgm:cxn modelId="{5902EB2B-0505-452E-B211-56E074398B54}" type="presParOf" srcId="{85EB74E0-A787-4838-BEB0-C992A7DF692A}" destId="{0AD8D25F-884B-4291-8D50-C700CB4D847F}" srcOrd="2" destOrd="0" presId="urn:microsoft.com/office/officeart/2005/8/layout/target3"/>
    <dgm:cxn modelId="{E31A5C82-5141-491E-9D98-F7F6FA141AB7}" type="presParOf" srcId="{85EB74E0-A787-4838-BEB0-C992A7DF692A}" destId="{4CC48285-2D5E-4E97-A69A-BBAEB3C52152}" srcOrd="3" destOrd="0" presId="urn:microsoft.com/office/officeart/2005/8/layout/target3"/>
    <dgm:cxn modelId="{950F505F-9380-4083-A899-3EABABF88335}" type="presParOf" srcId="{85EB74E0-A787-4838-BEB0-C992A7DF692A}" destId="{14444BE7-25F4-49FF-82D6-DC5AD39C6D24}" srcOrd="4" destOrd="0" presId="urn:microsoft.com/office/officeart/2005/8/layout/target3"/>
    <dgm:cxn modelId="{8B382A1B-E640-4F35-8E62-E0CA8881739F}" type="presParOf" srcId="{85EB74E0-A787-4838-BEB0-C992A7DF692A}" destId="{5AF3587E-7C5C-49D0-8CF9-3C34284DBFB9}" srcOrd="5" destOrd="0" presId="urn:microsoft.com/office/officeart/2005/8/layout/target3"/>
    <dgm:cxn modelId="{35002BE9-C947-43CD-8F74-54F26124831B}" type="presParOf" srcId="{85EB74E0-A787-4838-BEB0-C992A7DF692A}" destId="{BB9F30C9-512F-4393-B965-C634A96E9F04}" srcOrd="6" destOrd="0" presId="urn:microsoft.com/office/officeart/2005/8/layout/target3"/>
    <dgm:cxn modelId="{28AD9143-0D91-498D-8C79-47404FF23943}" type="presParOf" srcId="{85EB74E0-A787-4838-BEB0-C992A7DF692A}" destId="{19ED07C2-B6E5-48D0-890F-4C08F03E2990}" srcOrd="7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F0C1D5F6-E74A-4C35-9297-2616E754D162}" type="doc">
      <dgm:prSet loTypeId="urn:microsoft.com/office/officeart/2005/8/layout/bList2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GB"/>
        </a:p>
      </dgm:t>
    </dgm:pt>
    <dgm:pt modelId="{D7E584F4-B111-4413-BF6D-87CF53E1F005}">
      <dgm:prSet/>
      <dgm:spPr/>
      <dgm:t>
        <a:bodyPr/>
        <a:lstStyle/>
        <a:p>
          <a:r>
            <a:rPr lang="en-US" b="1"/>
            <a:t>mHSPC</a:t>
          </a:r>
          <a:endParaRPr lang="en-GB" b="1"/>
        </a:p>
      </dgm:t>
    </dgm:pt>
    <dgm:pt modelId="{A563930C-E72F-43B5-9702-9EC1C45EDD34}" type="parTrans" cxnId="{AAE7A13D-2731-4C93-81E3-99330C013C13}">
      <dgm:prSet/>
      <dgm:spPr/>
      <dgm:t>
        <a:bodyPr/>
        <a:lstStyle/>
        <a:p>
          <a:endParaRPr lang="en-GB"/>
        </a:p>
      </dgm:t>
    </dgm:pt>
    <dgm:pt modelId="{79E9FD34-C74E-4075-82FA-05B53735EAEE}" type="sibTrans" cxnId="{AAE7A13D-2731-4C93-81E3-99330C013C13}">
      <dgm:prSet/>
      <dgm:spPr/>
      <dgm:t>
        <a:bodyPr/>
        <a:lstStyle/>
        <a:p>
          <a:endParaRPr lang="en-GB"/>
        </a:p>
      </dgm:t>
    </dgm:pt>
    <dgm:pt modelId="{E7AA2DC4-0A80-448F-AC8E-4AF081CF10C9}">
      <dgm:prSet/>
      <dgm:spPr/>
      <dgm:t>
        <a:bodyPr/>
        <a:lstStyle/>
        <a:p>
          <a:r>
            <a:rPr lang="en-US" b="1" dirty="0"/>
            <a:t>M0 KDPK</a:t>
          </a:r>
          <a:endParaRPr lang="en-GB" b="1" dirty="0"/>
        </a:p>
      </dgm:t>
    </dgm:pt>
    <dgm:pt modelId="{2F7EFBB1-BAFF-4D8A-B0A9-E081BB6EF60E}" type="parTrans" cxnId="{58D0189D-4EDC-4E54-99E5-9303320EA77F}">
      <dgm:prSet/>
      <dgm:spPr/>
      <dgm:t>
        <a:bodyPr/>
        <a:lstStyle/>
        <a:p>
          <a:endParaRPr lang="en-GB"/>
        </a:p>
      </dgm:t>
    </dgm:pt>
    <dgm:pt modelId="{179A3358-676F-4694-9C83-928058ABFFF4}" type="sibTrans" cxnId="{58D0189D-4EDC-4E54-99E5-9303320EA77F}">
      <dgm:prSet/>
      <dgm:spPr/>
      <dgm:t>
        <a:bodyPr/>
        <a:lstStyle/>
        <a:p>
          <a:endParaRPr lang="en-GB"/>
        </a:p>
      </dgm:t>
    </dgm:pt>
    <dgm:pt modelId="{D09DB346-C1E2-442E-B46B-4C5A4E6BDF89}">
      <dgm:prSet/>
      <dgm:spPr/>
      <dgm:t>
        <a:bodyPr/>
        <a:lstStyle/>
        <a:p>
          <a:r>
            <a:rPr lang="en-US" b="1"/>
            <a:t>mKDPK</a:t>
          </a:r>
          <a:endParaRPr lang="en-GB" b="1"/>
        </a:p>
      </dgm:t>
    </dgm:pt>
    <dgm:pt modelId="{92C19621-679F-408A-8DDC-76E928B69086}" type="parTrans" cxnId="{57B17FCC-C489-43BE-9812-9D6BE23228EE}">
      <dgm:prSet/>
      <dgm:spPr/>
      <dgm:t>
        <a:bodyPr/>
        <a:lstStyle/>
        <a:p>
          <a:endParaRPr lang="en-GB"/>
        </a:p>
      </dgm:t>
    </dgm:pt>
    <dgm:pt modelId="{9B98D394-C2D6-4AC3-88F0-3854008A5459}" type="sibTrans" cxnId="{57B17FCC-C489-43BE-9812-9D6BE23228EE}">
      <dgm:prSet/>
      <dgm:spPr/>
      <dgm:t>
        <a:bodyPr/>
        <a:lstStyle/>
        <a:p>
          <a:endParaRPr lang="en-GB"/>
        </a:p>
      </dgm:t>
    </dgm:pt>
    <dgm:pt modelId="{60739A05-188B-4D3A-B8A8-4E87B09F2FED}">
      <dgm:prSet/>
      <dgm:spPr/>
      <dgm:t>
        <a:bodyPr/>
        <a:lstStyle/>
        <a:p>
          <a:r>
            <a:rPr lang="en-US" b="1"/>
            <a:t>PARP inhibitörü</a:t>
          </a:r>
          <a:endParaRPr lang="en-GB" b="1"/>
        </a:p>
      </dgm:t>
    </dgm:pt>
    <dgm:pt modelId="{DD5B13BD-47DB-41DB-87DB-D340810553B4}" type="parTrans" cxnId="{FA2C8C12-8E7B-4CAF-9FF3-8E0C5FBB1320}">
      <dgm:prSet/>
      <dgm:spPr/>
      <dgm:t>
        <a:bodyPr/>
        <a:lstStyle/>
        <a:p>
          <a:endParaRPr lang="en-GB"/>
        </a:p>
      </dgm:t>
    </dgm:pt>
    <dgm:pt modelId="{DE1C6037-6702-4D29-9F3E-099E946345D7}" type="sibTrans" cxnId="{FA2C8C12-8E7B-4CAF-9FF3-8E0C5FBB1320}">
      <dgm:prSet/>
      <dgm:spPr/>
      <dgm:t>
        <a:bodyPr/>
        <a:lstStyle/>
        <a:p>
          <a:endParaRPr lang="en-GB"/>
        </a:p>
      </dgm:t>
    </dgm:pt>
    <dgm:pt modelId="{0A91AC16-1573-4692-84C7-5BC25E1DEE5E}" type="pres">
      <dgm:prSet presAssocID="{F0C1D5F6-E74A-4C35-9297-2616E754D162}" presName="diagram" presStyleCnt="0">
        <dgm:presLayoutVars>
          <dgm:dir/>
          <dgm:animLvl val="lvl"/>
          <dgm:resizeHandles val="exact"/>
        </dgm:presLayoutVars>
      </dgm:prSet>
      <dgm:spPr/>
    </dgm:pt>
    <dgm:pt modelId="{FB2D7071-17A1-476A-904D-1530A3434026}" type="pres">
      <dgm:prSet presAssocID="{D7E584F4-B111-4413-BF6D-87CF53E1F005}" presName="compNode" presStyleCnt="0"/>
      <dgm:spPr/>
    </dgm:pt>
    <dgm:pt modelId="{016D5FD1-293B-4FA5-B4FF-4658C0187F7F}" type="pres">
      <dgm:prSet presAssocID="{D7E584F4-B111-4413-BF6D-87CF53E1F005}" presName="childRect" presStyleLbl="bgAcc1" presStyleIdx="0" presStyleCnt="4">
        <dgm:presLayoutVars>
          <dgm:bulletEnabled val="1"/>
        </dgm:presLayoutVars>
      </dgm:prSet>
      <dgm:spPr/>
    </dgm:pt>
    <dgm:pt modelId="{5CE00E69-21E6-47A2-9BAF-79AB12725AC6}" type="pres">
      <dgm:prSet presAssocID="{D7E584F4-B111-4413-BF6D-87CF53E1F005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AD61260F-67E5-4161-AED7-1B56F34D4D03}" type="pres">
      <dgm:prSet presAssocID="{D7E584F4-B111-4413-BF6D-87CF53E1F005}" presName="parentRect" presStyleLbl="alignNode1" presStyleIdx="0" presStyleCnt="4"/>
      <dgm:spPr/>
    </dgm:pt>
    <dgm:pt modelId="{D69EFB63-590B-45F9-8D03-4EB633136820}" type="pres">
      <dgm:prSet presAssocID="{D7E584F4-B111-4413-BF6D-87CF53E1F005}" presName="adorn" presStyleLbl="fgAccFollowNode1" presStyleIdx="0" presStyleCnt="4"/>
      <dgm:spPr/>
    </dgm:pt>
    <dgm:pt modelId="{127A968A-1236-4DCD-B207-EA6A4C5415A6}" type="pres">
      <dgm:prSet presAssocID="{79E9FD34-C74E-4075-82FA-05B53735EAEE}" presName="sibTrans" presStyleLbl="sibTrans2D1" presStyleIdx="0" presStyleCnt="0"/>
      <dgm:spPr/>
    </dgm:pt>
    <dgm:pt modelId="{76115F6D-37B4-4D11-8C33-1775C3369819}" type="pres">
      <dgm:prSet presAssocID="{E7AA2DC4-0A80-448F-AC8E-4AF081CF10C9}" presName="compNode" presStyleCnt="0"/>
      <dgm:spPr/>
    </dgm:pt>
    <dgm:pt modelId="{B49EA1A0-8470-48C2-80D7-80800D28E861}" type="pres">
      <dgm:prSet presAssocID="{E7AA2DC4-0A80-448F-AC8E-4AF081CF10C9}" presName="childRect" presStyleLbl="bgAcc1" presStyleIdx="1" presStyleCnt="4">
        <dgm:presLayoutVars>
          <dgm:bulletEnabled val="1"/>
        </dgm:presLayoutVars>
      </dgm:prSet>
      <dgm:spPr/>
    </dgm:pt>
    <dgm:pt modelId="{58ABCD37-7258-44A6-90BA-1F0F7248337F}" type="pres">
      <dgm:prSet presAssocID="{E7AA2DC4-0A80-448F-AC8E-4AF081CF10C9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F52F5B91-DBDD-4A2A-B409-45E4F19D8B18}" type="pres">
      <dgm:prSet presAssocID="{E7AA2DC4-0A80-448F-AC8E-4AF081CF10C9}" presName="parentRect" presStyleLbl="alignNode1" presStyleIdx="1" presStyleCnt="4"/>
      <dgm:spPr/>
    </dgm:pt>
    <dgm:pt modelId="{C20FDFFC-219B-4612-B43B-1C764F251F5A}" type="pres">
      <dgm:prSet presAssocID="{E7AA2DC4-0A80-448F-AC8E-4AF081CF10C9}" presName="adorn" presStyleLbl="fgAccFollowNode1" presStyleIdx="1" presStyleCnt="4"/>
      <dgm:spPr/>
    </dgm:pt>
    <dgm:pt modelId="{FB11B2FA-7188-4D90-99FF-A9FF9E93A573}" type="pres">
      <dgm:prSet presAssocID="{179A3358-676F-4694-9C83-928058ABFFF4}" presName="sibTrans" presStyleLbl="sibTrans2D1" presStyleIdx="0" presStyleCnt="0"/>
      <dgm:spPr/>
    </dgm:pt>
    <dgm:pt modelId="{B45D8F2C-7E80-4D79-B47A-0FD542424710}" type="pres">
      <dgm:prSet presAssocID="{D09DB346-C1E2-442E-B46B-4C5A4E6BDF89}" presName="compNode" presStyleCnt="0"/>
      <dgm:spPr/>
    </dgm:pt>
    <dgm:pt modelId="{5F0FBF7D-3D0D-496C-98CF-B9EB32253D1D}" type="pres">
      <dgm:prSet presAssocID="{D09DB346-C1E2-442E-B46B-4C5A4E6BDF89}" presName="childRect" presStyleLbl="bgAcc1" presStyleIdx="2" presStyleCnt="4">
        <dgm:presLayoutVars>
          <dgm:bulletEnabled val="1"/>
        </dgm:presLayoutVars>
      </dgm:prSet>
      <dgm:spPr/>
    </dgm:pt>
    <dgm:pt modelId="{BC4E5E96-36B9-4B25-89E5-B7CDEDEA95DE}" type="pres">
      <dgm:prSet presAssocID="{D09DB346-C1E2-442E-B46B-4C5A4E6BDF89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21822AFD-0256-4AFC-8087-3BF7CC92EEBB}" type="pres">
      <dgm:prSet presAssocID="{D09DB346-C1E2-442E-B46B-4C5A4E6BDF89}" presName="parentRect" presStyleLbl="alignNode1" presStyleIdx="2" presStyleCnt="4"/>
      <dgm:spPr/>
    </dgm:pt>
    <dgm:pt modelId="{67E1145A-C971-43A9-9065-FC47CD748026}" type="pres">
      <dgm:prSet presAssocID="{D09DB346-C1E2-442E-B46B-4C5A4E6BDF89}" presName="adorn" presStyleLbl="fgAccFollowNode1" presStyleIdx="2" presStyleCnt="4"/>
      <dgm:spPr/>
    </dgm:pt>
    <dgm:pt modelId="{82708F82-4BEB-46FD-85BD-803D2E906FF9}" type="pres">
      <dgm:prSet presAssocID="{9B98D394-C2D6-4AC3-88F0-3854008A5459}" presName="sibTrans" presStyleLbl="sibTrans2D1" presStyleIdx="0" presStyleCnt="0"/>
      <dgm:spPr/>
    </dgm:pt>
    <dgm:pt modelId="{CBD5A8C9-D478-451B-854C-64DD13F8EBF6}" type="pres">
      <dgm:prSet presAssocID="{60739A05-188B-4D3A-B8A8-4E87B09F2FED}" presName="compNode" presStyleCnt="0"/>
      <dgm:spPr/>
    </dgm:pt>
    <dgm:pt modelId="{E407B217-D8AB-41EE-A96B-F94DB07CDE17}" type="pres">
      <dgm:prSet presAssocID="{60739A05-188B-4D3A-B8A8-4E87B09F2FED}" presName="childRect" presStyleLbl="bgAcc1" presStyleIdx="3" presStyleCnt="4">
        <dgm:presLayoutVars>
          <dgm:bulletEnabled val="1"/>
        </dgm:presLayoutVars>
      </dgm:prSet>
      <dgm:spPr/>
    </dgm:pt>
    <dgm:pt modelId="{8AEE9AC7-2813-4D73-A50B-89649323FF30}" type="pres">
      <dgm:prSet presAssocID="{60739A05-188B-4D3A-B8A8-4E87B09F2FED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82D31804-5139-4EF8-9147-E34A86B5A75E}" type="pres">
      <dgm:prSet presAssocID="{60739A05-188B-4D3A-B8A8-4E87B09F2FED}" presName="parentRect" presStyleLbl="alignNode1" presStyleIdx="3" presStyleCnt="4"/>
      <dgm:spPr/>
    </dgm:pt>
    <dgm:pt modelId="{3548267F-1CF2-496B-B26F-03412C947C5F}" type="pres">
      <dgm:prSet presAssocID="{60739A05-188B-4D3A-B8A8-4E87B09F2FED}" presName="adorn" presStyleLbl="fgAccFollowNode1" presStyleIdx="3" presStyleCnt="4"/>
      <dgm:spPr/>
    </dgm:pt>
  </dgm:ptLst>
  <dgm:cxnLst>
    <dgm:cxn modelId="{256AAD05-B520-4CAE-A88B-690AAF5D66F8}" type="presOf" srcId="{60739A05-188B-4D3A-B8A8-4E87B09F2FED}" destId="{82D31804-5139-4EF8-9147-E34A86B5A75E}" srcOrd="1" destOrd="0" presId="urn:microsoft.com/office/officeart/2005/8/layout/bList2"/>
    <dgm:cxn modelId="{FA2C8C12-8E7B-4CAF-9FF3-8E0C5FBB1320}" srcId="{F0C1D5F6-E74A-4C35-9297-2616E754D162}" destId="{60739A05-188B-4D3A-B8A8-4E87B09F2FED}" srcOrd="3" destOrd="0" parTransId="{DD5B13BD-47DB-41DB-87DB-D340810553B4}" sibTransId="{DE1C6037-6702-4D29-9F3E-099E946345D7}"/>
    <dgm:cxn modelId="{7D47B22F-8D32-4E1C-BA26-927E3F233D19}" type="presOf" srcId="{E7AA2DC4-0A80-448F-AC8E-4AF081CF10C9}" destId="{F52F5B91-DBDD-4A2A-B409-45E4F19D8B18}" srcOrd="1" destOrd="0" presId="urn:microsoft.com/office/officeart/2005/8/layout/bList2"/>
    <dgm:cxn modelId="{AAE7A13D-2731-4C93-81E3-99330C013C13}" srcId="{F0C1D5F6-E74A-4C35-9297-2616E754D162}" destId="{D7E584F4-B111-4413-BF6D-87CF53E1F005}" srcOrd="0" destOrd="0" parTransId="{A563930C-E72F-43B5-9702-9EC1C45EDD34}" sibTransId="{79E9FD34-C74E-4075-82FA-05B53735EAEE}"/>
    <dgm:cxn modelId="{DD333A4F-6D85-4E10-AED9-FF8DA6A41D7B}" type="presOf" srcId="{179A3358-676F-4694-9C83-928058ABFFF4}" destId="{FB11B2FA-7188-4D90-99FF-A9FF9E93A573}" srcOrd="0" destOrd="0" presId="urn:microsoft.com/office/officeart/2005/8/layout/bList2"/>
    <dgm:cxn modelId="{2C50BB73-FAE8-42E7-AF68-0F1F94A79413}" type="presOf" srcId="{D09DB346-C1E2-442E-B46B-4C5A4E6BDF89}" destId="{21822AFD-0256-4AFC-8087-3BF7CC92EEBB}" srcOrd="1" destOrd="0" presId="urn:microsoft.com/office/officeart/2005/8/layout/bList2"/>
    <dgm:cxn modelId="{B50F0292-34E3-433D-9D83-64C205D0C47F}" type="presOf" srcId="{D7E584F4-B111-4413-BF6D-87CF53E1F005}" destId="{AD61260F-67E5-4161-AED7-1B56F34D4D03}" srcOrd="1" destOrd="0" presId="urn:microsoft.com/office/officeart/2005/8/layout/bList2"/>
    <dgm:cxn modelId="{58D0189D-4EDC-4E54-99E5-9303320EA77F}" srcId="{F0C1D5F6-E74A-4C35-9297-2616E754D162}" destId="{E7AA2DC4-0A80-448F-AC8E-4AF081CF10C9}" srcOrd="1" destOrd="0" parTransId="{2F7EFBB1-BAFF-4D8A-B0A9-E081BB6EF60E}" sibTransId="{179A3358-676F-4694-9C83-928058ABFFF4}"/>
    <dgm:cxn modelId="{6EA3D1B5-E23E-42CB-AD64-23711EE51943}" type="presOf" srcId="{9B98D394-C2D6-4AC3-88F0-3854008A5459}" destId="{82708F82-4BEB-46FD-85BD-803D2E906FF9}" srcOrd="0" destOrd="0" presId="urn:microsoft.com/office/officeart/2005/8/layout/bList2"/>
    <dgm:cxn modelId="{F5AB8FC1-86F4-45DB-B9DF-10297AF8CB23}" type="presOf" srcId="{D09DB346-C1E2-442E-B46B-4C5A4E6BDF89}" destId="{BC4E5E96-36B9-4B25-89E5-B7CDEDEA95DE}" srcOrd="0" destOrd="0" presId="urn:microsoft.com/office/officeart/2005/8/layout/bList2"/>
    <dgm:cxn modelId="{AD7C6FC5-C5CC-4CA2-BA6D-1ADF6AF8A4AF}" type="presOf" srcId="{E7AA2DC4-0A80-448F-AC8E-4AF081CF10C9}" destId="{58ABCD37-7258-44A6-90BA-1F0F7248337F}" srcOrd="0" destOrd="0" presId="urn:microsoft.com/office/officeart/2005/8/layout/bList2"/>
    <dgm:cxn modelId="{E47856C7-40D4-4B5E-AD61-2770946E29FB}" type="presOf" srcId="{60739A05-188B-4D3A-B8A8-4E87B09F2FED}" destId="{8AEE9AC7-2813-4D73-A50B-89649323FF30}" srcOrd="0" destOrd="0" presId="urn:microsoft.com/office/officeart/2005/8/layout/bList2"/>
    <dgm:cxn modelId="{57B17FCC-C489-43BE-9812-9D6BE23228EE}" srcId="{F0C1D5F6-E74A-4C35-9297-2616E754D162}" destId="{D09DB346-C1E2-442E-B46B-4C5A4E6BDF89}" srcOrd="2" destOrd="0" parTransId="{92C19621-679F-408A-8DDC-76E928B69086}" sibTransId="{9B98D394-C2D6-4AC3-88F0-3854008A5459}"/>
    <dgm:cxn modelId="{94B4E6D0-14CE-4CA6-B3E2-17726304D865}" type="presOf" srcId="{79E9FD34-C74E-4075-82FA-05B53735EAEE}" destId="{127A968A-1236-4DCD-B207-EA6A4C5415A6}" srcOrd="0" destOrd="0" presId="urn:microsoft.com/office/officeart/2005/8/layout/bList2"/>
    <dgm:cxn modelId="{595789DC-40A3-4593-A54D-ED4604E6029D}" type="presOf" srcId="{F0C1D5F6-E74A-4C35-9297-2616E754D162}" destId="{0A91AC16-1573-4692-84C7-5BC25E1DEE5E}" srcOrd="0" destOrd="0" presId="urn:microsoft.com/office/officeart/2005/8/layout/bList2"/>
    <dgm:cxn modelId="{ADCF20EB-A976-4EB7-9FA1-D91164523D56}" type="presOf" srcId="{D7E584F4-B111-4413-BF6D-87CF53E1F005}" destId="{5CE00E69-21E6-47A2-9BAF-79AB12725AC6}" srcOrd="0" destOrd="0" presId="urn:microsoft.com/office/officeart/2005/8/layout/bList2"/>
    <dgm:cxn modelId="{7E827879-4861-4F54-8605-456FB73F9779}" type="presParOf" srcId="{0A91AC16-1573-4692-84C7-5BC25E1DEE5E}" destId="{FB2D7071-17A1-476A-904D-1530A3434026}" srcOrd="0" destOrd="0" presId="urn:microsoft.com/office/officeart/2005/8/layout/bList2"/>
    <dgm:cxn modelId="{19F98B70-93A8-4CF2-87C8-E50D03EC3669}" type="presParOf" srcId="{FB2D7071-17A1-476A-904D-1530A3434026}" destId="{016D5FD1-293B-4FA5-B4FF-4658C0187F7F}" srcOrd="0" destOrd="0" presId="urn:microsoft.com/office/officeart/2005/8/layout/bList2"/>
    <dgm:cxn modelId="{85010E2C-6E80-43E9-BA5C-F2AF7132E548}" type="presParOf" srcId="{FB2D7071-17A1-476A-904D-1530A3434026}" destId="{5CE00E69-21E6-47A2-9BAF-79AB12725AC6}" srcOrd="1" destOrd="0" presId="urn:microsoft.com/office/officeart/2005/8/layout/bList2"/>
    <dgm:cxn modelId="{32AA36CC-3B0A-46B6-8C99-665A1E262734}" type="presParOf" srcId="{FB2D7071-17A1-476A-904D-1530A3434026}" destId="{AD61260F-67E5-4161-AED7-1B56F34D4D03}" srcOrd="2" destOrd="0" presId="urn:microsoft.com/office/officeart/2005/8/layout/bList2"/>
    <dgm:cxn modelId="{8FB5A1EF-860C-4CC3-A0C3-8389277EA8A4}" type="presParOf" srcId="{FB2D7071-17A1-476A-904D-1530A3434026}" destId="{D69EFB63-590B-45F9-8D03-4EB633136820}" srcOrd="3" destOrd="0" presId="urn:microsoft.com/office/officeart/2005/8/layout/bList2"/>
    <dgm:cxn modelId="{97F2A470-42D3-490A-86AA-9964FE8117E3}" type="presParOf" srcId="{0A91AC16-1573-4692-84C7-5BC25E1DEE5E}" destId="{127A968A-1236-4DCD-B207-EA6A4C5415A6}" srcOrd="1" destOrd="0" presId="urn:microsoft.com/office/officeart/2005/8/layout/bList2"/>
    <dgm:cxn modelId="{F5AB2BE1-C638-48FF-A4A2-675A6543B547}" type="presParOf" srcId="{0A91AC16-1573-4692-84C7-5BC25E1DEE5E}" destId="{76115F6D-37B4-4D11-8C33-1775C3369819}" srcOrd="2" destOrd="0" presId="urn:microsoft.com/office/officeart/2005/8/layout/bList2"/>
    <dgm:cxn modelId="{503ECD1A-1B44-4475-9817-5A84ED372CEE}" type="presParOf" srcId="{76115F6D-37B4-4D11-8C33-1775C3369819}" destId="{B49EA1A0-8470-48C2-80D7-80800D28E861}" srcOrd="0" destOrd="0" presId="urn:microsoft.com/office/officeart/2005/8/layout/bList2"/>
    <dgm:cxn modelId="{338A1FB9-4E4A-45CA-9D68-8E207787900B}" type="presParOf" srcId="{76115F6D-37B4-4D11-8C33-1775C3369819}" destId="{58ABCD37-7258-44A6-90BA-1F0F7248337F}" srcOrd="1" destOrd="0" presId="urn:microsoft.com/office/officeart/2005/8/layout/bList2"/>
    <dgm:cxn modelId="{03491C4A-FF23-441E-B63D-D93CC9041C9F}" type="presParOf" srcId="{76115F6D-37B4-4D11-8C33-1775C3369819}" destId="{F52F5B91-DBDD-4A2A-B409-45E4F19D8B18}" srcOrd="2" destOrd="0" presId="urn:microsoft.com/office/officeart/2005/8/layout/bList2"/>
    <dgm:cxn modelId="{9C6E1A98-02B9-4460-9AC1-393A7A4191E0}" type="presParOf" srcId="{76115F6D-37B4-4D11-8C33-1775C3369819}" destId="{C20FDFFC-219B-4612-B43B-1C764F251F5A}" srcOrd="3" destOrd="0" presId="urn:microsoft.com/office/officeart/2005/8/layout/bList2"/>
    <dgm:cxn modelId="{E1A6656C-E38E-4C13-A6E7-4203B688897D}" type="presParOf" srcId="{0A91AC16-1573-4692-84C7-5BC25E1DEE5E}" destId="{FB11B2FA-7188-4D90-99FF-A9FF9E93A573}" srcOrd="3" destOrd="0" presId="urn:microsoft.com/office/officeart/2005/8/layout/bList2"/>
    <dgm:cxn modelId="{FB0DA25F-2319-4C7B-A27D-114F42D83F21}" type="presParOf" srcId="{0A91AC16-1573-4692-84C7-5BC25E1DEE5E}" destId="{B45D8F2C-7E80-4D79-B47A-0FD542424710}" srcOrd="4" destOrd="0" presId="urn:microsoft.com/office/officeart/2005/8/layout/bList2"/>
    <dgm:cxn modelId="{C1CD82D2-8A85-4EAC-A064-D5178230B1EE}" type="presParOf" srcId="{B45D8F2C-7E80-4D79-B47A-0FD542424710}" destId="{5F0FBF7D-3D0D-496C-98CF-B9EB32253D1D}" srcOrd="0" destOrd="0" presId="urn:microsoft.com/office/officeart/2005/8/layout/bList2"/>
    <dgm:cxn modelId="{6797E36F-F407-44EF-81BE-3B52FFCB49B8}" type="presParOf" srcId="{B45D8F2C-7E80-4D79-B47A-0FD542424710}" destId="{BC4E5E96-36B9-4B25-89E5-B7CDEDEA95DE}" srcOrd="1" destOrd="0" presId="urn:microsoft.com/office/officeart/2005/8/layout/bList2"/>
    <dgm:cxn modelId="{95560A66-56E5-4075-9919-B26EB0BC4746}" type="presParOf" srcId="{B45D8F2C-7E80-4D79-B47A-0FD542424710}" destId="{21822AFD-0256-4AFC-8087-3BF7CC92EEBB}" srcOrd="2" destOrd="0" presId="urn:microsoft.com/office/officeart/2005/8/layout/bList2"/>
    <dgm:cxn modelId="{C055CDC6-4A4B-4D8E-BBA3-B3B46D7BF3CE}" type="presParOf" srcId="{B45D8F2C-7E80-4D79-B47A-0FD542424710}" destId="{67E1145A-C971-43A9-9065-FC47CD748026}" srcOrd="3" destOrd="0" presId="urn:microsoft.com/office/officeart/2005/8/layout/bList2"/>
    <dgm:cxn modelId="{7FBBCD3B-4CE8-4048-A29D-9965EC5675A8}" type="presParOf" srcId="{0A91AC16-1573-4692-84C7-5BC25E1DEE5E}" destId="{82708F82-4BEB-46FD-85BD-803D2E906FF9}" srcOrd="5" destOrd="0" presId="urn:microsoft.com/office/officeart/2005/8/layout/bList2"/>
    <dgm:cxn modelId="{BA3D60C9-2520-41BE-BBFC-F303EF472038}" type="presParOf" srcId="{0A91AC16-1573-4692-84C7-5BC25E1DEE5E}" destId="{CBD5A8C9-D478-451B-854C-64DD13F8EBF6}" srcOrd="6" destOrd="0" presId="urn:microsoft.com/office/officeart/2005/8/layout/bList2"/>
    <dgm:cxn modelId="{D042EE66-A4AC-4380-8761-131C3989CD25}" type="presParOf" srcId="{CBD5A8C9-D478-451B-854C-64DD13F8EBF6}" destId="{E407B217-D8AB-41EE-A96B-F94DB07CDE17}" srcOrd="0" destOrd="0" presId="urn:microsoft.com/office/officeart/2005/8/layout/bList2"/>
    <dgm:cxn modelId="{A30B79D7-7F08-4A35-B298-6A26EEB3238D}" type="presParOf" srcId="{CBD5A8C9-D478-451B-854C-64DD13F8EBF6}" destId="{8AEE9AC7-2813-4D73-A50B-89649323FF30}" srcOrd="1" destOrd="0" presId="urn:microsoft.com/office/officeart/2005/8/layout/bList2"/>
    <dgm:cxn modelId="{58B87D30-F49A-4356-B76B-76EC14C86A1A}" type="presParOf" srcId="{CBD5A8C9-D478-451B-854C-64DD13F8EBF6}" destId="{82D31804-5139-4EF8-9147-E34A86B5A75E}" srcOrd="2" destOrd="0" presId="urn:microsoft.com/office/officeart/2005/8/layout/bList2"/>
    <dgm:cxn modelId="{DF7969F9-F5CD-4AD1-9C93-C686B3A2BED0}" type="presParOf" srcId="{CBD5A8C9-D478-451B-854C-64DD13F8EBF6}" destId="{3548267F-1CF2-496B-B26F-03412C947C5F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6B07BC3-77CD-42D7-A4F5-43892F16082C}" type="doc">
      <dgm:prSet loTypeId="urn:microsoft.com/office/officeart/2005/8/layout/hProcess3" loCatId="process" qsTypeId="urn:microsoft.com/office/officeart/2005/8/quickstyle/simple1" qsCatId="simple" csTypeId="urn:microsoft.com/office/officeart/2005/8/colors/accent1_1" csCatId="accent1" phldr="1"/>
      <dgm:spPr/>
    </dgm:pt>
    <dgm:pt modelId="{234BEC35-08BC-4C12-9445-91047A2CFF86}">
      <dgm:prSet phldrT="[Text]"/>
      <dgm:spPr/>
      <dgm:t>
        <a:bodyPr/>
        <a:lstStyle/>
        <a:p>
          <a:r>
            <a:rPr lang="en-GB" b="1" dirty="0" err="1"/>
            <a:t>Klinik</a:t>
          </a:r>
          <a:r>
            <a:rPr lang="en-GB" b="1" dirty="0"/>
            <a:t> </a:t>
          </a:r>
          <a:r>
            <a:rPr lang="en-GB" b="1" dirty="0" err="1"/>
            <a:t>Araştırma</a:t>
          </a:r>
          <a:endParaRPr lang="en-GB" b="1" dirty="0"/>
        </a:p>
      </dgm:t>
    </dgm:pt>
    <dgm:pt modelId="{6CC2D716-B11D-4D20-9BDB-4129B16FA306}" type="parTrans" cxnId="{096A7959-1926-4329-9191-18BB9B39D762}">
      <dgm:prSet/>
      <dgm:spPr/>
      <dgm:t>
        <a:bodyPr/>
        <a:lstStyle/>
        <a:p>
          <a:endParaRPr lang="en-GB"/>
        </a:p>
      </dgm:t>
    </dgm:pt>
    <dgm:pt modelId="{59B3CBC3-7781-4AEC-96B9-BABD40CAA2EA}" type="sibTrans" cxnId="{096A7959-1926-4329-9191-18BB9B39D762}">
      <dgm:prSet/>
      <dgm:spPr/>
      <dgm:t>
        <a:bodyPr/>
        <a:lstStyle/>
        <a:p>
          <a:endParaRPr lang="en-GB"/>
        </a:p>
      </dgm:t>
    </dgm:pt>
    <dgm:pt modelId="{F58C78C4-A097-4468-B907-B9E4A71DEB2C}" type="pres">
      <dgm:prSet presAssocID="{06B07BC3-77CD-42D7-A4F5-43892F16082C}" presName="Name0" presStyleCnt="0">
        <dgm:presLayoutVars>
          <dgm:dir/>
          <dgm:animLvl val="lvl"/>
          <dgm:resizeHandles val="exact"/>
        </dgm:presLayoutVars>
      </dgm:prSet>
      <dgm:spPr/>
    </dgm:pt>
    <dgm:pt modelId="{6BF3BF15-2775-4ED3-A38E-CEAC84B3A42A}" type="pres">
      <dgm:prSet presAssocID="{06B07BC3-77CD-42D7-A4F5-43892F16082C}" presName="dummy" presStyleCnt="0"/>
      <dgm:spPr/>
    </dgm:pt>
    <dgm:pt modelId="{42A57EFF-C997-4AE6-BE38-2D748843FDB0}" type="pres">
      <dgm:prSet presAssocID="{06B07BC3-77CD-42D7-A4F5-43892F16082C}" presName="linH" presStyleCnt="0"/>
      <dgm:spPr/>
    </dgm:pt>
    <dgm:pt modelId="{7DF50C7B-B5FC-4AE3-8309-DAA24BF7C8C7}" type="pres">
      <dgm:prSet presAssocID="{06B07BC3-77CD-42D7-A4F5-43892F16082C}" presName="padding1" presStyleCnt="0"/>
      <dgm:spPr/>
    </dgm:pt>
    <dgm:pt modelId="{7AD3C1E7-73E7-4E3A-8A9A-74B4FFDF41F8}" type="pres">
      <dgm:prSet presAssocID="{234BEC35-08BC-4C12-9445-91047A2CFF86}" presName="linV" presStyleCnt="0"/>
      <dgm:spPr/>
    </dgm:pt>
    <dgm:pt modelId="{31E65F4D-F52A-4E4B-8278-F4411F8B778D}" type="pres">
      <dgm:prSet presAssocID="{234BEC35-08BC-4C12-9445-91047A2CFF86}" presName="spVertical1" presStyleCnt="0"/>
      <dgm:spPr/>
    </dgm:pt>
    <dgm:pt modelId="{37ABEBE2-03A1-4F07-BA98-E4D966B0C6A0}" type="pres">
      <dgm:prSet presAssocID="{234BEC35-08BC-4C12-9445-91047A2CFF86}" presName="parTx" presStyleLbl="revTx" presStyleIdx="0" presStyleCnt="1" custScaleX="115056" custLinFactNeighborX="5948" custLinFactNeighborY="-2360">
        <dgm:presLayoutVars>
          <dgm:chMax val="0"/>
          <dgm:chPref val="0"/>
          <dgm:bulletEnabled val="1"/>
        </dgm:presLayoutVars>
      </dgm:prSet>
      <dgm:spPr/>
    </dgm:pt>
    <dgm:pt modelId="{95FA96B7-92A2-4BA2-B5D3-2A581B9983D5}" type="pres">
      <dgm:prSet presAssocID="{234BEC35-08BC-4C12-9445-91047A2CFF86}" presName="spVertical2" presStyleCnt="0"/>
      <dgm:spPr/>
    </dgm:pt>
    <dgm:pt modelId="{FFFDEC38-B09E-4E4E-8FCE-88BEE0511635}" type="pres">
      <dgm:prSet presAssocID="{234BEC35-08BC-4C12-9445-91047A2CFF86}" presName="spVertical3" presStyleCnt="0"/>
      <dgm:spPr/>
    </dgm:pt>
    <dgm:pt modelId="{7B7C1ADB-3F3D-4117-8AD5-CDEECF1973C7}" type="pres">
      <dgm:prSet presAssocID="{06B07BC3-77CD-42D7-A4F5-43892F16082C}" presName="padding2" presStyleCnt="0"/>
      <dgm:spPr/>
    </dgm:pt>
    <dgm:pt modelId="{8B7AC0BB-443E-4479-ABD1-DAD4B19AEDE0}" type="pres">
      <dgm:prSet presAssocID="{06B07BC3-77CD-42D7-A4F5-43892F16082C}" presName="negArrow" presStyleCnt="0"/>
      <dgm:spPr/>
    </dgm:pt>
    <dgm:pt modelId="{D571FEBC-1B31-48C2-8AA5-0A8CA8F25BBD}" type="pres">
      <dgm:prSet presAssocID="{06B07BC3-77CD-42D7-A4F5-43892F16082C}" presName="backgroundArrow" presStyleLbl="node1" presStyleIdx="0" presStyleCnt="1"/>
      <dgm:spPr/>
    </dgm:pt>
  </dgm:ptLst>
  <dgm:cxnLst>
    <dgm:cxn modelId="{DB941123-70A3-41CF-8B9C-AB847FEA4BA2}" type="presOf" srcId="{06B07BC3-77CD-42D7-A4F5-43892F16082C}" destId="{F58C78C4-A097-4468-B907-B9E4A71DEB2C}" srcOrd="0" destOrd="0" presId="urn:microsoft.com/office/officeart/2005/8/layout/hProcess3"/>
    <dgm:cxn modelId="{096A7959-1926-4329-9191-18BB9B39D762}" srcId="{06B07BC3-77CD-42D7-A4F5-43892F16082C}" destId="{234BEC35-08BC-4C12-9445-91047A2CFF86}" srcOrd="0" destOrd="0" parTransId="{6CC2D716-B11D-4D20-9BDB-4129B16FA306}" sibTransId="{59B3CBC3-7781-4AEC-96B9-BABD40CAA2EA}"/>
    <dgm:cxn modelId="{69DC2BE2-79B0-49D5-9495-24639E4162A1}" type="presOf" srcId="{234BEC35-08BC-4C12-9445-91047A2CFF86}" destId="{37ABEBE2-03A1-4F07-BA98-E4D966B0C6A0}" srcOrd="0" destOrd="0" presId="urn:microsoft.com/office/officeart/2005/8/layout/hProcess3"/>
    <dgm:cxn modelId="{8D0F97E4-0B8F-4D3B-B736-10F58E558CCC}" type="presParOf" srcId="{F58C78C4-A097-4468-B907-B9E4A71DEB2C}" destId="{6BF3BF15-2775-4ED3-A38E-CEAC84B3A42A}" srcOrd="0" destOrd="0" presId="urn:microsoft.com/office/officeart/2005/8/layout/hProcess3"/>
    <dgm:cxn modelId="{54010C60-0123-4936-BD1A-5017849E161F}" type="presParOf" srcId="{F58C78C4-A097-4468-B907-B9E4A71DEB2C}" destId="{42A57EFF-C997-4AE6-BE38-2D748843FDB0}" srcOrd="1" destOrd="0" presId="urn:microsoft.com/office/officeart/2005/8/layout/hProcess3"/>
    <dgm:cxn modelId="{5A6F6A9A-46CB-4D49-B4D5-2DB23E26F5B4}" type="presParOf" srcId="{42A57EFF-C997-4AE6-BE38-2D748843FDB0}" destId="{7DF50C7B-B5FC-4AE3-8309-DAA24BF7C8C7}" srcOrd="0" destOrd="0" presId="urn:microsoft.com/office/officeart/2005/8/layout/hProcess3"/>
    <dgm:cxn modelId="{3C095E1F-F7F9-4384-B302-75D561720158}" type="presParOf" srcId="{42A57EFF-C997-4AE6-BE38-2D748843FDB0}" destId="{7AD3C1E7-73E7-4E3A-8A9A-74B4FFDF41F8}" srcOrd="1" destOrd="0" presId="urn:microsoft.com/office/officeart/2005/8/layout/hProcess3"/>
    <dgm:cxn modelId="{7BF63B80-F568-4E6F-90F0-3CA732788EA5}" type="presParOf" srcId="{7AD3C1E7-73E7-4E3A-8A9A-74B4FFDF41F8}" destId="{31E65F4D-F52A-4E4B-8278-F4411F8B778D}" srcOrd="0" destOrd="0" presId="urn:microsoft.com/office/officeart/2005/8/layout/hProcess3"/>
    <dgm:cxn modelId="{CA688F25-CCC9-4F75-953A-A732781DFBB4}" type="presParOf" srcId="{7AD3C1E7-73E7-4E3A-8A9A-74B4FFDF41F8}" destId="{37ABEBE2-03A1-4F07-BA98-E4D966B0C6A0}" srcOrd="1" destOrd="0" presId="urn:microsoft.com/office/officeart/2005/8/layout/hProcess3"/>
    <dgm:cxn modelId="{B8FC0BEC-DAA3-4518-A3C5-CA61440D723E}" type="presParOf" srcId="{7AD3C1E7-73E7-4E3A-8A9A-74B4FFDF41F8}" destId="{95FA96B7-92A2-4BA2-B5D3-2A581B9983D5}" srcOrd="2" destOrd="0" presId="urn:microsoft.com/office/officeart/2005/8/layout/hProcess3"/>
    <dgm:cxn modelId="{2CC6E1D1-3914-4310-A6F2-8C4BBA8238B2}" type="presParOf" srcId="{7AD3C1E7-73E7-4E3A-8A9A-74B4FFDF41F8}" destId="{FFFDEC38-B09E-4E4E-8FCE-88BEE0511635}" srcOrd="3" destOrd="0" presId="urn:microsoft.com/office/officeart/2005/8/layout/hProcess3"/>
    <dgm:cxn modelId="{3A8A8CDC-5757-48A8-A5E9-34C108753A64}" type="presParOf" srcId="{42A57EFF-C997-4AE6-BE38-2D748843FDB0}" destId="{7B7C1ADB-3F3D-4117-8AD5-CDEECF1973C7}" srcOrd="2" destOrd="0" presId="urn:microsoft.com/office/officeart/2005/8/layout/hProcess3"/>
    <dgm:cxn modelId="{3680E5FA-85E9-47B7-9477-649E1C8D62B8}" type="presParOf" srcId="{42A57EFF-C997-4AE6-BE38-2D748843FDB0}" destId="{8B7AC0BB-443E-4479-ABD1-DAD4B19AEDE0}" srcOrd="3" destOrd="0" presId="urn:microsoft.com/office/officeart/2005/8/layout/hProcess3"/>
    <dgm:cxn modelId="{6AB64DA7-FE55-4CF0-9853-09E01D68F4B3}" type="presParOf" srcId="{42A57EFF-C997-4AE6-BE38-2D748843FDB0}" destId="{D571FEBC-1B31-48C2-8AA5-0A8CA8F25BBD}" srcOrd="4" destOrd="0" presId="urn:microsoft.com/office/officeart/2005/8/layout/hProcess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D293E41-F20A-481F-990F-604AF5D1A6A2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A4CD32F4-1D09-4F81-9A44-DB8EF3B2429E}">
      <dgm:prSet custT="1"/>
      <dgm:spPr/>
      <dgm:t>
        <a:bodyPr/>
        <a:lstStyle/>
        <a:p>
          <a:r>
            <a:rPr lang="en-GB" sz="2000" b="1"/>
            <a:t>Yaş</a:t>
          </a:r>
        </a:p>
      </dgm:t>
    </dgm:pt>
    <dgm:pt modelId="{F76EACE7-07F8-4575-B736-A2533A8C71F2}" type="parTrans" cxnId="{43501180-56E5-4DE2-8C86-ED462C039089}">
      <dgm:prSet/>
      <dgm:spPr/>
      <dgm:t>
        <a:bodyPr/>
        <a:lstStyle/>
        <a:p>
          <a:endParaRPr lang="en-GB" sz="2000" b="1"/>
        </a:p>
      </dgm:t>
    </dgm:pt>
    <dgm:pt modelId="{FA89BA88-2B7B-438B-9008-599E866980D5}" type="sibTrans" cxnId="{43501180-56E5-4DE2-8C86-ED462C039089}">
      <dgm:prSet/>
      <dgm:spPr/>
      <dgm:t>
        <a:bodyPr/>
        <a:lstStyle/>
        <a:p>
          <a:endParaRPr lang="en-GB" sz="2000" b="1"/>
        </a:p>
      </dgm:t>
    </dgm:pt>
    <dgm:pt modelId="{3E10C1D4-D029-4135-93DD-17E4B75EA052}">
      <dgm:prSet custT="1"/>
      <dgm:spPr/>
      <dgm:t>
        <a:bodyPr/>
        <a:lstStyle/>
        <a:p>
          <a:r>
            <a:rPr lang="en-GB" sz="2000" b="1" dirty="0" err="1"/>
            <a:t>Ek</a:t>
          </a:r>
          <a:r>
            <a:rPr lang="en-GB" sz="2000" b="1" dirty="0"/>
            <a:t> </a:t>
          </a:r>
          <a:r>
            <a:rPr lang="en-GB" sz="2000" b="1" dirty="0" err="1"/>
            <a:t>hastalıklar</a:t>
          </a:r>
          <a:endParaRPr lang="en-GB" sz="2000" b="1" dirty="0"/>
        </a:p>
      </dgm:t>
    </dgm:pt>
    <dgm:pt modelId="{6551FC32-913F-44F9-A3ED-585BA17097E8}" type="parTrans" cxnId="{7931DE44-86B1-4148-B422-E4D657500176}">
      <dgm:prSet/>
      <dgm:spPr/>
      <dgm:t>
        <a:bodyPr/>
        <a:lstStyle/>
        <a:p>
          <a:endParaRPr lang="en-GB" sz="2000" b="1"/>
        </a:p>
      </dgm:t>
    </dgm:pt>
    <dgm:pt modelId="{E3B19353-6A28-4C3E-970B-234B3C266AE5}" type="sibTrans" cxnId="{7931DE44-86B1-4148-B422-E4D657500176}">
      <dgm:prSet/>
      <dgm:spPr/>
      <dgm:t>
        <a:bodyPr/>
        <a:lstStyle/>
        <a:p>
          <a:endParaRPr lang="en-GB" sz="2000" b="1"/>
        </a:p>
      </dgm:t>
    </dgm:pt>
    <dgm:pt modelId="{DBB4A650-180C-4502-950B-D790D4DE7EE5}">
      <dgm:prSet custT="1"/>
      <dgm:spPr/>
      <dgm:t>
        <a:bodyPr/>
        <a:lstStyle/>
        <a:p>
          <a:r>
            <a:rPr lang="en-GB" sz="2000" b="1"/>
            <a:t>Semptom</a:t>
          </a:r>
        </a:p>
      </dgm:t>
    </dgm:pt>
    <dgm:pt modelId="{8FA6E494-EE69-4932-8BC7-9C0A199CAE39}" type="parTrans" cxnId="{9FEA6993-A16E-475C-A6AB-71A30599141D}">
      <dgm:prSet/>
      <dgm:spPr/>
      <dgm:t>
        <a:bodyPr/>
        <a:lstStyle/>
        <a:p>
          <a:endParaRPr lang="en-GB" sz="2000" b="1"/>
        </a:p>
      </dgm:t>
    </dgm:pt>
    <dgm:pt modelId="{C0F5EFCA-F2CC-4960-A1EC-05D64175188A}" type="sibTrans" cxnId="{9FEA6993-A16E-475C-A6AB-71A30599141D}">
      <dgm:prSet/>
      <dgm:spPr/>
      <dgm:t>
        <a:bodyPr/>
        <a:lstStyle/>
        <a:p>
          <a:endParaRPr lang="en-GB" sz="2000" b="1"/>
        </a:p>
      </dgm:t>
    </dgm:pt>
    <dgm:pt modelId="{B988459C-58E9-40FE-AC3F-272AEA964C21}">
      <dgm:prSet custT="1"/>
      <dgm:spPr/>
      <dgm:t>
        <a:bodyPr/>
        <a:lstStyle/>
        <a:p>
          <a:r>
            <a:rPr lang="en-GB" sz="2000" b="1" dirty="0" err="1"/>
            <a:t>Progresyon</a:t>
          </a:r>
          <a:r>
            <a:rPr lang="en-GB" sz="2000" b="1" dirty="0"/>
            <a:t> </a:t>
          </a:r>
          <a:r>
            <a:rPr lang="en-GB" sz="2000" b="1" dirty="0" err="1"/>
            <a:t>bölgesi</a:t>
          </a:r>
          <a:endParaRPr lang="en-GB" sz="2000" b="1" dirty="0"/>
        </a:p>
      </dgm:t>
    </dgm:pt>
    <dgm:pt modelId="{8BB5B6F0-139D-4FF7-BE85-B166804EF95B}" type="parTrans" cxnId="{81B5C69E-D083-4052-AC12-D8CA7C7E54C8}">
      <dgm:prSet/>
      <dgm:spPr/>
      <dgm:t>
        <a:bodyPr/>
        <a:lstStyle/>
        <a:p>
          <a:endParaRPr lang="en-GB" sz="2000" b="1"/>
        </a:p>
      </dgm:t>
    </dgm:pt>
    <dgm:pt modelId="{23E011DB-09A8-4D1A-87D9-05A2466EFABB}" type="sibTrans" cxnId="{81B5C69E-D083-4052-AC12-D8CA7C7E54C8}">
      <dgm:prSet/>
      <dgm:spPr/>
      <dgm:t>
        <a:bodyPr/>
        <a:lstStyle/>
        <a:p>
          <a:endParaRPr lang="en-GB" sz="2000" b="1"/>
        </a:p>
      </dgm:t>
    </dgm:pt>
    <dgm:pt modelId="{5F41005C-A322-4F60-9037-1638DC6A1D32}">
      <dgm:prSet custT="1"/>
      <dgm:spPr/>
      <dgm:t>
        <a:bodyPr/>
        <a:lstStyle/>
        <a:p>
          <a:r>
            <a:rPr lang="en-GB" sz="2000" b="1" dirty="0" err="1"/>
            <a:t>Tedaviye</a:t>
          </a:r>
          <a:r>
            <a:rPr lang="en-GB" sz="2000" b="1" dirty="0"/>
            <a:t> </a:t>
          </a:r>
          <a:r>
            <a:rPr lang="en-GB" sz="2000" b="1" dirty="0" err="1"/>
            <a:t>uyum</a:t>
          </a:r>
          <a:r>
            <a:rPr lang="en-GB" sz="2000" b="1" dirty="0"/>
            <a:t> </a:t>
          </a:r>
          <a:r>
            <a:rPr lang="en-GB" sz="2000" b="1" dirty="0" err="1"/>
            <a:t>süreci</a:t>
          </a:r>
          <a:endParaRPr lang="en-GB" sz="2000" b="1" dirty="0"/>
        </a:p>
      </dgm:t>
    </dgm:pt>
    <dgm:pt modelId="{7405A748-61B1-4397-BF13-FF5714254303}" type="parTrans" cxnId="{5AFADBD4-413D-4A3F-998E-2E3900836E8D}">
      <dgm:prSet/>
      <dgm:spPr/>
      <dgm:t>
        <a:bodyPr/>
        <a:lstStyle/>
        <a:p>
          <a:endParaRPr lang="en-GB" sz="2000" b="1"/>
        </a:p>
      </dgm:t>
    </dgm:pt>
    <dgm:pt modelId="{4075419B-EF83-4817-B2E9-B61BB77297A5}" type="sibTrans" cxnId="{5AFADBD4-413D-4A3F-998E-2E3900836E8D}">
      <dgm:prSet/>
      <dgm:spPr/>
      <dgm:t>
        <a:bodyPr/>
        <a:lstStyle/>
        <a:p>
          <a:endParaRPr lang="en-GB" sz="2000" b="1"/>
        </a:p>
      </dgm:t>
    </dgm:pt>
    <dgm:pt modelId="{B70C42AF-B920-48C1-8B08-FB62332D34B1}">
      <dgm:prSet custT="1"/>
      <dgm:spPr/>
      <dgm:t>
        <a:bodyPr/>
        <a:lstStyle/>
        <a:p>
          <a:r>
            <a:rPr lang="en-GB" sz="2000" b="1" dirty="0" err="1"/>
            <a:t>Sosyal</a:t>
          </a:r>
          <a:r>
            <a:rPr lang="en-GB" sz="2000" b="1" dirty="0"/>
            <a:t> </a:t>
          </a:r>
          <a:r>
            <a:rPr lang="en-GB" sz="2000" b="1" dirty="0" err="1"/>
            <a:t>yaşam</a:t>
          </a:r>
          <a:endParaRPr lang="en-GB" sz="2000" b="1" dirty="0"/>
        </a:p>
      </dgm:t>
    </dgm:pt>
    <dgm:pt modelId="{C3D80197-AC50-40B0-B1CB-C17A71673067}" type="parTrans" cxnId="{11D78AB3-C179-465E-93DF-3049E891612F}">
      <dgm:prSet/>
      <dgm:spPr/>
      <dgm:t>
        <a:bodyPr/>
        <a:lstStyle/>
        <a:p>
          <a:endParaRPr lang="en-GB" sz="2000" b="1"/>
        </a:p>
      </dgm:t>
    </dgm:pt>
    <dgm:pt modelId="{D15495D9-AE02-4C2E-9E45-BB96F4DA725D}" type="sibTrans" cxnId="{11D78AB3-C179-465E-93DF-3049E891612F}">
      <dgm:prSet/>
      <dgm:spPr/>
      <dgm:t>
        <a:bodyPr/>
        <a:lstStyle/>
        <a:p>
          <a:endParaRPr lang="en-GB" sz="2000" b="1"/>
        </a:p>
      </dgm:t>
    </dgm:pt>
    <dgm:pt modelId="{5018F6B4-9893-4799-A5EF-F74DA8C070CF}">
      <dgm:prSet custT="1"/>
      <dgm:spPr/>
      <dgm:t>
        <a:bodyPr/>
        <a:lstStyle/>
        <a:p>
          <a:r>
            <a:rPr lang="en-GB" sz="2000" b="1" dirty="0" err="1"/>
            <a:t>Agresif</a:t>
          </a:r>
          <a:r>
            <a:rPr lang="en-GB" sz="2000" b="1" dirty="0"/>
            <a:t> </a:t>
          </a:r>
          <a:r>
            <a:rPr lang="en-GB" sz="2000" b="1" dirty="0" err="1"/>
            <a:t>biyoloji</a:t>
          </a:r>
          <a:endParaRPr lang="en-GB" sz="2000" b="1" dirty="0"/>
        </a:p>
      </dgm:t>
    </dgm:pt>
    <dgm:pt modelId="{79FB2790-1FD6-4D0D-B207-167951DA7E75}" type="parTrans" cxnId="{5D2DC105-7EC2-466E-8175-4B1E28E7212F}">
      <dgm:prSet/>
      <dgm:spPr/>
      <dgm:t>
        <a:bodyPr/>
        <a:lstStyle/>
        <a:p>
          <a:endParaRPr lang="en-GB" sz="2000" b="1"/>
        </a:p>
      </dgm:t>
    </dgm:pt>
    <dgm:pt modelId="{716135DD-D3B6-4660-A681-9684155DF842}" type="sibTrans" cxnId="{5D2DC105-7EC2-466E-8175-4B1E28E7212F}">
      <dgm:prSet/>
      <dgm:spPr/>
      <dgm:t>
        <a:bodyPr/>
        <a:lstStyle/>
        <a:p>
          <a:endParaRPr lang="en-GB" sz="2000" b="1"/>
        </a:p>
      </dgm:t>
    </dgm:pt>
    <dgm:pt modelId="{93C329CE-32B2-4955-84F5-9C3EAF8641DC}">
      <dgm:prSet/>
      <dgm:spPr/>
      <dgm:t>
        <a:bodyPr/>
        <a:lstStyle/>
        <a:p>
          <a:endParaRPr lang="en-GB" sz="2000" b="1"/>
        </a:p>
      </dgm:t>
    </dgm:pt>
    <dgm:pt modelId="{DDF713FE-5DAB-4A36-A8BC-F43ADD5E3990}" type="parTrans" cxnId="{AB1A2854-170E-4708-A81E-FB492B34B75B}">
      <dgm:prSet/>
      <dgm:spPr/>
      <dgm:t>
        <a:bodyPr/>
        <a:lstStyle/>
        <a:p>
          <a:endParaRPr lang="en-GB" sz="2000" b="1"/>
        </a:p>
      </dgm:t>
    </dgm:pt>
    <dgm:pt modelId="{9C554698-5D5C-4853-B4C7-A2E9B612AAFC}" type="sibTrans" cxnId="{AB1A2854-170E-4708-A81E-FB492B34B75B}">
      <dgm:prSet/>
      <dgm:spPr/>
      <dgm:t>
        <a:bodyPr/>
        <a:lstStyle/>
        <a:p>
          <a:endParaRPr lang="en-GB" sz="2000" b="1"/>
        </a:p>
      </dgm:t>
    </dgm:pt>
    <dgm:pt modelId="{F2D7A1D6-5056-4815-9878-9EB949F069E4}" type="pres">
      <dgm:prSet presAssocID="{5D293E41-F20A-481F-990F-604AF5D1A6A2}" presName="compositeShape" presStyleCnt="0">
        <dgm:presLayoutVars>
          <dgm:chMax val="7"/>
          <dgm:dir/>
          <dgm:resizeHandles val="exact"/>
        </dgm:presLayoutVars>
      </dgm:prSet>
      <dgm:spPr/>
    </dgm:pt>
    <dgm:pt modelId="{9EBD2FDA-49C2-4469-A58D-B20665D0A21D}" type="pres">
      <dgm:prSet presAssocID="{A4CD32F4-1D09-4F81-9A44-DB8EF3B2429E}" presName="circ1" presStyleLbl="vennNode1" presStyleIdx="0" presStyleCnt="7"/>
      <dgm:spPr/>
    </dgm:pt>
    <dgm:pt modelId="{8472FAD1-3AE4-430D-90AF-5EB950D7A5D5}" type="pres">
      <dgm:prSet presAssocID="{A4CD32F4-1D09-4F81-9A44-DB8EF3B2429E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C7FF8C93-C4D9-4B49-B030-7125B325A53F}" type="pres">
      <dgm:prSet presAssocID="{3E10C1D4-D029-4135-93DD-17E4B75EA052}" presName="circ2" presStyleLbl="vennNode1" presStyleIdx="1" presStyleCnt="7"/>
      <dgm:spPr/>
    </dgm:pt>
    <dgm:pt modelId="{905F6E2B-FB8F-4572-B3B0-6803DB0D7F94}" type="pres">
      <dgm:prSet presAssocID="{3E10C1D4-D029-4135-93DD-17E4B75EA052}" presName="circ2Tx" presStyleLbl="revTx" presStyleIdx="0" presStyleCnt="0" custScaleX="126983">
        <dgm:presLayoutVars>
          <dgm:chMax val="0"/>
          <dgm:chPref val="0"/>
          <dgm:bulletEnabled val="1"/>
        </dgm:presLayoutVars>
      </dgm:prSet>
      <dgm:spPr/>
    </dgm:pt>
    <dgm:pt modelId="{240E41AB-2273-43A9-9D05-2BE1C192FB1C}" type="pres">
      <dgm:prSet presAssocID="{DBB4A650-180C-4502-950B-D790D4DE7EE5}" presName="circ3" presStyleLbl="vennNode1" presStyleIdx="2" presStyleCnt="7"/>
      <dgm:spPr/>
    </dgm:pt>
    <dgm:pt modelId="{A872F9DB-E4C1-4245-9D0E-93E045DA567A}" type="pres">
      <dgm:prSet presAssocID="{DBB4A650-180C-4502-950B-D790D4DE7EE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FFB45A86-0357-4C27-8D9A-FEAB33BF3C93}" type="pres">
      <dgm:prSet presAssocID="{B988459C-58E9-40FE-AC3F-272AEA964C21}" presName="circ4" presStyleLbl="vennNode1" presStyleIdx="3" presStyleCnt="7"/>
      <dgm:spPr/>
    </dgm:pt>
    <dgm:pt modelId="{D2090FD8-DD5E-42C9-AE70-C6FF93C20907}" type="pres">
      <dgm:prSet presAssocID="{B988459C-58E9-40FE-AC3F-272AEA964C21}" presName="circ4Tx" presStyleLbl="revTx" presStyleIdx="0" presStyleCnt="0" custScaleX="129595">
        <dgm:presLayoutVars>
          <dgm:chMax val="0"/>
          <dgm:chPref val="0"/>
          <dgm:bulletEnabled val="1"/>
        </dgm:presLayoutVars>
      </dgm:prSet>
      <dgm:spPr/>
    </dgm:pt>
    <dgm:pt modelId="{35D003E9-F0C5-48D4-9FC2-9C4168F3B754}" type="pres">
      <dgm:prSet presAssocID="{5F41005C-A322-4F60-9037-1638DC6A1D32}" presName="circ5" presStyleLbl="vennNode1" presStyleIdx="4" presStyleCnt="7"/>
      <dgm:spPr/>
    </dgm:pt>
    <dgm:pt modelId="{B9D21C71-FA96-494D-9E8B-52BE9E9D0442}" type="pres">
      <dgm:prSet presAssocID="{5F41005C-A322-4F60-9037-1638DC6A1D32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93A455C6-9EE7-4529-8E10-591A0E0C633B}" type="pres">
      <dgm:prSet presAssocID="{B70C42AF-B920-48C1-8B08-FB62332D34B1}" presName="circ6" presStyleLbl="vennNode1" presStyleIdx="5" presStyleCnt="7"/>
      <dgm:spPr/>
    </dgm:pt>
    <dgm:pt modelId="{6C77295A-01F6-47FB-907D-27C2FA254BAA}" type="pres">
      <dgm:prSet presAssocID="{B70C42AF-B920-48C1-8B08-FB62332D34B1}" presName="circ6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5F67FBF7-3153-41B8-B9DA-1CF1821D7243}" type="pres">
      <dgm:prSet presAssocID="{5018F6B4-9893-4799-A5EF-F74DA8C070CF}" presName="circ7" presStyleLbl="vennNode1" presStyleIdx="6" presStyleCnt="7"/>
      <dgm:spPr/>
    </dgm:pt>
    <dgm:pt modelId="{429945E4-2B7B-41F4-B267-1EBDB67DBF5F}" type="pres">
      <dgm:prSet presAssocID="{5018F6B4-9893-4799-A5EF-F74DA8C070CF}" presName="circ7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5D2DC105-7EC2-466E-8175-4B1E28E7212F}" srcId="{5D293E41-F20A-481F-990F-604AF5D1A6A2}" destId="{5018F6B4-9893-4799-A5EF-F74DA8C070CF}" srcOrd="6" destOrd="0" parTransId="{79FB2790-1FD6-4D0D-B207-167951DA7E75}" sibTransId="{716135DD-D3B6-4660-A681-9684155DF842}"/>
    <dgm:cxn modelId="{DD741732-0140-430C-8C2B-D496328A15A2}" type="presOf" srcId="{DBB4A650-180C-4502-950B-D790D4DE7EE5}" destId="{A872F9DB-E4C1-4245-9D0E-93E045DA567A}" srcOrd="0" destOrd="0" presId="urn:microsoft.com/office/officeart/2005/8/layout/venn1"/>
    <dgm:cxn modelId="{DCBE9B63-BB31-4FD4-94DE-4E826BF7413C}" type="presOf" srcId="{5F41005C-A322-4F60-9037-1638DC6A1D32}" destId="{B9D21C71-FA96-494D-9E8B-52BE9E9D0442}" srcOrd="0" destOrd="0" presId="urn:microsoft.com/office/officeart/2005/8/layout/venn1"/>
    <dgm:cxn modelId="{9B097264-A085-479D-A8D6-0FB8DC517663}" type="presOf" srcId="{B70C42AF-B920-48C1-8B08-FB62332D34B1}" destId="{6C77295A-01F6-47FB-907D-27C2FA254BAA}" srcOrd="0" destOrd="0" presId="urn:microsoft.com/office/officeart/2005/8/layout/venn1"/>
    <dgm:cxn modelId="{7931DE44-86B1-4148-B422-E4D657500176}" srcId="{5D293E41-F20A-481F-990F-604AF5D1A6A2}" destId="{3E10C1D4-D029-4135-93DD-17E4B75EA052}" srcOrd="1" destOrd="0" parTransId="{6551FC32-913F-44F9-A3ED-585BA17097E8}" sibTransId="{E3B19353-6A28-4C3E-970B-234B3C266AE5}"/>
    <dgm:cxn modelId="{D89A9646-BB4C-405E-9C80-5222C9E9F133}" type="presOf" srcId="{3E10C1D4-D029-4135-93DD-17E4B75EA052}" destId="{905F6E2B-FB8F-4572-B3B0-6803DB0D7F94}" srcOrd="0" destOrd="0" presId="urn:microsoft.com/office/officeart/2005/8/layout/venn1"/>
    <dgm:cxn modelId="{4A3B2F4D-0BD9-4B30-AFD1-19C99B99A5B9}" type="presOf" srcId="{5D293E41-F20A-481F-990F-604AF5D1A6A2}" destId="{F2D7A1D6-5056-4815-9878-9EB949F069E4}" srcOrd="0" destOrd="0" presId="urn:microsoft.com/office/officeart/2005/8/layout/venn1"/>
    <dgm:cxn modelId="{AB1A2854-170E-4708-A81E-FB492B34B75B}" srcId="{5D293E41-F20A-481F-990F-604AF5D1A6A2}" destId="{93C329CE-32B2-4955-84F5-9C3EAF8641DC}" srcOrd="7" destOrd="0" parTransId="{DDF713FE-5DAB-4A36-A8BC-F43ADD5E3990}" sibTransId="{9C554698-5D5C-4853-B4C7-A2E9B612AAFC}"/>
    <dgm:cxn modelId="{43501180-56E5-4DE2-8C86-ED462C039089}" srcId="{5D293E41-F20A-481F-990F-604AF5D1A6A2}" destId="{A4CD32F4-1D09-4F81-9A44-DB8EF3B2429E}" srcOrd="0" destOrd="0" parTransId="{F76EACE7-07F8-4575-B736-A2533A8C71F2}" sibTransId="{FA89BA88-2B7B-438B-9008-599E866980D5}"/>
    <dgm:cxn modelId="{9FEA6993-A16E-475C-A6AB-71A30599141D}" srcId="{5D293E41-F20A-481F-990F-604AF5D1A6A2}" destId="{DBB4A650-180C-4502-950B-D790D4DE7EE5}" srcOrd="2" destOrd="0" parTransId="{8FA6E494-EE69-4932-8BC7-9C0A199CAE39}" sibTransId="{C0F5EFCA-F2CC-4960-A1EC-05D64175188A}"/>
    <dgm:cxn modelId="{81B5C69E-D083-4052-AC12-D8CA7C7E54C8}" srcId="{5D293E41-F20A-481F-990F-604AF5D1A6A2}" destId="{B988459C-58E9-40FE-AC3F-272AEA964C21}" srcOrd="3" destOrd="0" parTransId="{8BB5B6F0-139D-4FF7-BE85-B166804EF95B}" sibTransId="{23E011DB-09A8-4D1A-87D9-05A2466EFABB}"/>
    <dgm:cxn modelId="{11D78AB3-C179-465E-93DF-3049E891612F}" srcId="{5D293E41-F20A-481F-990F-604AF5D1A6A2}" destId="{B70C42AF-B920-48C1-8B08-FB62332D34B1}" srcOrd="5" destOrd="0" parTransId="{C3D80197-AC50-40B0-B1CB-C17A71673067}" sibTransId="{D15495D9-AE02-4C2E-9E45-BB96F4DA725D}"/>
    <dgm:cxn modelId="{096BE8B9-932A-4861-853E-4D014D146283}" type="presOf" srcId="{B988459C-58E9-40FE-AC3F-272AEA964C21}" destId="{D2090FD8-DD5E-42C9-AE70-C6FF93C20907}" srcOrd="0" destOrd="0" presId="urn:microsoft.com/office/officeart/2005/8/layout/venn1"/>
    <dgm:cxn modelId="{5AFADBD4-413D-4A3F-998E-2E3900836E8D}" srcId="{5D293E41-F20A-481F-990F-604AF5D1A6A2}" destId="{5F41005C-A322-4F60-9037-1638DC6A1D32}" srcOrd="4" destOrd="0" parTransId="{7405A748-61B1-4397-BF13-FF5714254303}" sibTransId="{4075419B-EF83-4817-B2E9-B61BB77297A5}"/>
    <dgm:cxn modelId="{A6F341E1-19CA-43D5-85E8-FA53E670EDEA}" type="presOf" srcId="{A4CD32F4-1D09-4F81-9A44-DB8EF3B2429E}" destId="{8472FAD1-3AE4-430D-90AF-5EB950D7A5D5}" srcOrd="0" destOrd="0" presId="urn:microsoft.com/office/officeart/2005/8/layout/venn1"/>
    <dgm:cxn modelId="{9683E3E9-E3F7-4BE6-9ECD-1140902736E7}" type="presOf" srcId="{5018F6B4-9893-4799-A5EF-F74DA8C070CF}" destId="{429945E4-2B7B-41F4-B267-1EBDB67DBF5F}" srcOrd="0" destOrd="0" presId="urn:microsoft.com/office/officeart/2005/8/layout/venn1"/>
    <dgm:cxn modelId="{57E1B67D-B9B6-4128-94D7-A9183836D694}" type="presParOf" srcId="{F2D7A1D6-5056-4815-9878-9EB949F069E4}" destId="{9EBD2FDA-49C2-4469-A58D-B20665D0A21D}" srcOrd="0" destOrd="0" presId="urn:microsoft.com/office/officeart/2005/8/layout/venn1"/>
    <dgm:cxn modelId="{0C9ADBE1-A156-4CF9-A60D-6BF8A49B7FE4}" type="presParOf" srcId="{F2D7A1D6-5056-4815-9878-9EB949F069E4}" destId="{8472FAD1-3AE4-430D-90AF-5EB950D7A5D5}" srcOrd="1" destOrd="0" presId="urn:microsoft.com/office/officeart/2005/8/layout/venn1"/>
    <dgm:cxn modelId="{B3A1068D-EC75-4756-8449-A75E3924A176}" type="presParOf" srcId="{F2D7A1D6-5056-4815-9878-9EB949F069E4}" destId="{C7FF8C93-C4D9-4B49-B030-7125B325A53F}" srcOrd="2" destOrd="0" presId="urn:microsoft.com/office/officeart/2005/8/layout/venn1"/>
    <dgm:cxn modelId="{EA9C6354-D27F-46CC-9081-2D45736E26B0}" type="presParOf" srcId="{F2D7A1D6-5056-4815-9878-9EB949F069E4}" destId="{905F6E2B-FB8F-4572-B3B0-6803DB0D7F94}" srcOrd="3" destOrd="0" presId="urn:microsoft.com/office/officeart/2005/8/layout/venn1"/>
    <dgm:cxn modelId="{BA34CD02-88E1-4F7F-A829-92B793E882E1}" type="presParOf" srcId="{F2D7A1D6-5056-4815-9878-9EB949F069E4}" destId="{240E41AB-2273-43A9-9D05-2BE1C192FB1C}" srcOrd="4" destOrd="0" presId="urn:microsoft.com/office/officeart/2005/8/layout/venn1"/>
    <dgm:cxn modelId="{76366714-3F71-4FC3-8DF1-592E546F6A03}" type="presParOf" srcId="{F2D7A1D6-5056-4815-9878-9EB949F069E4}" destId="{A872F9DB-E4C1-4245-9D0E-93E045DA567A}" srcOrd="5" destOrd="0" presId="urn:microsoft.com/office/officeart/2005/8/layout/venn1"/>
    <dgm:cxn modelId="{E724E97B-4A1B-44A4-9C7A-BF0F539303FB}" type="presParOf" srcId="{F2D7A1D6-5056-4815-9878-9EB949F069E4}" destId="{FFB45A86-0357-4C27-8D9A-FEAB33BF3C93}" srcOrd="6" destOrd="0" presId="urn:microsoft.com/office/officeart/2005/8/layout/venn1"/>
    <dgm:cxn modelId="{8C39A483-F37C-4127-88CF-12B72A4108B2}" type="presParOf" srcId="{F2D7A1D6-5056-4815-9878-9EB949F069E4}" destId="{D2090FD8-DD5E-42C9-AE70-C6FF93C20907}" srcOrd="7" destOrd="0" presId="urn:microsoft.com/office/officeart/2005/8/layout/venn1"/>
    <dgm:cxn modelId="{57A32707-EC83-40A7-ABB5-841C1DC8AE42}" type="presParOf" srcId="{F2D7A1D6-5056-4815-9878-9EB949F069E4}" destId="{35D003E9-F0C5-48D4-9FC2-9C4168F3B754}" srcOrd="8" destOrd="0" presId="urn:microsoft.com/office/officeart/2005/8/layout/venn1"/>
    <dgm:cxn modelId="{557C883D-4011-462E-82FF-66721AE5F99E}" type="presParOf" srcId="{F2D7A1D6-5056-4815-9878-9EB949F069E4}" destId="{B9D21C71-FA96-494D-9E8B-52BE9E9D0442}" srcOrd="9" destOrd="0" presId="urn:microsoft.com/office/officeart/2005/8/layout/venn1"/>
    <dgm:cxn modelId="{F6058DC1-E23A-4160-9298-14DA18664A1F}" type="presParOf" srcId="{F2D7A1D6-5056-4815-9878-9EB949F069E4}" destId="{93A455C6-9EE7-4529-8E10-591A0E0C633B}" srcOrd="10" destOrd="0" presId="urn:microsoft.com/office/officeart/2005/8/layout/venn1"/>
    <dgm:cxn modelId="{34EA8FCF-3AB6-4467-84A0-1D0F80281E0B}" type="presParOf" srcId="{F2D7A1D6-5056-4815-9878-9EB949F069E4}" destId="{6C77295A-01F6-47FB-907D-27C2FA254BAA}" srcOrd="11" destOrd="0" presId="urn:microsoft.com/office/officeart/2005/8/layout/venn1"/>
    <dgm:cxn modelId="{2ABD417B-4A35-4DA4-B02D-B5281FDD218C}" type="presParOf" srcId="{F2D7A1D6-5056-4815-9878-9EB949F069E4}" destId="{5F67FBF7-3153-41B8-B9DA-1CF1821D7243}" srcOrd="12" destOrd="0" presId="urn:microsoft.com/office/officeart/2005/8/layout/venn1"/>
    <dgm:cxn modelId="{0D5E3D97-63E8-4B61-BDF8-FE70D05775CA}" type="presParOf" srcId="{F2D7A1D6-5056-4815-9878-9EB949F069E4}" destId="{429945E4-2B7B-41F4-B267-1EBDB67DBF5F}" srcOrd="1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5E70E3F-E1C8-4925-9FA2-D00B2EA31658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/>
      <dgm:spPr/>
      <dgm:t>
        <a:bodyPr/>
        <a:lstStyle/>
        <a:p>
          <a:endParaRPr lang="en-GB"/>
        </a:p>
      </dgm:t>
    </dgm:pt>
    <dgm:pt modelId="{AB7C734C-57D8-418A-A7BA-FC3DBAB6632E}">
      <dgm:prSet custT="1"/>
      <dgm:spPr/>
      <dgm:t>
        <a:bodyPr/>
        <a:lstStyle/>
        <a:p>
          <a:r>
            <a:rPr lang="en-GB" sz="1100" b="1" i="0" baseline="0"/>
            <a:t>Küçük hücreli variant</a:t>
          </a:r>
          <a:endParaRPr lang="en-GB" sz="1100" b="1"/>
        </a:p>
      </dgm:t>
    </dgm:pt>
    <dgm:pt modelId="{866018AB-8484-41BF-ADA4-72B45F233D63}" type="parTrans" cxnId="{9B4AEAD8-3C61-43B1-A7A9-01C1586DD358}">
      <dgm:prSet/>
      <dgm:spPr/>
      <dgm:t>
        <a:bodyPr/>
        <a:lstStyle/>
        <a:p>
          <a:endParaRPr lang="en-GB" sz="2400" b="1"/>
        </a:p>
      </dgm:t>
    </dgm:pt>
    <dgm:pt modelId="{CB389680-B947-42FC-8676-BF29230A4361}" type="sibTrans" cxnId="{9B4AEAD8-3C61-43B1-A7A9-01C1586DD358}">
      <dgm:prSet/>
      <dgm:spPr/>
      <dgm:t>
        <a:bodyPr/>
        <a:lstStyle/>
        <a:p>
          <a:endParaRPr lang="en-GB" sz="2400" b="1"/>
        </a:p>
      </dgm:t>
    </dgm:pt>
    <dgm:pt modelId="{6088DFE2-165F-4116-B269-A75A1425F215}">
      <dgm:prSet custT="1"/>
      <dgm:spPr/>
      <dgm:t>
        <a:bodyPr/>
        <a:lstStyle/>
        <a:p>
          <a:r>
            <a:rPr lang="en-GB" sz="1100" b="1"/>
            <a:t>Yaygın visseral metastaz</a:t>
          </a:r>
        </a:p>
      </dgm:t>
    </dgm:pt>
    <dgm:pt modelId="{6E33FC38-D960-4DFD-83AA-C1FA14F1BB1A}" type="parTrans" cxnId="{1857090F-7078-49F9-B612-F0F36B2EAEA3}">
      <dgm:prSet/>
      <dgm:spPr/>
      <dgm:t>
        <a:bodyPr/>
        <a:lstStyle/>
        <a:p>
          <a:endParaRPr lang="en-GB" sz="2400" b="1"/>
        </a:p>
      </dgm:t>
    </dgm:pt>
    <dgm:pt modelId="{E1C5E789-929C-4230-9BE9-92F125B6C413}" type="sibTrans" cxnId="{1857090F-7078-49F9-B612-F0F36B2EAEA3}">
      <dgm:prSet/>
      <dgm:spPr/>
      <dgm:t>
        <a:bodyPr/>
        <a:lstStyle/>
        <a:p>
          <a:endParaRPr lang="en-GB" sz="2400" b="1"/>
        </a:p>
      </dgm:t>
    </dgm:pt>
    <dgm:pt modelId="{7B46207F-9412-426C-B340-B5AAEEC28C3C}">
      <dgm:prSet custT="1"/>
      <dgm:spPr/>
      <dgm:t>
        <a:bodyPr/>
        <a:lstStyle/>
        <a:p>
          <a:r>
            <a:rPr lang="en-GB" sz="1100" b="1" i="0" baseline="0"/>
            <a:t>Litik kemik metastazı</a:t>
          </a:r>
          <a:endParaRPr lang="en-GB" sz="1100" b="1"/>
        </a:p>
      </dgm:t>
    </dgm:pt>
    <dgm:pt modelId="{83987AAE-FA5C-4335-8258-F75899D66A40}" type="parTrans" cxnId="{705872C3-26EE-4759-9638-EAFCEE73870D}">
      <dgm:prSet/>
      <dgm:spPr/>
      <dgm:t>
        <a:bodyPr/>
        <a:lstStyle/>
        <a:p>
          <a:endParaRPr lang="en-GB" sz="2400" b="1"/>
        </a:p>
      </dgm:t>
    </dgm:pt>
    <dgm:pt modelId="{3A307A26-8777-401F-92D9-032CEF87EC75}" type="sibTrans" cxnId="{705872C3-26EE-4759-9638-EAFCEE73870D}">
      <dgm:prSet/>
      <dgm:spPr/>
      <dgm:t>
        <a:bodyPr/>
        <a:lstStyle/>
        <a:p>
          <a:endParaRPr lang="en-GB" sz="2400" b="1"/>
        </a:p>
      </dgm:t>
    </dgm:pt>
    <dgm:pt modelId="{735E40A9-9783-4A9B-B501-52E56ED7DFEE}">
      <dgm:prSet custT="1"/>
      <dgm:spPr/>
      <dgm:t>
        <a:bodyPr/>
        <a:lstStyle/>
        <a:p>
          <a:r>
            <a:rPr lang="en-GB" sz="1100" b="1"/>
            <a:t>Büyük LN ve Kitle</a:t>
          </a:r>
        </a:p>
      </dgm:t>
    </dgm:pt>
    <dgm:pt modelId="{83813102-EC38-47DB-8E16-747C1308B3F8}" type="parTrans" cxnId="{F9D6D007-6FF3-4ECD-9135-F858CE169181}">
      <dgm:prSet/>
      <dgm:spPr/>
      <dgm:t>
        <a:bodyPr/>
        <a:lstStyle/>
        <a:p>
          <a:endParaRPr lang="en-GB" sz="2400" b="1"/>
        </a:p>
      </dgm:t>
    </dgm:pt>
    <dgm:pt modelId="{BD3B53C0-A271-49AE-B082-3C536C82404D}" type="sibTrans" cxnId="{F9D6D007-6FF3-4ECD-9135-F858CE169181}">
      <dgm:prSet/>
      <dgm:spPr/>
      <dgm:t>
        <a:bodyPr/>
        <a:lstStyle/>
        <a:p>
          <a:endParaRPr lang="en-GB" sz="2400" b="1"/>
        </a:p>
      </dgm:t>
    </dgm:pt>
    <dgm:pt modelId="{EE99B2D6-88BB-49C6-BA4E-386CAD743E2D}">
      <dgm:prSet custT="1"/>
      <dgm:spPr/>
      <dgm:t>
        <a:bodyPr/>
        <a:lstStyle/>
        <a:p>
          <a:r>
            <a:rPr lang="en-GB" sz="1100" b="1" i="0" baseline="0"/>
            <a:t>Düşük PSA</a:t>
          </a:r>
          <a:endParaRPr lang="en-GB" sz="1100" b="1"/>
        </a:p>
      </dgm:t>
    </dgm:pt>
    <dgm:pt modelId="{C68DF459-E78B-4120-B48D-878F926F7D5A}" type="parTrans" cxnId="{DB915A3B-F4D3-4161-A824-E9F68F4C1D29}">
      <dgm:prSet/>
      <dgm:spPr/>
      <dgm:t>
        <a:bodyPr/>
        <a:lstStyle/>
        <a:p>
          <a:endParaRPr lang="en-GB" sz="2400" b="1"/>
        </a:p>
      </dgm:t>
    </dgm:pt>
    <dgm:pt modelId="{A847FCF1-2FF2-4839-AEFB-98FD27B5A487}" type="sibTrans" cxnId="{DB915A3B-F4D3-4161-A824-E9F68F4C1D29}">
      <dgm:prSet/>
      <dgm:spPr/>
      <dgm:t>
        <a:bodyPr/>
        <a:lstStyle/>
        <a:p>
          <a:endParaRPr lang="en-GB" sz="2400" b="1"/>
        </a:p>
      </dgm:t>
    </dgm:pt>
    <dgm:pt modelId="{C32F3CD0-05C4-434A-995D-13A6452E5D00}">
      <dgm:prSet custT="1"/>
      <dgm:spPr/>
      <dgm:t>
        <a:bodyPr/>
        <a:lstStyle/>
        <a:p>
          <a:r>
            <a:rPr lang="en-GB" sz="1100" b="1"/>
            <a:t>Nöroendokrin markır ve LDH artışı, hiperkalsemi veya CEA artışı </a:t>
          </a:r>
        </a:p>
      </dgm:t>
    </dgm:pt>
    <dgm:pt modelId="{591BE67D-A14A-4896-AA0D-7A36866FB69F}" type="parTrans" cxnId="{3C3E59AA-71F8-428D-BE87-6158040E3158}">
      <dgm:prSet/>
      <dgm:spPr/>
      <dgm:t>
        <a:bodyPr/>
        <a:lstStyle/>
        <a:p>
          <a:endParaRPr lang="en-GB" sz="2400" b="1"/>
        </a:p>
      </dgm:t>
    </dgm:pt>
    <dgm:pt modelId="{82C0E315-2185-4509-B70E-3407D7E67861}" type="sibTrans" cxnId="{3C3E59AA-71F8-428D-BE87-6158040E3158}">
      <dgm:prSet/>
      <dgm:spPr/>
      <dgm:t>
        <a:bodyPr/>
        <a:lstStyle/>
        <a:p>
          <a:endParaRPr lang="en-GB" sz="2400" b="1"/>
        </a:p>
      </dgm:t>
    </dgm:pt>
    <dgm:pt modelId="{8C37C2F1-F5D6-45B7-8875-EC33315DCF1C}">
      <dgm:prSet custT="1"/>
      <dgm:spPr/>
      <dgm:t>
        <a:bodyPr/>
        <a:lstStyle/>
        <a:p>
          <a:r>
            <a:rPr lang="en-GB" sz="1100" b="1" i="0" baseline="0"/>
            <a:t>Kısa sürede progresyon</a:t>
          </a:r>
          <a:endParaRPr lang="en-GB" sz="1100" b="1"/>
        </a:p>
      </dgm:t>
    </dgm:pt>
    <dgm:pt modelId="{AE4BEC55-236B-455A-B379-5D9FFF4DD6C8}" type="parTrans" cxnId="{3644E6A1-29E7-49DC-9748-B6E306A07651}">
      <dgm:prSet/>
      <dgm:spPr/>
      <dgm:t>
        <a:bodyPr/>
        <a:lstStyle/>
        <a:p>
          <a:endParaRPr lang="en-GB" sz="2400" b="1"/>
        </a:p>
      </dgm:t>
    </dgm:pt>
    <dgm:pt modelId="{3217235E-588A-4AE9-87EE-A92EFF77AA35}" type="sibTrans" cxnId="{3644E6A1-29E7-49DC-9748-B6E306A07651}">
      <dgm:prSet/>
      <dgm:spPr/>
      <dgm:t>
        <a:bodyPr/>
        <a:lstStyle/>
        <a:p>
          <a:endParaRPr lang="en-GB" sz="2400" b="1"/>
        </a:p>
      </dgm:t>
    </dgm:pt>
    <dgm:pt modelId="{A30A9448-2DEF-4CDC-81EB-F4F33DA3ECCD}" type="pres">
      <dgm:prSet presAssocID="{B5E70E3F-E1C8-4925-9FA2-D00B2EA31658}" presName="Name0" presStyleCnt="0">
        <dgm:presLayoutVars>
          <dgm:dir/>
          <dgm:animLvl val="lvl"/>
          <dgm:resizeHandles val="exact"/>
        </dgm:presLayoutVars>
      </dgm:prSet>
      <dgm:spPr/>
    </dgm:pt>
    <dgm:pt modelId="{39AB3F96-F0BD-4291-84F0-71F32D5C6878}" type="pres">
      <dgm:prSet presAssocID="{AB7C734C-57D8-418A-A7BA-FC3DBAB6632E}" presName="linNode" presStyleCnt="0"/>
      <dgm:spPr/>
    </dgm:pt>
    <dgm:pt modelId="{81C85442-E3E8-4A4D-A478-C17A6F5ED92E}" type="pres">
      <dgm:prSet presAssocID="{AB7C734C-57D8-418A-A7BA-FC3DBAB6632E}" presName="parentText" presStyleLbl="node1" presStyleIdx="0" presStyleCnt="7">
        <dgm:presLayoutVars>
          <dgm:chMax val="1"/>
          <dgm:bulletEnabled val="1"/>
        </dgm:presLayoutVars>
      </dgm:prSet>
      <dgm:spPr/>
    </dgm:pt>
    <dgm:pt modelId="{704B7BB6-230A-44C3-827C-FC9A66E42C4D}" type="pres">
      <dgm:prSet presAssocID="{CB389680-B947-42FC-8676-BF29230A4361}" presName="sp" presStyleCnt="0"/>
      <dgm:spPr/>
    </dgm:pt>
    <dgm:pt modelId="{A9B489A4-433D-4C63-B8B5-F1C8D48158D2}" type="pres">
      <dgm:prSet presAssocID="{6088DFE2-165F-4116-B269-A75A1425F215}" presName="linNode" presStyleCnt="0"/>
      <dgm:spPr/>
    </dgm:pt>
    <dgm:pt modelId="{E7235D1C-E608-448A-8ACD-35F78575CCAA}" type="pres">
      <dgm:prSet presAssocID="{6088DFE2-165F-4116-B269-A75A1425F215}" presName="parentText" presStyleLbl="node1" presStyleIdx="1" presStyleCnt="7">
        <dgm:presLayoutVars>
          <dgm:chMax val="1"/>
          <dgm:bulletEnabled val="1"/>
        </dgm:presLayoutVars>
      </dgm:prSet>
      <dgm:spPr/>
    </dgm:pt>
    <dgm:pt modelId="{5EDDA710-9D4E-444D-A51E-F9AF4E4A2299}" type="pres">
      <dgm:prSet presAssocID="{E1C5E789-929C-4230-9BE9-92F125B6C413}" presName="sp" presStyleCnt="0"/>
      <dgm:spPr/>
    </dgm:pt>
    <dgm:pt modelId="{5DE41F6E-9B49-4B2A-8C54-802D820CF9C0}" type="pres">
      <dgm:prSet presAssocID="{7B46207F-9412-426C-B340-B5AAEEC28C3C}" presName="linNode" presStyleCnt="0"/>
      <dgm:spPr/>
    </dgm:pt>
    <dgm:pt modelId="{0D36EB43-3423-4B18-AAFF-3754E23D65B4}" type="pres">
      <dgm:prSet presAssocID="{7B46207F-9412-426C-B340-B5AAEEC28C3C}" presName="parentText" presStyleLbl="node1" presStyleIdx="2" presStyleCnt="7">
        <dgm:presLayoutVars>
          <dgm:chMax val="1"/>
          <dgm:bulletEnabled val="1"/>
        </dgm:presLayoutVars>
      </dgm:prSet>
      <dgm:spPr/>
    </dgm:pt>
    <dgm:pt modelId="{7F494E53-B0D4-46D6-AF86-27BD698C01C8}" type="pres">
      <dgm:prSet presAssocID="{3A307A26-8777-401F-92D9-032CEF87EC75}" presName="sp" presStyleCnt="0"/>
      <dgm:spPr/>
    </dgm:pt>
    <dgm:pt modelId="{4740394B-37B9-4195-8825-4D4B348399EC}" type="pres">
      <dgm:prSet presAssocID="{735E40A9-9783-4A9B-B501-52E56ED7DFEE}" presName="linNode" presStyleCnt="0"/>
      <dgm:spPr/>
    </dgm:pt>
    <dgm:pt modelId="{2A0CA5D4-E0B4-44A1-B59C-CBB65A7953ED}" type="pres">
      <dgm:prSet presAssocID="{735E40A9-9783-4A9B-B501-52E56ED7DFEE}" presName="parentText" presStyleLbl="node1" presStyleIdx="3" presStyleCnt="7">
        <dgm:presLayoutVars>
          <dgm:chMax val="1"/>
          <dgm:bulletEnabled val="1"/>
        </dgm:presLayoutVars>
      </dgm:prSet>
      <dgm:spPr/>
    </dgm:pt>
    <dgm:pt modelId="{7CC2F23D-655E-4991-BA28-03E3A2042AF7}" type="pres">
      <dgm:prSet presAssocID="{BD3B53C0-A271-49AE-B082-3C536C82404D}" presName="sp" presStyleCnt="0"/>
      <dgm:spPr/>
    </dgm:pt>
    <dgm:pt modelId="{CD84476F-7973-453F-8094-71DF114742FD}" type="pres">
      <dgm:prSet presAssocID="{EE99B2D6-88BB-49C6-BA4E-386CAD743E2D}" presName="linNode" presStyleCnt="0"/>
      <dgm:spPr/>
    </dgm:pt>
    <dgm:pt modelId="{73984FF6-33A7-4E4D-9C2D-CF965A869C4A}" type="pres">
      <dgm:prSet presAssocID="{EE99B2D6-88BB-49C6-BA4E-386CAD743E2D}" presName="parentText" presStyleLbl="node1" presStyleIdx="4" presStyleCnt="7">
        <dgm:presLayoutVars>
          <dgm:chMax val="1"/>
          <dgm:bulletEnabled val="1"/>
        </dgm:presLayoutVars>
      </dgm:prSet>
      <dgm:spPr/>
    </dgm:pt>
    <dgm:pt modelId="{C1BAB586-E658-4F18-AD26-72A36B39C4CB}" type="pres">
      <dgm:prSet presAssocID="{A847FCF1-2FF2-4839-AEFB-98FD27B5A487}" presName="sp" presStyleCnt="0"/>
      <dgm:spPr/>
    </dgm:pt>
    <dgm:pt modelId="{011B010A-61B7-430C-900C-30D30004C8C6}" type="pres">
      <dgm:prSet presAssocID="{C32F3CD0-05C4-434A-995D-13A6452E5D00}" presName="linNode" presStyleCnt="0"/>
      <dgm:spPr/>
    </dgm:pt>
    <dgm:pt modelId="{47D7701D-B985-426F-8484-6575E8E2AA83}" type="pres">
      <dgm:prSet presAssocID="{C32F3CD0-05C4-434A-995D-13A6452E5D00}" presName="parentText" presStyleLbl="node1" presStyleIdx="5" presStyleCnt="7">
        <dgm:presLayoutVars>
          <dgm:chMax val="1"/>
          <dgm:bulletEnabled val="1"/>
        </dgm:presLayoutVars>
      </dgm:prSet>
      <dgm:spPr/>
    </dgm:pt>
    <dgm:pt modelId="{40700C7D-215F-46DB-8702-93B132F5C6C0}" type="pres">
      <dgm:prSet presAssocID="{82C0E315-2185-4509-B70E-3407D7E67861}" presName="sp" presStyleCnt="0"/>
      <dgm:spPr/>
    </dgm:pt>
    <dgm:pt modelId="{D74F4661-9817-4F39-94B5-AC8996DDC175}" type="pres">
      <dgm:prSet presAssocID="{8C37C2F1-F5D6-45B7-8875-EC33315DCF1C}" presName="linNode" presStyleCnt="0"/>
      <dgm:spPr/>
    </dgm:pt>
    <dgm:pt modelId="{60E38A29-B029-47D0-9B6F-842CE7675D40}" type="pres">
      <dgm:prSet presAssocID="{8C37C2F1-F5D6-45B7-8875-EC33315DCF1C}" presName="parentText" presStyleLbl="node1" presStyleIdx="6" presStyleCnt="7">
        <dgm:presLayoutVars>
          <dgm:chMax val="1"/>
          <dgm:bulletEnabled val="1"/>
        </dgm:presLayoutVars>
      </dgm:prSet>
      <dgm:spPr/>
    </dgm:pt>
  </dgm:ptLst>
  <dgm:cxnLst>
    <dgm:cxn modelId="{F9D6D007-6FF3-4ECD-9135-F858CE169181}" srcId="{B5E70E3F-E1C8-4925-9FA2-D00B2EA31658}" destId="{735E40A9-9783-4A9B-B501-52E56ED7DFEE}" srcOrd="3" destOrd="0" parTransId="{83813102-EC38-47DB-8E16-747C1308B3F8}" sibTransId="{BD3B53C0-A271-49AE-B082-3C536C82404D}"/>
    <dgm:cxn modelId="{1857090F-7078-49F9-B612-F0F36B2EAEA3}" srcId="{B5E70E3F-E1C8-4925-9FA2-D00B2EA31658}" destId="{6088DFE2-165F-4116-B269-A75A1425F215}" srcOrd="1" destOrd="0" parTransId="{6E33FC38-D960-4DFD-83AA-C1FA14F1BB1A}" sibTransId="{E1C5E789-929C-4230-9BE9-92F125B6C413}"/>
    <dgm:cxn modelId="{DB915A3B-F4D3-4161-A824-E9F68F4C1D29}" srcId="{B5E70E3F-E1C8-4925-9FA2-D00B2EA31658}" destId="{EE99B2D6-88BB-49C6-BA4E-386CAD743E2D}" srcOrd="4" destOrd="0" parTransId="{C68DF459-E78B-4120-B48D-878F926F7D5A}" sibTransId="{A847FCF1-2FF2-4839-AEFB-98FD27B5A487}"/>
    <dgm:cxn modelId="{F56F5B59-925D-4CD2-8CF5-EA9C8B2838D3}" type="presOf" srcId="{AB7C734C-57D8-418A-A7BA-FC3DBAB6632E}" destId="{81C85442-E3E8-4A4D-A478-C17A6F5ED92E}" srcOrd="0" destOrd="0" presId="urn:microsoft.com/office/officeart/2005/8/layout/vList5"/>
    <dgm:cxn modelId="{333EE291-934F-4097-B97E-734756A3E690}" type="presOf" srcId="{EE99B2D6-88BB-49C6-BA4E-386CAD743E2D}" destId="{73984FF6-33A7-4E4D-9C2D-CF965A869C4A}" srcOrd="0" destOrd="0" presId="urn:microsoft.com/office/officeart/2005/8/layout/vList5"/>
    <dgm:cxn modelId="{3644E6A1-29E7-49DC-9748-B6E306A07651}" srcId="{B5E70E3F-E1C8-4925-9FA2-D00B2EA31658}" destId="{8C37C2F1-F5D6-45B7-8875-EC33315DCF1C}" srcOrd="6" destOrd="0" parTransId="{AE4BEC55-236B-455A-B379-5D9FFF4DD6C8}" sibTransId="{3217235E-588A-4AE9-87EE-A92EFF77AA35}"/>
    <dgm:cxn modelId="{3C3E59AA-71F8-428D-BE87-6158040E3158}" srcId="{B5E70E3F-E1C8-4925-9FA2-D00B2EA31658}" destId="{C32F3CD0-05C4-434A-995D-13A6452E5D00}" srcOrd="5" destOrd="0" parTransId="{591BE67D-A14A-4896-AA0D-7A36866FB69F}" sibTransId="{82C0E315-2185-4509-B70E-3407D7E67861}"/>
    <dgm:cxn modelId="{8E46C4BB-4852-410A-880B-838875CBDAF5}" type="presOf" srcId="{C32F3CD0-05C4-434A-995D-13A6452E5D00}" destId="{47D7701D-B985-426F-8484-6575E8E2AA83}" srcOrd="0" destOrd="0" presId="urn:microsoft.com/office/officeart/2005/8/layout/vList5"/>
    <dgm:cxn modelId="{46C12FC3-7F72-460E-B902-286659B6403B}" type="presOf" srcId="{6088DFE2-165F-4116-B269-A75A1425F215}" destId="{E7235D1C-E608-448A-8ACD-35F78575CCAA}" srcOrd="0" destOrd="0" presId="urn:microsoft.com/office/officeart/2005/8/layout/vList5"/>
    <dgm:cxn modelId="{705872C3-26EE-4759-9638-EAFCEE73870D}" srcId="{B5E70E3F-E1C8-4925-9FA2-D00B2EA31658}" destId="{7B46207F-9412-426C-B340-B5AAEEC28C3C}" srcOrd="2" destOrd="0" parTransId="{83987AAE-FA5C-4335-8258-F75899D66A40}" sibTransId="{3A307A26-8777-401F-92D9-032CEF87EC75}"/>
    <dgm:cxn modelId="{D13E9CD3-97BE-477F-81C9-506B4E9CEE0F}" type="presOf" srcId="{8C37C2F1-F5D6-45B7-8875-EC33315DCF1C}" destId="{60E38A29-B029-47D0-9B6F-842CE7675D40}" srcOrd="0" destOrd="0" presId="urn:microsoft.com/office/officeart/2005/8/layout/vList5"/>
    <dgm:cxn modelId="{9B4AEAD8-3C61-43B1-A7A9-01C1586DD358}" srcId="{B5E70E3F-E1C8-4925-9FA2-D00B2EA31658}" destId="{AB7C734C-57D8-418A-A7BA-FC3DBAB6632E}" srcOrd="0" destOrd="0" parTransId="{866018AB-8484-41BF-ADA4-72B45F233D63}" sibTransId="{CB389680-B947-42FC-8676-BF29230A4361}"/>
    <dgm:cxn modelId="{ACA5C9DA-3165-4810-86FA-3C45E30D8E26}" type="presOf" srcId="{7B46207F-9412-426C-B340-B5AAEEC28C3C}" destId="{0D36EB43-3423-4B18-AAFF-3754E23D65B4}" srcOrd="0" destOrd="0" presId="urn:microsoft.com/office/officeart/2005/8/layout/vList5"/>
    <dgm:cxn modelId="{A7CBDEDC-12E9-4242-BF9C-2FA85C3069FF}" type="presOf" srcId="{B5E70E3F-E1C8-4925-9FA2-D00B2EA31658}" destId="{A30A9448-2DEF-4CDC-81EB-F4F33DA3ECCD}" srcOrd="0" destOrd="0" presId="urn:microsoft.com/office/officeart/2005/8/layout/vList5"/>
    <dgm:cxn modelId="{34102FE7-47C2-47FA-B5E2-25AC5544B205}" type="presOf" srcId="{735E40A9-9783-4A9B-B501-52E56ED7DFEE}" destId="{2A0CA5D4-E0B4-44A1-B59C-CBB65A7953ED}" srcOrd="0" destOrd="0" presId="urn:microsoft.com/office/officeart/2005/8/layout/vList5"/>
    <dgm:cxn modelId="{6E9D4826-7AF9-4EC2-B218-9C3C01939DCF}" type="presParOf" srcId="{A30A9448-2DEF-4CDC-81EB-F4F33DA3ECCD}" destId="{39AB3F96-F0BD-4291-84F0-71F32D5C6878}" srcOrd="0" destOrd="0" presId="urn:microsoft.com/office/officeart/2005/8/layout/vList5"/>
    <dgm:cxn modelId="{240D7C5F-48E1-44AC-AD45-CEE6ED76BE2D}" type="presParOf" srcId="{39AB3F96-F0BD-4291-84F0-71F32D5C6878}" destId="{81C85442-E3E8-4A4D-A478-C17A6F5ED92E}" srcOrd="0" destOrd="0" presId="urn:microsoft.com/office/officeart/2005/8/layout/vList5"/>
    <dgm:cxn modelId="{8FEAC08F-4A22-429C-8873-B79CEEA39290}" type="presParOf" srcId="{A30A9448-2DEF-4CDC-81EB-F4F33DA3ECCD}" destId="{704B7BB6-230A-44C3-827C-FC9A66E42C4D}" srcOrd="1" destOrd="0" presId="urn:microsoft.com/office/officeart/2005/8/layout/vList5"/>
    <dgm:cxn modelId="{A132D4E0-0C25-495F-B028-D0FFDEF2F3A8}" type="presParOf" srcId="{A30A9448-2DEF-4CDC-81EB-F4F33DA3ECCD}" destId="{A9B489A4-433D-4C63-B8B5-F1C8D48158D2}" srcOrd="2" destOrd="0" presId="urn:microsoft.com/office/officeart/2005/8/layout/vList5"/>
    <dgm:cxn modelId="{A17975C1-BCB6-454A-9757-42F2152F82C2}" type="presParOf" srcId="{A9B489A4-433D-4C63-B8B5-F1C8D48158D2}" destId="{E7235D1C-E608-448A-8ACD-35F78575CCAA}" srcOrd="0" destOrd="0" presId="urn:microsoft.com/office/officeart/2005/8/layout/vList5"/>
    <dgm:cxn modelId="{570EDCE4-16D6-45DF-AB22-30ACC6294E0C}" type="presParOf" srcId="{A30A9448-2DEF-4CDC-81EB-F4F33DA3ECCD}" destId="{5EDDA710-9D4E-444D-A51E-F9AF4E4A2299}" srcOrd="3" destOrd="0" presId="urn:microsoft.com/office/officeart/2005/8/layout/vList5"/>
    <dgm:cxn modelId="{2277E57A-0080-419F-A020-214BDB526B82}" type="presParOf" srcId="{A30A9448-2DEF-4CDC-81EB-F4F33DA3ECCD}" destId="{5DE41F6E-9B49-4B2A-8C54-802D820CF9C0}" srcOrd="4" destOrd="0" presId="urn:microsoft.com/office/officeart/2005/8/layout/vList5"/>
    <dgm:cxn modelId="{535873AC-C4DD-4312-8938-8CF9756EAAEF}" type="presParOf" srcId="{5DE41F6E-9B49-4B2A-8C54-802D820CF9C0}" destId="{0D36EB43-3423-4B18-AAFF-3754E23D65B4}" srcOrd="0" destOrd="0" presId="urn:microsoft.com/office/officeart/2005/8/layout/vList5"/>
    <dgm:cxn modelId="{5AD7A552-3107-41A4-95CE-00A1C30FF55C}" type="presParOf" srcId="{A30A9448-2DEF-4CDC-81EB-F4F33DA3ECCD}" destId="{7F494E53-B0D4-46D6-AF86-27BD698C01C8}" srcOrd="5" destOrd="0" presId="urn:microsoft.com/office/officeart/2005/8/layout/vList5"/>
    <dgm:cxn modelId="{F41D9207-1C25-4B43-9A97-F8A9E579CDC0}" type="presParOf" srcId="{A30A9448-2DEF-4CDC-81EB-F4F33DA3ECCD}" destId="{4740394B-37B9-4195-8825-4D4B348399EC}" srcOrd="6" destOrd="0" presId="urn:microsoft.com/office/officeart/2005/8/layout/vList5"/>
    <dgm:cxn modelId="{359F9FDC-45AF-4A67-947B-99A5DCA6C650}" type="presParOf" srcId="{4740394B-37B9-4195-8825-4D4B348399EC}" destId="{2A0CA5D4-E0B4-44A1-B59C-CBB65A7953ED}" srcOrd="0" destOrd="0" presId="urn:microsoft.com/office/officeart/2005/8/layout/vList5"/>
    <dgm:cxn modelId="{9A58E6D8-D2D8-461B-A1D7-B48F27BE682D}" type="presParOf" srcId="{A30A9448-2DEF-4CDC-81EB-F4F33DA3ECCD}" destId="{7CC2F23D-655E-4991-BA28-03E3A2042AF7}" srcOrd="7" destOrd="0" presId="urn:microsoft.com/office/officeart/2005/8/layout/vList5"/>
    <dgm:cxn modelId="{FF5B0F73-287B-4BED-9438-D767C78EA747}" type="presParOf" srcId="{A30A9448-2DEF-4CDC-81EB-F4F33DA3ECCD}" destId="{CD84476F-7973-453F-8094-71DF114742FD}" srcOrd="8" destOrd="0" presId="urn:microsoft.com/office/officeart/2005/8/layout/vList5"/>
    <dgm:cxn modelId="{872A3114-47D9-4B73-A10E-0EDDE6A12D1E}" type="presParOf" srcId="{CD84476F-7973-453F-8094-71DF114742FD}" destId="{73984FF6-33A7-4E4D-9C2D-CF965A869C4A}" srcOrd="0" destOrd="0" presId="urn:microsoft.com/office/officeart/2005/8/layout/vList5"/>
    <dgm:cxn modelId="{D8850A7F-465E-416F-B385-5EA04C115511}" type="presParOf" srcId="{A30A9448-2DEF-4CDC-81EB-F4F33DA3ECCD}" destId="{C1BAB586-E658-4F18-AD26-72A36B39C4CB}" srcOrd="9" destOrd="0" presId="urn:microsoft.com/office/officeart/2005/8/layout/vList5"/>
    <dgm:cxn modelId="{0BE40A65-92FB-458E-8250-101F15807FC2}" type="presParOf" srcId="{A30A9448-2DEF-4CDC-81EB-F4F33DA3ECCD}" destId="{011B010A-61B7-430C-900C-30D30004C8C6}" srcOrd="10" destOrd="0" presId="urn:microsoft.com/office/officeart/2005/8/layout/vList5"/>
    <dgm:cxn modelId="{AA574B5B-B081-4A18-8EA3-B2E4EB025ABE}" type="presParOf" srcId="{011B010A-61B7-430C-900C-30D30004C8C6}" destId="{47D7701D-B985-426F-8484-6575E8E2AA83}" srcOrd="0" destOrd="0" presId="urn:microsoft.com/office/officeart/2005/8/layout/vList5"/>
    <dgm:cxn modelId="{1DD631B3-8DCD-4DAF-9CD9-83BFFDEDE51A}" type="presParOf" srcId="{A30A9448-2DEF-4CDC-81EB-F4F33DA3ECCD}" destId="{40700C7D-215F-46DB-8702-93B132F5C6C0}" srcOrd="11" destOrd="0" presId="urn:microsoft.com/office/officeart/2005/8/layout/vList5"/>
    <dgm:cxn modelId="{10729259-E840-4E79-AEB3-EB3EFBEF3746}" type="presParOf" srcId="{A30A9448-2DEF-4CDC-81EB-F4F33DA3ECCD}" destId="{D74F4661-9817-4F39-94B5-AC8996DDC175}" srcOrd="12" destOrd="0" presId="urn:microsoft.com/office/officeart/2005/8/layout/vList5"/>
    <dgm:cxn modelId="{81E93E7D-E187-4EEE-AF8F-D890DF24DDE1}" type="presParOf" srcId="{D74F4661-9817-4F39-94B5-AC8996DDC175}" destId="{60E38A29-B029-47D0-9B6F-842CE7675D40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676BE3A-6E51-4F93-97B6-239008766F71}" type="doc">
      <dgm:prSet loTypeId="urn:microsoft.com/office/officeart/2005/8/layout/lProcess3" loCatId="process" qsTypeId="urn:microsoft.com/office/officeart/2005/8/quickstyle/3d9" qsCatId="3D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D25D60E5-1B9B-4B9F-856A-454B4FF195ED}">
      <dgm:prSet custT="1"/>
      <dgm:spPr>
        <a:solidFill>
          <a:srgbClr val="000099"/>
        </a:solidFill>
      </dgm:spPr>
      <dgm:t>
        <a:bodyPr/>
        <a:lstStyle/>
        <a:p>
          <a:r>
            <a:rPr lang="en-GB" sz="2400" b="1" i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ADT </a:t>
          </a:r>
          <a:r>
            <a:rPr lang="en-GB" sz="2400" b="1" i="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yıllardır</a:t>
          </a:r>
          <a:r>
            <a:rPr lang="en-GB" sz="2400" b="1" i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en-GB" sz="2400" b="1" i="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tandart</a:t>
          </a:r>
          <a:endParaRPr lang="en-GB" sz="2400" b="1" i="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A0D7A1D-E58D-44E3-868A-4FA79F019572}" type="parTrans" cxnId="{9C5F1E6C-92AA-46AF-8EA6-674A11F9A6A1}">
      <dgm:prSet/>
      <dgm:spPr/>
      <dgm:t>
        <a:bodyPr/>
        <a:lstStyle/>
        <a:p>
          <a:endParaRPr lang="en-GB"/>
        </a:p>
      </dgm:t>
    </dgm:pt>
    <dgm:pt modelId="{8F2887F4-F165-4C49-BB1B-E77FDBD1FCCF}" type="sibTrans" cxnId="{9C5F1E6C-92AA-46AF-8EA6-674A11F9A6A1}">
      <dgm:prSet/>
      <dgm:spPr/>
      <dgm:t>
        <a:bodyPr/>
        <a:lstStyle/>
        <a:p>
          <a:endParaRPr lang="en-GB"/>
        </a:p>
      </dgm:t>
    </dgm:pt>
    <dgm:pt modelId="{E85A9AC5-9BD5-4998-9165-73B33F2055F8}">
      <dgm:prSet custT="1"/>
      <dgm:spPr>
        <a:solidFill>
          <a:srgbClr val="000099"/>
        </a:solidFill>
      </dgm:spPr>
      <dgm:t>
        <a:bodyPr/>
        <a:lstStyle/>
        <a:p>
          <a:r>
            <a:rPr lang="en-GB" sz="2400" b="1" i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ürekli tedavi ilk öneri</a:t>
          </a:r>
        </a:p>
      </dgm:t>
    </dgm:pt>
    <dgm:pt modelId="{DF1EB374-16C1-4B89-815A-C5E6D18BF905}" type="parTrans" cxnId="{AC0A8350-C2E1-4CDE-95FF-9EA7E7A743F4}">
      <dgm:prSet/>
      <dgm:spPr/>
      <dgm:t>
        <a:bodyPr/>
        <a:lstStyle/>
        <a:p>
          <a:endParaRPr lang="en-GB"/>
        </a:p>
      </dgm:t>
    </dgm:pt>
    <dgm:pt modelId="{4B45548E-D6C0-4710-B97F-CE9E263CA2E0}" type="sibTrans" cxnId="{AC0A8350-C2E1-4CDE-95FF-9EA7E7A743F4}">
      <dgm:prSet/>
      <dgm:spPr/>
      <dgm:t>
        <a:bodyPr/>
        <a:lstStyle/>
        <a:p>
          <a:endParaRPr lang="en-GB"/>
        </a:p>
      </dgm:t>
    </dgm:pt>
    <dgm:pt modelId="{54A0F49A-BA7F-468E-B305-1CCEEE7ED9D3}">
      <dgm:prSet custT="1"/>
      <dgm:spPr>
        <a:solidFill>
          <a:srgbClr val="000099"/>
        </a:solidFill>
      </dgm:spPr>
      <dgm:t>
        <a:bodyPr/>
        <a:lstStyle/>
        <a:p>
          <a:r>
            <a:rPr lang="en-GB" sz="2400" b="1" i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Kombine blokaj toksik yeterince güçlü etkili değil</a:t>
          </a:r>
        </a:p>
      </dgm:t>
    </dgm:pt>
    <dgm:pt modelId="{4AC144EB-413D-4160-9FAA-2E1A37BCE124}" type="parTrans" cxnId="{4AC37791-1E53-41CE-9D41-2FECB371F339}">
      <dgm:prSet/>
      <dgm:spPr/>
      <dgm:t>
        <a:bodyPr/>
        <a:lstStyle/>
        <a:p>
          <a:endParaRPr lang="en-GB"/>
        </a:p>
      </dgm:t>
    </dgm:pt>
    <dgm:pt modelId="{94A18525-262F-472E-AE9D-714727B178C8}" type="sibTrans" cxnId="{4AC37791-1E53-41CE-9D41-2FECB371F339}">
      <dgm:prSet/>
      <dgm:spPr/>
      <dgm:t>
        <a:bodyPr/>
        <a:lstStyle/>
        <a:p>
          <a:endParaRPr lang="en-GB"/>
        </a:p>
      </dgm:t>
    </dgm:pt>
    <dgm:pt modelId="{9AC438CD-B2B9-4B6D-AFF2-0F0A35F69791}" type="pres">
      <dgm:prSet presAssocID="{1676BE3A-6E51-4F93-97B6-239008766F71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594EBDCF-E8AC-452C-ABA1-82EA73AC9DB1}" type="pres">
      <dgm:prSet presAssocID="{D25D60E5-1B9B-4B9F-856A-454B4FF195ED}" presName="horFlow" presStyleCnt="0"/>
      <dgm:spPr/>
    </dgm:pt>
    <dgm:pt modelId="{ED56572B-1618-4FEA-8B3C-601464419036}" type="pres">
      <dgm:prSet presAssocID="{D25D60E5-1B9B-4B9F-856A-454B4FF195ED}" presName="bigChev" presStyleLbl="node1" presStyleIdx="0" presStyleCnt="3"/>
      <dgm:spPr/>
    </dgm:pt>
    <dgm:pt modelId="{6E74D395-9915-4E93-AC90-DE8A3B01BC59}" type="pres">
      <dgm:prSet presAssocID="{D25D60E5-1B9B-4B9F-856A-454B4FF195ED}" presName="vSp" presStyleCnt="0"/>
      <dgm:spPr/>
    </dgm:pt>
    <dgm:pt modelId="{61560BF9-F7E7-49D4-ADB5-225ACBB07E73}" type="pres">
      <dgm:prSet presAssocID="{E85A9AC5-9BD5-4998-9165-73B33F2055F8}" presName="horFlow" presStyleCnt="0"/>
      <dgm:spPr/>
    </dgm:pt>
    <dgm:pt modelId="{968CF13D-E166-4E6B-A29C-3F11DEA063D7}" type="pres">
      <dgm:prSet presAssocID="{E85A9AC5-9BD5-4998-9165-73B33F2055F8}" presName="bigChev" presStyleLbl="node1" presStyleIdx="1" presStyleCnt="3"/>
      <dgm:spPr/>
    </dgm:pt>
    <dgm:pt modelId="{94A18221-AEC4-4796-96E0-83977B8B6002}" type="pres">
      <dgm:prSet presAssocID="{E85A9AC5-9BD5-4998-9165-73B33F2055F8}" presName="vSp" presStyleCnt="0"/>
      <dgm:spPr/>
    </dgm:pt>
    <dgm:pt modelId="{0B6F3EC4-418F-4660-BF5D-A47A39CE53E8}" type="pres">
      <dgm:prSet presAssocID="{54A0F49A-BA7F-468E-B305-1CCEEE7ED9D3}" presName="horFlow" presStyleCnt="0"/>
      <dgm:spPr/>
    </dgm:pt>
    <dgm:pt modelId="{21C23B74-370B-4FF9-8E15-D9E6764FEBD6}" type="pres">
      <dgm:prSet presAssocID="{54A0F49A-BA7F-468E-B305-1CCEEE7ED9D3}" presName="bigChev" presStyleLbl="node1" presStyleIdx="2" presStyleCnt="3"/>
      <dgm:spPr/>
    </dgm:pt>
  </dgm:ptLst>
  <dgm:cxnLst>
    <dgm:cxn modelId="{DF2D3316-7369-47D5-9599-F2DB552D6A99}" type="presOf" srcId="{1676BE3A-6E51-4F93-97B6-239008766F71}" destId="{9AC438CD-B2B9-4B6D-AFF2-0F0A35F69791}" srcOrd="0" destOrd="0" presId="urn:microsoft.com/office/officeart/2005/8/layout/lProcess3"/>
    <dgm:cxn modelId="{A8C9C25B-86A1-4F62-82A7-C6F43C69D0CF}" type="presOf" srcId="{D25D60E5-1B9B-4B9F-856A-454B4FF195ED}" destId="{ED56572B-1618-4FEA-8B3C-601464419036}" srcOrd="0" destOrd="0" presId="urn:microsoft.com/office/officeart/2005/8/layout/lProcess3"/>
    <dgm:cxn modelId="{9C5F1E6C-92AA-46AF-8EA6-674A11F9A6A1}" srcId="{1676BE3A-6E51-4F93-97B6-239008766F71}" destId="{D25D60E5-1B9B-4B9F-856A-454B4FF195ED}" srcOrd="0" destOrd="0" parTransId="{CA0D7A1D-E58D-44E3-868A-4FA79F019572}" sibTransId="{8F2887F4-F165-4C49-BB1B-E77FDBD1FCCF}"/>
    <dgm:cxn modelId="{AC0A8350-C2E1-4CDE-95FF-9EA7E7A743F4}" srcId="{1676BE3A-6E51-4F93-97B6-239008766F71}" destId="{E85A9AC5-9BD5-4998-9165-73B33F2055F8}" srcOrd="1" destOrd="0" parTransId="{DF1EB374-16C1-4B89-815A-C5E6D18BF905}" sibTransId="{4B45548E-D6C0-4710-B97F-CE9E263CA2E0}"/>
    <dgm:cxn modelId="{4AC37791-1E53-41CE-9D41-2FECB371F339}" srcId="{1676BE3A-6E51-4F93-97B6-239008766F71}" destId="{54A0F49A-BA7F-468E-B305-1CCEEE7ED9D3}" srcOrd="2" destOrd="0" parTransId="{4AC144EB-413D-4160-9FAA-2E1A37BCE124}" sibTransId="{94A18525-262F-472E-AE9D-714727B178C8}"/>
    <dgm:cxn modelId="{3587EAC1-E4B0-49CE-B927-18C50EB0C4D8}" type="presOf" srcId="{54A0F49A-BA7F-468E-B305-1CCEEE7ED9D3}" destId="{21C23B74-370B-4FF9-8E15-D9E6764FEBD6}" srcOrd="0" destOrd="0" presId="urn:microsoft.com/office/officeart/2005/8/layout/lProcess3"/>
    <dgm:cxn modelId="{13B488E9-0AC7-437B-A538-3F9A12269686}" type="presOf" srcId="{E85A9AC5-9BD5-4998-9165-73B33F2055F8}" destId="{968CF13D-E166-4E6B-A29C-3F11DEA063D7}" srcOrd="0" destOrd="0" presId="urn:microsoft.com/office/officeart/2005/8/layout/lProcess3"/>
    <dgm:cxn modelId="{7AD502C9-8901-4476-A12F-3E6C693A783B}" type="presParOf" srcId="{9AC438CD-B2B9-4B6D-AFF2-0F0A35F69791}" destId="{594EBDCF-E8AC-452C-ABA1-82EA73AC9DB1}" srcOrd="0" destOrd="0" presId="urn:microsoft.com/office/officeart/2005/8/layout/lProcess3"/>
    <dgm:cxn modelId="{C6A8E9AD-9A19-4A82-BC7C-77F5C2B65591}" type="presParOf" srcId="{594EBDCF-E8AC-452C-ABA1-82EA73AC9DB1}" destId="{ED56572B-1618-4FEA-8B3C-601464419036}" srcOrd="0" destOrd="0" presId="urn:microsoft.com/office/officeart/2005/8/layout/lProcess3"/>
    <dgm:cxn modelId="{C1200767-D067-468E-BBCC-37DA1894CC01}" type="presParOf" srcId="{9AC438CD-B2B9-4B6D-AFF2-0F0A35F69791}" destId="{6E74D395-9915-4E93-AC90-DE8A3B01BC59}" srcOrd="1" destOrd="0" presId="urn:microsoft.com/office/officeart/2005/8/layout/lProcess3"/>
    <dgm:cxn modelId="{C449F846-14D8-4B2B-A1BD-4981EE74F1E5}" type="presParOf" srcId="{9AC438CD-B2B9-4B6D-AFF2-0F0A35F69791}" destId="{61560BF9-F7E7-49D4-ADB5-225ACBB07E73}" srcOrd="2" destOrd="0" presId="urn:microsoft.com/office/officeart/2005/8/layout/lProcess3"/>
    <dgm:cxn modelId="{0D03E7DA-3372-4FD3-B0E2-5B0B0D80FEE2}" type="presParOf" srcId="{61560BF9-F7E7-49D4-ADB5-225ACBB07E73}" destId="{968CF13D-E166-4E6B-A29C-3F11DEA063D7}" srcOrd="0" destOrd="0" presId="urn:microsoft.com/office/officeart/2005/8/layout/lProcess3"/>
    <dgm:cxn modelId="{6E666047-4268-43A9-B8F0-7EA9A09D98CF}" type="presParOf" srcId="{9AC438CD-B2B9-4B6D-AFF2-0F0A35F69791}" destId="{94A18221-AEC4-4796-96E0-83977B8B6002}" srcOrd="3" destOrd="0" presId="urn:microsoft.com/office/officeart/2005/8/layout/lProcess3"/>
    <dgm:cxn modelId="{45A065FE-C435-4C32-B713-065089681B95}" type="presParOf" srcId="{9AC438CD-B2B9-4B6D-AFF2-0F0A35F69791}" destId="{0B6F3EC4-418F-4660-BF5D-A47A39CE53E8}" srcOrd="4" destOrd="0" presId="urn:microsoft.com/office/officeart/2005/8/layout/lProcess3"/>
    <dgm:cxn modelId="{E8FBFD1A-82AF-44FB-A15E-D9A9B61E9DC2}" type="presParOf" srcId="{0B6F3EC4-418F-4660-BF5D-A47A39CE53E8}" destId="{21C23B74-370B-4FF9-8E15-D9E6764FEBD6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F24762E-99DD-4A45-AD8B-4C5B307A7768}" type="doc">
      <dgm:prSet loTypeId="urn:microsoft.com/office/officeart/2005/8/layout/orgChart1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212C4D7A-427A-43F7-81A5-71061C075001}">
      <dgm:prSet/>
      <dgm:spPr>
        <a:solidFill>
          <a:schemeClr val="tx2">
            <a:lumMod val="95000"/>
            <a:lumOff val="5000"/>
          </a:schemeClr>
        </a:solidFill>
      </dgm:spPr>
      <dgm:t>
        <a:bodyPr/>
        <a:lstStyle/>
        <a:p>
          <a:r>
            <a:rPr lang="en-GB" b="1" dirty="0" err="1"/>
            <a:t>Etkinliği</a:t>
          </a:r>
          <a:r>
            <a:rPr lang="en-GB" b="1" dirty="0"/>
            <a:t> </a:t>
          </a:r>
          <a:r>
            <a:rPr lang="en-GB" b="1" dirty="0" err="1"/>
            <a:t>görülen</a:t>
          </a:r>
          <a:r>
            <a:rPr lang="en-GB" b="1" dirty="0"/>
            <a:t> </a:t>
          </a:r>
          <a:r>
            <a:rPr lang="en-GB" b="1" dirty="0" err="1"/>
            <a:t>bir</a:t>
          </a:r>
          <a:r>
            <a:rPr lang="en-GB" b="1" dirty="0"/>
            <a:t> </a:t>
          </a:r>
          <a:r>
            <a:rPr lang="en-GB" b="1" dirty="0" err="1"/>
            <a:t>ilaç</a:t>
          </a:r>
          <a:r>
            <a:rPr lang="en-GB" b="1" dirty="0"/>
            <a:t> </a:t>
          </a:r>
          <a:r>
            <a:rPr lang="en-GB" b="1" dirty="0" err="1"/>
            <a:t>aynı</a:t>
          </a:r>
          <a:r>
            <a:rPr lang="en-GB" b="1" dirty="0"/>
            <a:t> </a:t>
          </a:r>
          <a:r>
            <a:rPr lang="en-GB" b="1" dirty="0" err="1"/>
            <a:t>alanda</a:t>
          </a:r>
          <a:r>
            <a:rPr lang="en-GB" b="1" dirty="0"/>
            <a:t> </a:t>
          </a:r>
          <a:r>
            <a:rPr lang="en-GB" b="1" dirty="0" err="1"/>
            <a:t>daha</a:t>
          </a:r>
          <a:r>
            <a:rPr lang="en-GB" b="1" dirty="0"/>
            <a:t> </a:t>
          </a:r>
          <a:r>
            <a:rPr lang="en-GB" b="1" dirty="0" err="1"/>
            <a:t>ileri</a:t>
          </a:r>
          <a:r>
            <a:rPr lang="en-GB" b="1" dirty="0"/>
            <a:t> </a:t>
          </a:r>
          <a:r>
            <a:rPr lang="en-GB" b="1" dirty="0" err="1"/>
            <a:t>incelemeye</a:t>
          </a:r>
          <a:r>
            <a:rPr lang="en-GB" b="1" dirty="0"/>
            <a:t> </a:t>
          </a:r>
          <a:r>
            <a:rPr lang="en-GB" b="1" dirty="0" err="1"/>
            <a:t>gitmezler</a:t>
          </a:r>
          <a:endParaRPr lang="en-GB" b="1" dirty="0"/>
        </a:p>
      </dgm:t>
    </dgm:pt>
    <dgm:pt modelId="{8F93EA81-516A-4649-9486-026A62B13648}" type="parTrans" cxnId="{16E08246-0FB0-4CA7-A157-E9709A3DD4C8}">
      <dgm:prSet/>
      <dgm:spPr/>
      <dgm:t>
        <a:bodyPr/>
        <a:lstStyle/>
        <a:p>
          <a:endParaRPr lang="en-GB" b="1"/>
        </a:p>
      </dgm:t>
    </dgm:pt>
    <dgm:pt modelId="{A59ECD8F-5966-41AF-BF9B-27FDB4ADCE36}" type="sibTrans" cxnId="{16E08246-0FB0-4CA7-A157-E9709A3DD4C8}">
      <dgm:prSet/>
      <dgm:spPr/>
      <dgm:t>
        <a:bodyPr/>
        <a:lstStyle/>
        <a:p>
          <a:endParaRPr lang="en-GB" b="1"/>
        </a:p>
      </dgm:t>
    </dgm:pt>
    <dgm:pt modelId="{3ACC580F-09C2-4DAF-84D8-B60EA4DCBC5C}">
      <dgm:prSet/>
      <dgm:spPr/>
      <dgm:t>
        <a:bodyPr/>
        <a:lstStyle/>
        <a:p>
          <a:r>
            <a:rPr lang="en-GB" b="1"/>
            <a:t>Artık satış dönemidir</a:t>
          </a:r>
        </a:p>
      </dgm:t>
    </dgm:pt>
    <dgm:pt modelId="{EF5706F1-EB06-43D1-8E47-8896328DF1B5}" type="parTrans" cxnId="{E6ECAF50-3E35-497A-B7C7-1D59D108037B}">
      <dgm:prSet/>
      <dgm:spPr/>
      <dgm:t>
        <a:bodyPr/>
        <a:lstStyle/>
        <a:p>
          <a:endParaRPr lang="en-GB" b="1"/>
        </a:p>
      </dgm:t>
    </dgm:pt>
    <dgm:pt modelId="{AC68DDFF-108F-4DFD-BDC8-B09C52209376}" type="sibTrans" cxnId="{E6ECAF50-3E35-497A-B7C7-1D59D108037B}">
      <dgm:prSet/>
      <dgm:spPr/>
      <dgm:t>
        <a:bodyPr/>
        <a:lstStyle/>
        <a:p>
          <a:endParaRPr lang="en-GB" b="1"/>
        </a:p>
      </dgm:t>
    </dgm:pt>
    <dgm:pt modelId="{C2466919-07F6-4787-9B0A-B353335B91BB}">
      <dgm:prSet/>
      <dgm:spPr/>
      <dgm:t>
        <a:bodyPr/>
        <a:lstStyle/>
        <a:p>
          <a:r>
            <a:rPr lang="en-GB" b="1"/>
            <a:t>Akademik çalışmlara ihtiyaç vardır</a:t>
          </a:r>
        </a:p>
      </dgm:t>
    </dgm:pt>
    <dgm:pt modelId="{EE69E59C-1ACD-4965-ABFF-D9241B74B488}" type="parTrans" cxnId="{9324E7C5-0FA5-4FD0-8D26-5D4B3060D19B}">
      <dgm:prSet/>
      <dgm:spPr/>
      <dgm:t>
        <a:bodyPr/>
        <a:lstStyle/>
        <a:p>
          <a:endParaRPr lang="en-GB" b="1"/>
        </a:p>
      </dgm:t>
    </dgm:pt>
    <dgm:pt modelId="{3E152FC0-EFC9-419C-AD8A-C55FF5F25DD5}" type="sibTrans" cxnId="{9324E7C5-0FA5-4FD0-8D26-5D4B3060D19B}">
      <dgm:prSet/>
      <dgm:spPr/>
      <dgm:t>
        <a:bodyPr/>
        <a:lstStyle/>
        <a:p>
          <a:endParaRPr lang="en-GB" b="1"/>
        </a:p>
      </dgm:t>
    </dgm:pt>
    <dgm:pt modelId="{C9F27187-2CB6-45F2-AB14-735A38D763CC}">
      <dgm:prSet/>
      <dgm:spPr/>
      <dgm:t>
        <a:bodyPr/>
        <a:lstStyle/>
        <a:p>
          <a:r>
            <a:rPr lang="en-GB" b="1"/>
            <a:t>Endustri çalışması beklemek mantıklı değil</a:t>
          </a:r>
        </a:p>
      </dgm:t>
    </dgm:pt>
    <dgm:pt modelId="{D0FDE2DF-B7E0-40B4-91FD-D8103835E774}" type="parTrans" cxnId="{B1376E67-0ADD-40B3-963E-F54061315F34}">
      <dgm:prSet/>
      <dgm:spPr/>
      <dgm:t>
        <a:bodyPr/>
        <a:lstStyle/>
        <a:p>
          <a:endParaRPr lang="en-GB" b="1"/>
        </a:p>
      </dgm:t>
    </dgm:pt>
    <dgm:pt modelId="{F6D263E4-5BA8-4206-B0E3-90B87451AB71}" type="sibTrans" cxnId="{B1376E67-0ADD-40B3-963E-F54061315F34}">
      <dgm:prSet/>
      <dgm:spPr/>
      <dgm:t>
        <a:bodyPr/>
        <a:lstStyle/>
        <a:p>
          <a:endParaRPr lang="en-GB" b="1"/>
        </a:p>
      </dgm:t>
    </dgm:pt>
    <dgm:pt modelId="{BCD9F92D-C00D-4F0B-870F-7C6952216627}">
      <dgm:prSet/>
      <dgm:spPr/>
      <dgm:t>
        <a:bodyPr/>
        <a:lstStyle/>
        <a:p>
          <a:r>
            <a:rPr lang="en-GB" b="1" dirty="0"/>
            <a:t>Yeni </a:t>
          </a:r>
          <a:r>
            <a:rPr lang="en-GB" b="1" dirty="0" err="1"/>
            <a:t>gelişen</a:t>
          </a:r>
          <a:r>
            <a:rPr lang="en-GB" b="1" dirty="0"/>
            <a:t> </a:t>
          </a:r>
          <a:r>
            <a:rPr lang="en-GB" b="1" dirty="0" err="1"/>
            <a:t>bir</a:t>
          </a:r>
          <a:r>
            <a:rPr lang="en-GB" b="1" dirty="0"/>
            <a:t> </a:t>
          </a:r>
          <a:r>
            <a:rPr lang="en-GB" b="1" dirty="0" err="1"/>
            <a:t>ilaç</a:t>
          </a:r>
          <a:r>
            <a:rPr lang="en-GB" b="1" dirty="0"/>
            <a:t> </a:t>
          </a:r>
        </a:p>
      </dgm:t>
    </dgm:pt>
    <dgm:pt modelId="{610C67E2-A7CB-4C47-B8C4-A8FB3FD3AF7C}" type="parTrans" cxnId="{EFE26FA6-856D-41FF-8190-078EB3353C99}">
      <dgm:prSet/>
      <dgm:spPr/>
      <dgm:t>
        <a:bodyPr/>
        <a:lstStyle/>
        <a:p>
          <a:endParaRPr lang="en-GB" b="1"/>
        </a:p>
      </dgm:t>
    </dgm:pt>
    <dgm:pt modelId="{34739887-AD81-431E-BB7A-878CD68F5C6B}" type="sibTrans" cxnId="{EFE26FA6-856D-41FF-8190-078EB3353C99}">
      <dgm:prSet/>
      <dgm:spPr/>
      <dgm:t>
        <a:bodyPr/>
        <a:lstStyle/>
        <a:p>
          <a:endParaRPr lang="en-GB" b="1"/>
        </a:p>
      </dgm:t>
    </dgm:pt>
    <dgm:pt modelId="{292DA860-AC32-4340-A714-58F88B042F3F}" type="pres">
      <dgm:prSet presAssocID="{DF24762E-99DD-4A45-AD8B-4C5B307A776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59FA365C-B471-46E7-8695-441898F6ED22}" type="pres">
      <dgm:prSet presAssocID="{212C4D7A-427A-43F7-81A5-71061C075001}" presName="hierRoot1" presStyleCnt="0">
        <dgm:presLayoutVars>
          <dgm:hierBranch val="init"/>
        </dgm:presLayoutVars>
      </dgm:prSet>
      <dgm:spPr/>
    </dgm:pt>
    <dgm:pt modelId="{C048FCD4-8FB2-4B48-A562-4CA1C47568F2}" type="pres">
      <dgm:prSet presAssocID="{212C4D7A-427A-43F7-81A5-71061C075001}" presName="rootComposite1" presStyleCnt="0"/>
      <dgm:spPr/>
    </dgm:pt>
    <dgm:pt modelId="{28B4165F-451D-4083-A8A2-7861B89B3C6C}" type="pres">
      <dgm:prSet presAssocID="{212C4D7A-427A-43F7-81A5-71061C075001}" presName="rootText1" presStyleLbl="node0" presStyleIdx="0" presStyleCnt="1" custScaleY="186233">
        <dgm:presLayoutVars>
          <dgm:chPref val="3"/>
        </dgm:presLayoutVars>
      </dgm:prSet>
      <dgm:spPr/>
    </dgm:pt>
    <dgm:pt modelId="{A6A5EBE0-7389-4364-B8D3-289672E8EB00}" type="pres">
      <dgm:prSet presAssocID="{212C4D7A-427A-43F7-81A5-71061C075001}" presName="rootConnector1" presStyleLbl="node1" presStyleIdx="0" presStyleCnt="0"/>
      <dgm:spPr/>
    </dgm:pt>
    <dgm:pt modelId="{7EC427C1-4836-4062-AF5C-15EF1D136E42}" type="pres">
      <dgm:prSet presAssocID="{212C4D7A-427A-43F7-81A5-71061C075001}" presName="hierChild2" presStyleCnt="0"/>
      <dgm:spPr/>
    </dgm:pt>
    <dgm:pt modelId="{8234380F-5813-48EC-A78C-609BC0F4D4B0}" type="pres">
      <dgm:prSet presAssocID="{EF5706F1-EB06-43D1-8E47-8896328DF1B5}" presName="Name37" presStyleLbl="parChTrans1D2" presStyleIdx="0" presStyleCnt="4"/>
      <dgm:spPr/>
    </dgm:pt>
    <dgm:pt modelId="{EBCF7A9B-EF7D-4C3F-85FA-26D40598785A}" type="pres">
      <dgm:prSet presAssocID="{3ACC580F-09C2-4DAF-84D8-B60EA4DCBC5C}" presName="hierRoot2" presStyleCnt="0">
        <dgm:presLayoutVars>
          <dgm:hierBranch val="init"/>
        </dgm:presLayoutVars>
      </dgm:prSet>
      <dgm:spPr/>
    </dgm:pt>
    <dgm:pt modelId="{BD289C49-0D7D-4BF7-BDA3-F0313CFBE7DB}" type="pres">
      <dgm:prSet presAssocID="{3ACC580F-09C2-4DAF-84D8-B60EA4DCBC5C}" presName="rootComposite" presStyleCnt="0"/>
      <dgm:spPr/>
    </dgm:pt>
    <dgm:pt modelId="{7172A2A1-338E-4131-977C-0E71DB260075}" type="pres">
      <dgm:prSet presAssocID="{3ACC580F-09C2-4DAF-84D8-B60EA4DCBC5C}" presName="rootText" presStyleLbl="node2" presStyleIdx="0" presStyleCnt="4">
        <dgm:presLayoutVars>
          <dgm:chPref val="3"/>
        </dgm:presLayoutVars>
      </dgm:prSet>
      <dgm:spPr/>
    </dgm:pt>
    <dgm:pt modelId="{F5F3A7B2-4961-4D60-BC88-71FAF705EF30}" type="pres">
      <dgm:prSet presAssocID="{3ACC580F-09C2-4DAF-84D8-B60EA4DCBC5C}" presName="rootConnector" presStyleLbl="node2" presStyleIdx="0" presStyleCnt="4"/>
      <dgm:spPr/>
    </dgm:pt>
    <dgm:pt modelId="{4ABC7943-2D69-4674-A719-A46BDBE3F5BF}" type="pres">
      <dgm:prSet presAssocID="{3ACC580F-09C2-4DAF-84D8-B60EA4DCBC5C}" presName="hierChild4" presStyleCnt="0"/>
      <dgm:spPr/>
    </dgm:pt>
    <dgm:pt modelId="{1F000A77-C09C-4BD9-A28A-0A0AF0245D24}" type="pres">
      <dgm:prSet presAssocID="{3ACC580F-09C2-4DAF-84D8-B60EA4DCBC5C}" presName="hierChild5" presStyleCnt="0"/>
      <dgm:spPr/>
    </dgm:pt>
    <dgm:pt modelId="{8F60F12B-ECF3-46ED-9A24-762A125940F2}" type="pres">
      <dgm:prSet presAssocID="{EE69E59C-1ACD-4965-ABFF-D9241B74B488}" presName="Name37" presStyleLbl="parChTrans1D2" presStyleIdx="1" presStyleCnt="4"/>
      <dgm:spPr/>
    </dgm:pt>
    <dgm:pt modelId="{C6AB39CB-4451-4D39-9BE5-B1F49F158A1B}" type="pres">
      <dgm:prSet presAssocID="{C2466919-07F6-4787-9B0A-B353335B91BB}" presName="hierRoot2" presStyleCnt="0">
        <dgm:presLayoutVars>
          <dgm:hierBranch val="init"/>
        </dgm:presLayoutVars>
      </dgm:prSet>
      <dgm:spPr/>
    </dgm:pt>
    <dgm:pt modelId="{B72FACBA-844C-4374-B901-D028E3A68BA4}" type="pres">
      <dgm:prSet presAssocID="{C2466919-07F6-4787-9B0A-B353335B91BB}" presName="rootComposite" presStyleCnt="0"/>
      <dgm:spPr/>
    </dgm:pt>
    <dgm:pt modelId="{1C296226-B335-4E75-ACB4-9D5E88A35783}" type="pres">
      <dgm:prSet presAssocID="{C2466919-07F6-4787-9B0A-B353335B91BB}" presName="rootText" presStyleLbl="node2" presStyleIdx="1" presStyleCnt="4">
        <dgm:presLayoutVars>
          <dgm:chPref val="3"/>
        </dgm:presLayoutVars>
      </dgm:prSet>
      <dgm:spPr/>
    </dgm:pt>
    <dgm:pt modelId="{0A4DD4AF-7A61-415D-ACBF-79188776457D}" type="pres">
      <dgm:prSet presAssocID="{C2466919-07F6-4787-9B0A-B353335B91BB}" presName="rootConnector" presStyleLbl="node2" presStyleIdx="1" presStyleCnt="4"/>
      <dgm:spPr/>
    </dgm:pt>
    <dgm:pt modelId="{79EE4725-9883-4244-9D2D-6F1ABC9B40B8}" type="pres">
      <dgm:prSet presAssocID="{C2466919-07F6-4787-9B0A-B353335B91BB}" presName="hierChild4" presStyleCnt="0"/>
      <dgm:spPr/>
    </dgm:pt>
    <dgm:pt modelId="{5012BF6A-EF08-49AF-83AB-CB1589B91395}" type="pres">
      <dgm:prSet presAssocID="{C2466919-07F6-4787-9B0A-B353335B91BB}" presName="hierChild5" presStyleCnt="0"/>
      <dgm:spPr/>
    </dgm:pt>
    <dgm:pt modelId="{0B6A179F-46B2-414D-B054-31FCCA5300CF}" type="pres">
      <dgm:prSet presAssocID="{D0FDE2DF-B7E0-40B4-91FD-D8103835E774}" presName="Name37" presStyleLbl="parChTrans1D2" presStyleIdx="2" presStyleCnt="4"/>
      <dgm:spPr/>
    </dgm:pt>
    <dgm:pt modelId="{ADBD8472-2FCC-4C0B-9406-D8DF27215F74}" type="pres">
      <dgm:prSet presAssocID="{C9F27187-2CB6-45F2-AB14-735A38D763CC}" presName="hierRoot2" presStyleCnt="0">
        <dgm:presLayoutVars>
          <dgm:hierBranch val="init"/>
        </dgm:presLayoutVars>
      </dgm:prSet>
      <dgm:spPr/>
    </dgm:pt>
    <dgm:pt modelId="{AC0E2541-AB8A-4A50-BB30-F786D6CA7741}" type="pres">
      <dgm:prSet presAssocID="{C9F27187-2CB6-45F2-AB14-735A38D763CC}" presName="rootComposite" presStyleCnt="0"/>
      <dgm:spPr/>
    </dgm:pt>
    <dgm:pt modelId="{4FB1F622-8799-414F-BF88-2C01A1513A25}" type="pres">
      <dgm:prSet presAssocID="{C9F27187-2CB6-45F2-AB14-735A38D763CC}" presName="rootText" presStyleLbl="node2" presStyleIdx="2" presStyleCnt="4">
        <dgm:presLayoutVars>
          <dgm:chPref val="3"/>
        </dgm:presLayoutVars>
      </dgm:prSet>
      <dgm:spPr/>
    </dgm:pt>
    <dgm:pt modelId="{905DA8CB-408F-49EA-9A02-E997F9694198}" type="pres">
      <dgm:prSet presAssocID="{C9F27187-2CB6-45F2-AB14-735A38D763CC}" presName="rootConnector" presStyleLbl="node2" presStyleIdx="2" presStyleCnt="4"/>
      <dgm:spPr/>
    </dgm:pt>
    <dgm:pt modelId="{844597D0-C368-4E75-B072-AD8F15D00974}" type="pres">
      <dgm:prSet presAssocID="{C9F27187-2CB6-45F2-AB14-735A38D763CC}" presName="hierChild4" presStyleCnt="0"/>
      <dgm:spPr/>
    </dgm:pt>
    <dgm:pt modelId="{9B58D44A-05E3-453D-8E03-E2DE7ADE84BA}" type="pres">
      <dgm:prSet presAssocID="{C9F27187-2CB6-45F2-AB14-735A38D763CC}" presName="hierChild5" presStyleCnt="0"/>
      <dgm:spPr/>
    </dgm:pt>
    <dgm:pt modelId="{4D9A924F-47F0-4CB8-A5D2-6C544E0D2716}" type="pres">
      <dgm:prSet presAssocID="{610C67E2-A7CB-4C47-B8C4-A8FB3FD3AF7C}" presName="Name37" presStyleLbl="parChTrans1D2" presStyleIdx="3" presStyleCnt="4"/>
      <dgm:spPr/>
    </dgm:pt>
    <dgm:pt modelId="{F2A2D079-E77D-4D51-AEED-51E15DED92EF}" type="pres">
      <dgm:prSet presAssocID="{BCD9F92D-C00D-4F0B-870F-7C6952216627}" presName="hierRoot2" presStyleCnt="0">
        <dgm:presLayoutVars>
          <dgm:hierBranch val="init"/>
        </dgm:presLayoutVars>
      </dgm:prSet>
      <dgm:spPr/>
    </dgm:pt>
    <dgm:pt modelId="{4A70B983-B6B1-4D64-A033-363D5EBA79CE}" type="pres">
      <dgm:prSet presAssocID="{BCD9F92D-C00D-4F0B-870F-7C6952216627}" presName="rootComposite" presStyleCnt="0"/>
      <dgm:spPr/>
    </dgm:pt>
    <dgm:pt modelId="{3BBFF4D1-3A74-4CFF-A854-72BD5D4094E1}" type="pres">
      <dgm:prSet presAssocID="{BCD9F92D-C00D-4F0B-870F-7C6952216627}" presName="rootText" presStyleLbl="node2" presStyleIdx="3" presStyleCnt="4">
        <dgm:presLayoutVars>
          <dgm:chPref val="3"/>
        </dgm:presLayoutVars>
      </dgm:prSet>
      <dgm:spPr/>
    </dgm:pt>
    <dgm:pt modelId="{D48CBC99-D862-496A-9692-CD40F687B4C4}" type="pres">
      <dgm:prSet presAssocID="{BCD9F92D-C00D-4F0B-870F-7C6952216627}" presName="rootConnector" presStyleLbl="node2" presStyleIdx="3" presStyleCnt="4"/>
      <dgm:spPr/>
    </dgm:pt>
    <dgm:pt modelId="{43DDAAE5-0916-447D-92F2-0BF3889C7E09}" type="pres">
      <dgm:prSet presAssocID="{BCD9F92D-C00D-4F0B-870F-7C6952216627}" presName="hierChild4" presStyleCnt="0"/>
      <dgm:spPr/>
    </dgm:pt>
    <dgm:pt modelId="{C700A03D-3551-4203-A259-8D5B85124F84}" type="pres">
      <dgm:prSet presAssocID="{BCD9F92D-C00D-4F0B-870F-7C6952216627}" presName="hierChild5" presStyleCnt="0"/>
      <dgm:spPr/>
    </dgm:pt>
    <dgm:pt modelId="{23256560-E6D2-44F8-850C-433CBABBEAB4}" type="pres">
      <dgm:prSet presAssocID="{212C4D7A-427A-43F7-81A5-71061C075001}" presName="hierChild3" presStyleCnt="0"/>
      <dgm:spPr/>
    </dgm:pt>
  </dgm:ptLst>
  <dgm:cxnLst>
    <dgm:cxn modelId="{956DFD1C-D070-4BA4-ABE4-1C15E82C2B4C}" type="presOf" srcId="{212C4D7A-427A-43F7-81A5-71061C075001}" destId="{28B4165F-451D-4083-A8A2-7861B89B3C6C}" srcOrd="0" destOrd="0" presId="urn:microsoft.com/office/officeart/2005/8/layout/orgChart1"/>
    <dgm:cxn modelId="{EBF1861D-265F-4889-8F3B-AB52EAF8FA85}" type="presOf" srcId="{DF24762E-99DD-4A45-AD8B-4C5B307A7768}" destId="{292DA860-AC32-4340-A714-58F88B042F3F}" srcOrd="0" destOrd="0" presId="urn:microsoft.com/office/officeart/2005/8/layout/orgChart1"/>
    <dgm:cxn modelId="{5E5FD33D-F9EE-4FA6-8167-2DFBEA582DAD}" type="presOf" srcId="{EF5706F1-EB06-43D1-8E47-8896328DF1B5}" destId="{8234380F-5813-48EC-A78C-609BC0F4D4B0}" srcOrd="0" destOrd="0" presId="urn:microsoft.com/office/officeart/2005/8/layout/orgChart1"/>
    <dgm:cxn modelId="{09E8A540-B5E9-4ECC-BEC3-74D207871A83}" type="presOf" srcId="{610C67E2-A7CB-4C47-B8C4-A8FB3FD3AF7C}" destId="{4D9A924F-47F0-4CB8-A5D2-6C544E0D2716}" srcOrd="0" destOrd="0" presId="urn:microsoft.com/office/officeart/2005/8/layout/orgChart1"/>
    <dgm:cxn modelId="{21A93F5E-A410-4CA4-BA42-008DC27DBAF8}" type="presOf" srcId="{C2466919-07F6-4787-9B0A-B353335B91BB}" destId="{1C296226-B335-4E75-ACB4-9D5E88A35783}" srcOrd="0" destOrd="0" presId="urn:microsoft.com/office/officeart/2005/8/layout/orgChart1"/>
    <dgm:cxn modelId="{DE525360-8F5A-4E90-9166-A1DD4C1EE445}" type="presOf" srcId="{BCD9F92D-C00D-4F0B-870F-7C6952216627}" destId="{D48CBC99-D862-496A-9692-CD40F687B4C4}" srcOrd="1" destOrd="0" presId="urn:microsoft.com/office/officeart/2005/8/layout/orgChart1"/>
    <dgm:cxn modelId="{16E08246-0FB0-4CA7-A157-E9709A3DD4C8}" srcId="{DF24762E-99DD-4A45-AD8B-4C5B307A7768}" destId="{212C4D7A-427A-43F7-81A5-71061C075001}" srcOrd="0" destOrd="0" parTransId="{8F93EA81-516A-4649-9486-026A62B13648}" sibTransId="{A59ECD8F-5966-41AF-BF9B-27FDB4ADCE36}"/>
    <dgm:cxn modelId="{B1376E67-0ADD-40B3-963E-F54061315F34}" srcId="{212C4D7A-427A-43F7-81A5-71061C075001}" destId="{C9F27187-2CB6-45F2-AB14-735A38D763CC}" srcOrd="2" destOrd="0" parTransId="{D0FDE2DF-B7E0-40B4-91FD-D8103835E774}" sibTransId="{F6D263E4-5BA8-4206-B0E3-90B87451AB71}"/>
    <dgm:cxn modelId="{416C1D4E-E6C4-442B-BFB0-1856CBC5F7D6}" type="presOf" srcId="{212C4D7A-427A-43F7-81A5-71061C075001}" destId="{A6A5EBE0-7389-4364-B8D3-289672E8EB00}" srcOrd="1" destOrd="0" presId="urn:microsoft.com/office/officeart/2005/8/layout/orgChart1"/>
    <dgm:cxn modelId="{E6ECAF50-3E35-497A-B7C7-1D59D108037B}" srcId="{212C4D7A-427A-43F7-81A5-71061C075001}" destId="{3ACC580F-09C2-4DAF-84D8-B60EA4DCBC5C}" srcOrd="0" destOrd="0" parTransId="{EF5706F1-EB06-43D1-8E47-8896328DF1B5}" sibTransId="{AC68DDFF-108F-4DFD-BDC8-B09C52209376}"/>
    <dgm:cxn modelId="{2B379256-837F-4DA8-8D33-F50A1BD56B32}" type="presOf" srcId="{D0FDE2DF-B7E0-40B4-91FD-D8103835E774}" destId="{0B6A179F-46B2-414D-B054-31FCCA5300CF}" srcOrd="0" destOrd="0" presId="urn:microsoft.com/office/officeart/2005/8/layout/orgChart1"/>
    <dgm:cxn modelId="{139A027D-F59A-48A0-A55A-4FCFB5146306}" type="presOf" srcId="{EE69E59C-1ACD-4965-ABFF-D9241B74B488}" destId="{8F60F12B-ECF3-46ED-9A24-762A125940F2}" srcOrd="0" destOrd="0" presId="urn:microsoft.com/office/officeart/2005/8/layout/orgChart1"/>
    <dgm:cxn modelId="{9A29C3A4-BC6E-4F80-9749-4064B681C106}" type="presOf" srcId="{BCD9F92D-C00D-4F0B-870F-7C6952216627}" destId="{3BBFF4D1-3A74-4CFF-A854-72BD5D4094E1}" srcOrd="0" destOrd="0" presId="urn:microsoft.com/office/officeart/2005/8/layout/orgChart1"/>
    <dgm:cxn modelId="{EFE26FA6-856D-41FF-8190-078EB3353C99}" srcId="{212C4D7A-427A-43F7-81A5-71061C075001}" destId="{BCD9F92D-C00D-4F0B-870F-7C6952216627}" srcOrd="3" destOrd="0" parTransId="{610C67E2-A7CB-4C47-B8C4-A8FB3FD3AF7C}" sibTransId="{34739887-AD81-431E-BB7A-878CD68F5C6B}"/>
    <dgm:cxn modelId="{D8F215B1-2AA0-4270-9BB2-A14A542EEA6B}" type="presOf" srcId="{C9F27187-2CB6-45F2-AB14-735A38D763CC}" destId="{4FB1F622-8799-414F-BF88-2C01A1513A25}" srcOrd="0" destOrd="0" presId="urn:microsoft.com/office/officeart/2005/8/layout/orgChart1"/>
    <dgm:cxn modelId="{7433D5C2-3FEF-4D18-A879-A40582A9ED20}" type="presOf" srcId="{3ACC580F-09C2-4DAF-84D8-B60EA4DCBC5C}" destId="{7172A2A1-338E-4131-977C-0E71DB260075}" srcOrd="0" destOrd="0" presId="urn:microsoft.com/office/officeart/2005/8/layout/orgChart1"/>
    <dgm:cxn modelId="{9324E7C5-0FA5-4FD0-8D26-5D4B3060D19B}" srcId="{212C4D7A-427A-43F7-81A5-71061C075001}" destId="{C2466919-07F6-4787-9B0A-B353335B91BB}" srcOrd="1" destOrd="0" parTransId="{EE69E59C-1ACD-4965-ABFF-D9241B74B488}" sibTransId="{3E152FC0-EFC9-419C-AD8A-C55FF5F25DD5}"/>
    <dgm:cxn modelId="{5AD790CE-AEFD-4B6E-B3AD-13A6D5634B6C}" type="presOf" srcId="{C9F27187-2CB6-45F2-AB14-735A38D763CC}" destId="{905DA8CB-408F-49EA-9A02-E997F9694198}" srcOrd="1" destOrd="0" presId="urn:microsoft.com/office/officeart/2005/8/layout/orgChart1"/>
    <dgm:cxn modelId="{B950E7DE-B886-4188-8F6D-D68E280EE37D}" type="presOf" srcId="{3ACC580F-09C2-4DAF-84D8-B60EA4DCBC5C}" destId="{F5F3A7B2-4961-4D60-BC88-71FAF705EF30}" srcOrd="1" destOrd="0" presId="urn:microsoft.com/office/officeart/2005/8/layout/orgChart1"/>
    <dgm:cxn modelId="{0F7013EC-5E3A-4D47-91E9-929CE5FA056A}" type="presOf" srcId="{C2466919-07F6-4787-9B0A-B353335B91BB}" destId="{0A4DD4AF-7A61-415D-ACBF-79188776457D}" srcOrd="1" destOrd="0" presId="urn:microsoft.com/office/officeart/2005/8/layout/orgChart1"/>
    <dgm:cxn modelId="{E92CD2C5-2B2A-43D0-A334-D94CEF15904E}" type="presParOf" srcId="{292DA860-AC32-4340-A714-58F88B042F3F}" destId="{59FA365C-B471-46E7-8695-441898F6ED22}" srcOrd="0" destOrd="0" presId="urn:microsoft.com/office/officeart/2005/8/layout/orgChart1"/>
    <dgm:cxn modelId="{A2135750-9581-4A27-A06B-08426694F678}" type="presParOf" srcId="{59FA365C-B471-46E7-8695-441898F6ED22}" destId="{C048FCD4-8FB2-4B48-A562-4CA1C47568F2}" srcOrd="0" destOrd="0" presId="urn:microsoft.com/office/officeart/2005/8/layout/orgChart1"/>
    <dgm:cxn modelId="{57D7123C-E552-4F0F-B520-4306DF844867}" type="presParOf" srcId="{C048FCD4-8FB2-4B48-A562-4CA1C47568F2}" destId="{28B4165F-451D-4083-A8A2-7861B89B3C6C}" srcOrd="0" destOrd="0" presId="urn:microsoft.com/office/officeart/2005/8/layout/orgChart1"/>
    <dgm:cxn modelId="{E34B05C5-CEFD-4FC0-A7D4-E577CDD04248}" type="presParOf" srcId="{C048FCD4-8FB2-4B48-A562-4CA1C47568F2}" destId="{A6A5EBE0-7389-4364-B8D3-289672E8EB00}" srcOrd="1" destOrd="0" presId="urn:microsoft.com/office/officeart/2005/8/layout/orgChart1"/>
    <dgm:cxn modelId="{CF3B97E8-2BBA-4F54-B01E-B2A734236C5F}" type="presParOf" srcId="{59FA365C-B471-46E7-8695-441898F6ED22}" destId="{7EC427C1-4836-4062-AF5C-15EF1D136E42}" srcOrd="1" destOrd="0" presId="urn:microsoft.com/office/officeart/2005/8/layout/orgChart1"/>
    <dgm:cxn modelId="{7D429A32-9640-42F9-9828-303D5EC61AAF}" type="presParOf" srcId="{7EC427C1-4836-4062-AF5C-15EF1D136E42}" destId="{8234380F-5813-48EC-A78C-609BC0F4D4B0}" srcOrd="0" destOrd="0" presId="urn:microsoft.com/office/officeart/2005/8/layout/orgChart1"/>
    <dgm:cxn modelId="{C8740E0B-3920-43F3-932F-2E2965C1B850}" type="presParOf" srcId="{7EC427C1-4836-4062-AF5C-15EF1D136E42}" destId="{EBCF7A9B-EF7D-4C3F-85FA-26D40598785A}" srcOrd="1" destOrd="0" presId="urn:microsoft.com/office/officeart/2005/8/layout/orgChart1"/>
    <dgm:cxn modelId="{2B7F64A0-478A-4EB3-A619-2CC641715986}" type="presParOf" srcId="{EBCF7A9B-EF7D-4C3F-85FA-26D40598785A}" destId="{BD289C49-0D7D-4BF7-BDA3-F0313CFBE7DB}" srcOrd="0" destOrd="0" presId="urn:microsoft.com/office/officeart/2005/8/layout/orgChart1"/>
    <dgm:cxn modelId="{50AB55DE-3DAA-4288-A7BB-A67EC39C92BD}" type="presParOf" srcId="{BD289C49-0D7D-4BF7-BDA3-F0313CFBE7DB}" destId="{7172A2A1-338E-4131-977C-0E71DB260075}" srcOrd="0" destOrd="0" presId="urn:microsoft.com/office/officeart/2005/8/layout/orgChart1"/>
    <dgm:cxn modelId="{5BF17369-9990-4F53-A227-100A2746BFE4}" type="presParOf" srcId="{BD289C49-0D7D-4BF7-BDA3-F0313CFBE7DB}" destId="{F5F3A7B2-4961-4D60-BC88-71FAF705EF30}" srcOrd="1" destOrd="0" presId="urn:microsoft.com/office/officeart/2005/8/layout/orgChart1"/>
    <dgm:cxn modelId="{E50BDE87-1CEA-4E52-A95E-0766F2F66466}" type="presParOf" srcId="{EBCF7A9B-EF7D-4C3F-85FA-26D40598785A}" destId="{4ABC7943-2D69-4674-A719-A46BDBE3F5BF}" srcOrd="1" destOrd="0" presId="urn:microsoft.com/office/officeart/2005/8/layout/orgChart1"/>
    <dgm:cxn modelId="{C5B2567E-D487-43F0-99ED-A95AE6F32379}" type="presParOf" srcId="{EBCF7A9B-EF7D-4C3F-85FA-26D40598785A}" destId="{1F000A77-C09C-4BD9-A28A-0A0AF0245D24}" srcOrd="2" destOrd="0" presId="urn:microsoft.com/office/officeart/2005/8/layout/orgChart1"/>
    <dgm:cxn modelId="{F915073B-5119-439C-9B2B-EEF3662D1763}" type="presParOf" srcId="{7EC427C1-4836-4062-AF5C-15EF1D136E42}" destId="{8F60F12B-ECF3-46ED-9A24-762A125940F2}" srcOrd="2" destOrd="0" presId="urn:microsoft.com/office/officeart/2005/8/layout/orgChart1"/>
    <dgm:cxn modelId="{A5EDF9F2-32B9-4039-8F7F-0DE8E77E3CFC}" type="presParOf" srcId="{7EC427C1-4836-4062-AF5C-15EF1D136E42}" destId="{C6AB39CB-4451-4D39-9BE5-B1F49F158A1B}" srcOrd="3" destOrd="0" presId="urn:microsoft.com/office/officeart/2005/8/layout/orgChart1"/>
    <dgm:cxn modelId="{10F44BE5-E3DD-450F-A6E7-00F7F64B6ACA}" type="presParOf" srcId="{C6AB39CB-4451-4D39-9BE5-B1F49F158A1B}" destId="{B72FACBA-844C-4374-B901-D028E3A68BA4}" srcOrd="0" destOrd="0" presId="urn:microsoft.com/office/officeart/2005/8/layout/orgChart1"/>
    <dgm:cxn modelId="{96597654-7E7A-4F5E-8542-C6EC2A01F10F}" type="presParOf" srcId="{B72FACBA-844C-4374-B901-D028E3A68BA4}" destId="{1C296226-B335-4E75-ACB4-9D5E88A35783}" srcOrd="0" destOrd="0" presId="urn:microsoft.com/office/officeart/2005/8/layout/orgChart1"/>
    <dgm:cxn modelId="{DB2C03B6-7870-42F6-BC7E-C94821B62C0C}" type="presParOf" srcId="{B72FACBA-844C-4374-B901-D028E3A68BA4}" destId="{0A4DD4AF-7A61-415D-ACBF-79188776457D}" srcOrd="1" destOrd="0" presId="urn:microsoft.com/office/officeart/2005/8/layout/orgChart1"/>
    <dgm:cxn modelId="{66221979-7512-46A5-88CB-F630BA4827D2}" type="presParOf" srcId="{C6AB39CB-4451-4D39-9BE5-B1F49F158A1B}" destId="{79EE4725-9883-4244-9D2D-6F1ABC9B40B8}" srcOrd="1" destOrd="0" presId="urn:microsoft.com/office/officeart/2005/8/layout/orgChart1"/>
    <dgm:cxn modelId="{E0BB1636-7323-45CA-ADE0-4D7FD704139B}" type="presParOf" srcId="{C6AB39CB-4451-4D39-9BE5-B1F49F158A1B}" destId="{5012BF6A-EF08-49AF-83AB-CB1589B91395}" srcOrd="2" destOrd="0" presId="urn:microsoft.com/office/officeart/2005/8/layout/orgChart1"/>
    <dgm:cxn modelId="{68DCC511-4D6B-410C-B8BF-6C27D6DD599E}" type="presParOf" srcId="{7EC427C1-4836-4062-AF5C-15EF1D136E42}" destId="{0B6A179F-46B2-414D-B054-31FCCA5300CF}" srcOrd="4" destOrd="0" presId="urn:microsoft.com/office/officeart/2005/8/layout/orgChart1"/>
    <dgm:cxn modelId="{0D0ED033-BEB2-4A6B-A9F1-1BF58B751EFB}" type="presParOf" srcId="{7EC427C1-4836-4062-AF5C-15EF1D136E42}" destId="{ADBD8472-2FCC-4C0B-9406-D8DF27215F74}" srcOrd="5" destOrd="0" presId="urn:microsoft.com/office/officeart/2005/8/layout/orgChart1"/>
    <dgm:cxn modelId="{9534F39C-FE5A-4168-8B67-3CF7470878BC}" type="presParOf" srcId="{ADBD8472-2FCC-4C0B-9406-D8DF27215F74}" destId="{AC0E2541-AB8A-4A50-BB30-F786D6CA7741}" srcOrd="0" destOrd="0" presId="urn:microsoft.com/office/officeart/2005/8/layout/orgChart1"/>
    <dgm:cxn modelId="{26B71852-281E-4EA5-AF5A-CE6E1EFC4214}" type="presParOf" srcId="{AC0E2541-AB8A-4A50-BB30-F786D6CA7741}" destId="{4FB1F622-8799-414F-BF88-2C01A1513A25}" srcOrd="0" destOrd="0" presId="urn:microsoft.com/office/officeart/2005/8/layout/orgChart1"/>
    <dgm:cxn modelId="{62FA8AB3-A45B-4409-BFFC-0629E60AA699}" type="presParOf" srcId="{AC0E2541-AB8A-4A50-BB30-F786D6CA7741}" destId="{905DA8CB-408F-49EA-9A02-E997F9694198}" srcOrd="1" destOrd="0" presId="urn:microsoft.com/office/officeart/2005/8/layout/orgChart1"/>
    <dgm:cxn modelId="{EA1BB13E-0757-4D0F-8BD6-219772740D62}" type="presParOf" srcId="{ADBD8472-2FCC-4C0B-9406-D8DF27215F74}" destId="{844597D0-C368-4E75-B072-AD8F15D00974}" srcOrd="1" destOrd="0" presId="urn:microsoft.com/office/officeart/2005/8/layout/orgChart1"/>
    <dgm:cxn modelId="{563B75C1-91F9-4D40-AB96-19899EEC79B4}" type="presParOf" srcId="{ADBD8472-2FCC-4C0B-9406-D8DF27215F74}" destId="{9B58D44A-05E3-453D-8E03-E2DE7ADE84BA}" srcOrd="2" destOrd="0" presId="urn:microsoft.com/office/officeart/2005/8/layout/orgChart1"/>
    <dgm:cxn modelId="{5E2D3E62-D3EF-47D4-B7D8-439F781C20AC}" type="presParOf" srcId="{7EC427C1-4836-4062-AF5C-15EF1D136E42}" destId="{4D9A924F-47F0-4CB8-A5D2-6C544E0D2716}" srcOrd="6" destOrd="0" presId="urn:microsoft.com/office/officeart/2005/8/layout/orgChart1"/>
    <dgm:cxn modelId="{22489424-A153-4839-906F-8BFB780F5D4D}" type="presParOf" srcId="{7EC427C1-4836-4062-AF5C-15EF1D136E42}" destId="{F2A2D079-E77D-4D51-AEED-51E15DED92EF}" srcOrd="7" destOrd="0" presId="urn:microsoft.com/office/officeart/2005/8/layout/orgChart1"/>
    <dgm:cxn modelId="{83E3B16E-CF91-4ED5-98FF-93A6D6E0261F}" type="presParOf" srcId="{F2A2D079-E77D-4D51-AEED-51E15DED92EF}" destId="{4A70B983-B6B1-4D64-A033-363D5EBA79CE}" srcOrd="0" destOrd="0" presId="urn:microsoft.com/office/officeart/2005/8/layout/orgChart1"/>
    <dgm:cxn modelId="{8A3502D8-85E6-44B5-8152-26E5CC5778B1}" type="presParOf" srcId="{4A70B983-B6B1-4D64-A033-363D5EBA79CE}" destId="{3BBFF4D1-3A74-4CFF-A854-72BD5D4094E1}" srcOrd="0" destOrd="0" presId="urn:microsoft.com/office/officeart/2005/8/layout/orgChart1"/>
    <dgm:cxn modelId="{017ABFCE-BC63-4150-A674-0F996FD0D903}" type="presParOf" srcId="{4A70B983-B6B1-4D64-A033-363D5EBA79CE}" destId="{D48CBC99-D862-496A-9692-CD40F687B4C4}" srcOrd="1" destOrd="0" presId="urn:microsoft.com/office/officeart/2005/8/layout/orgChart1"/>
    <dgm:cxn modelId="{DDC8E589-E785-4A4F-984F-5D60EF5AD3E5}" type="presParOf" srcId="{F2A2D079-E77D-4D51-AEED-51E15DED92EF}" destId="{43DDAAE5-0916-447D-92F2-0BF3889C7E09}" srcOrd="1" destOrd="0" presId="urn:microsoft.com/office/officeart/2005/8/layout/orgChart1"/>
    <dgm:cxn modelId="{88A4E324-569D-4FC6-88C2-BF6DD7449AF8}" type="presParOf" srcId="{F2A2D079-E77D-4D51-AEED-51E15DED92EF}" destId="{C700A03D-3551-4203-A259-8D5B85124F84}" srcOrd="2" destOrd="0" presId="urn:microsoft.com/office/officeart/2005/8/layout/orgChart1"/>
    <dgm:cxn modelId="{A422DCB1-6827-471E-9AB8-E95274BA12A4}" type="presParOf" srcId="{59FA365C-B471-46E7-8695-441898F6ED22}" destId="{23256560-E6D2-44F8-850C-433CBABBEAB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D7BCDED-6E7F-450A-B855-13B40C62D965}" type="doc">
      <dgm:prSet loTypeId="urn:microsoft.com/office/officeart/2005/8/layout/b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C9CDA9B-A16F-4FD7-9E44-4A3A6928683E}">
      <dgm:prSet/>
      <dgm:spPr>
        <a:solidFill>
          <a:srgbClr val="7030A0"/>
        </a:solidFill>
      </dgm:spPr>
      <dgm:t>
        <a:bodyPr/>
        <a:lstStyle/>
        <a:p>
          <a:r>
            <a:rPr lang="en-GB"/>
            <a:t>M0 KRPK</a:t>
          </a:r>
        </a:p>
      </dgm:t>
    </dgm:pt>
    <dgm:pt modelId="{ED24FBE2-ACDC-4F65-8044-313666CF6E85}" type="parTrans" cxnId="{825FFA9E-9453-46B1-81CE-6EBCD501EED3}">
      <dgm:prSet/>
      <dgm:spPr/>
      <dgm:t>
        <a:bodyPr/>
        <a:lstStyle/>
        <a:p>
          <a:endParaRPr lang="en-GB"/>
        </a:p>
      </dgm:t>
    </dgm:pt>
    <dgm:pt modelId="{4A89C18E-B6E6-45B1-A06D-398710D8322F}" type="sibTrans" cxnId="{825FFA9E-9453-46B1-81CE-6EBCD501EED3}">
      <dgm:prSet/>
      <dgm:spPr/>
      <dgm:t>
        <a:bodyPr/>
        <a:lstStyle/>
        <a:p>
          <a:endParaRPr lang="en-GB"/>
        </a:p>
      </dgm:t>
    </dgm:pt>
    <dgm:pt modelId="{7BE0CC95-75C1-4962-8CED-85B9BAE0B3E4}">
      <dgm:prSet custT="1"/>
      <dgm:spPr/>
      <dgm:t>
        <a:bodyPr/>
        <a:lstStyle/>
        <a:p>
          <a:r>
            <a:rPr lang="en-GB" sz="2400"/>
            <a:t>Sistemik Tedaviler</a:t>
          </a:r>
        </a:p>
      </dgm:t>
    </dgm:pt>
    <dgm:pt modelId="{4720EEA7-1657-42A3-9B9A-92FBD00E4AF6}" type="parTrans" cxnId="{253970F3-E55F-4C4A-A7C1-7383D4DADA9C}">
      <dgm:prSet/>
      <dgm:spPr/>
      <dgm:t>
        <a:bodyPr/>
        <a:lstStyle/>
        <a:p>
          <a:endParaRPr lang="en-GB"/>
        </a:p>
      </dgm:t>
    </dgm:pt>
    <dgm:pt modelId="{EBEE089A-BDF2-4B01-A6B2-8062CFD24C48}" type="sibTrans" cxnId="{253970F3-E55F-4C4A-A7C1-7383D4DADA9C}">
      <dgm:prSet/>
      <dgm:spPr/>
      <dgm:t>
        <a:bodyPr/>
        <a:lstStyle/>
        <a:p>
          <a:endParaRPr lang="en-GB"/>
        </a:p>
      </dgm:t>
    </dgm:pt>
    <dgm:pt modelId="{ED05BE48-C769-4D87-AC51-F5B14255F044}">
      <dgm:prSet/>
      <dgm:spPr>
        <a:solidFill>
          <a:srgbClr val="7030A0"/>
        </a:solidFill>
      </dgm:spPr>
      <dgm:t>
        <a:bodyPr/>
        <a:lstStyle/>
        <a:p>
          <a:r>
            <a:rPr lang="en-GB"/>
            <a:t>Lokal tedavi sonrası PSA nüksü</a:t>
          </a:r>
        </a:p>
      </dgm:t>
    </dgm:pt>
    <dgm:pt modelId="{B05A86E4-8F07-446E-9A96-2388CF75B0FE}" type="parTrans" cxnId="{8BA363C0-1FF6-4D16-B4BE-8E2A47C0F99E}">
      <dgm:prSet/>
      <dgm:spPr/>
      <dgm:t>
        <a:bodyPr/>
        <a:lstStyle/>
        <a:p>
          <a:endParaRPr lang="en-GB"/>
        </a:p>
      </dgm:t>
    </dgm:pt>
    <dgm:pt modelId="{BA55FE8F-2344-48F8-AC58-9A88FFA8877B}" type="sibTrans" cxnId="{8BA363C0-1FF6-4D16-B4BE-8E2A47C0F99E}">
      <dgm:prSet/>
      <dgm:spPr/>
      <dgm:t>
        <a:bodyPr/>
        <a:lstStyle/>
        <a:p>
          <a:endParaRPr lang="en-GB"/>
        </a:p>
      </dgm:t>
    </dgm:pt>
    <dgm:pt modelId="{29BBF38B-37B2-4EF2-BB08-35AC07251ED6}">
      <dgm:prSet custT="1"/>
      <dgm:spPr/>
      <dgm:t>
        <a:bodyPr/>
        <a:lstStyle/>
        <a:p>
          <a:r>
            <a:rPr lang="en-GB" sz="2400"/>
            <a:t>Salvage RT</a:t>
          </a:r>
        </a:p>
      </dgm:t>
    </dgm:pt>
    <dgm:pt modelId="{5547289D-F4DB-4202-9A38-95A145A182B8}" type="parTrans" cxnId="{E3ADEEB1-11C3-421E-A1C1-9FDBBFECE31E}">
      <dgm:prSet/>
      <dgm:spPr/>
      <dgm:t>
        <a:bodyPr/>
        <a:lstStyle/>
        <a:p>
          <a:endParaRPr lang="en-GB"/>
        </a:p>
      </dgm:t>
    </dgm:pt>
    <dgm:pt modelId="{68752EC9-4DDD-4528-92A3-437C1E57BEDB}" type="sibTrans" cxnId="{E3ADEEB1-11C3-421E-A1C1-9FDBBFECE31E}">
      <dgm:prSet/>
      <dgm:spPr/>
      <dgm:t>
        <a:bodyPr/>
        <a:lstStyle/>
        <a:p>
          <a:endParaRPr lang="en-GB"/>
        </a:p>
      </dgm:t>
    </dgm:pt>
    <dgm:pt modelId="{08813EED-5CCA-4C39-B496-974525377FA8}">
      <dgm:prSet custT="1"/>
      <dgm:spPr/>
      <dgm:t>
        <a:bodyPr/>
        <a:lstStyle/>
        <a:p>
          <a:r>
            <a:rPr lang="en-GB" sz="2400"/>
            <a:t>Salvage Cerrahi</a:t>
          </a:r>
        </a:p>
      </dgm:t>
    </dgm:pt>
    <dgm:pt modelId="{07D5B5E2-6C9C-495E-B535-D85655ADBBA2}" type="parTrans" cxnId="{BCD27BC5-C2D6-4227-AE4A-5080C36D5CEA}">
      <dgm:prSet/>
      <dgm:spPr/>
      <dgm:t>
        <a:bodyPr/>
        <a:lstStyle/>
        <a:p>
          <a:endParaRPr lang="en-GB"/>
        </a:p>
      </dgm:t>
    </dgm:pt>
    <dgm:pt modelId="{8ACD451A-E9F1-49E6-A45E-0908D6DC8C0C}" type="sibTrans" cxnId="{BCD27BC5-C2D6-4227-AE4A-5080C36D5CEA}">
      <dgm:prSet/>
      <dgm:spPr/>
      <dgm:t>
        <a:bodyPr/>
        <a:lstStyle/>
        <a:p>
          <a:endParaRPr lang="en-GB"/>
        </a:p>
      </dgm:t>
    </dgm:pt>
    <dgm:pt modelId="{9F6A8331-FE89-4FEC-BBAE-B8C185CF0903}">
      <dgm:prSet custT="1"/>
      <dgm:spPr/>
      <dgm:t>
        <a:bodyPr/>
        <a:lstStyle/>
        <a:p>
          <a:r>
            <a:rPr lang="en-GB" sz="2400" dirty="0" err="1"/>
            <a:t>Ablatif</a:t>
          </a:r>
          <a:r>
            <a:rPr lang="en-GB" sz="2400" dirty="0"/>
            <a:t> </a:t>
          </a:r>
          <a:r>
            <a:rPr lang="en-GB" sz="2400" dirty="0" err="1"/>
            <a:t>tedaviler</a:t>
          </a:r>
          <a:endParaRPr lang="en-GB" sz="2400" dirty="0"/>
        </a:p>
      </dgm:t>
    </dgm:pt>
    <dgm:pt modelId="{336815D4-9501-45B6-B837-8EC5BE75C2B2}" type="parTrans" cxnId="{F06ACC77-FBBB-4514-ACCE-BB1C3FDE27CA}">
      <dgm:prSet/>
      <dgm:spPr/>
      <dgm:t>
        <a:bodyPr/>
        <a:lstStyle/>
        <a:p>
          <a:endParaRPr lang="en-GB"/>
        </a:p>
      </dgm:t>
    </dgm:pt>
    <dgm:pt modelId="{C2B7A79D-BBA9-4E4A-A5E6-D7C26C5A48CE}" type="sibTrans" cxnId="{F06ACC77-FBBB-4514-ACCE-BB1C3FDE27CA}">
      <dgm:prSet/>
      <dgm:spPr/>
      <dgm:t>
        <a:bodyPr/>
        <a:lstStyle/>
        <a:p>
          <a:endParaRPr lang="en-GB"/>
        </a:p>
      </dgm:t>
    </dgm:pt>
    <dgm:pt modelId="{4CA81784-4C9A-4C60-AB26-C598F21A2AA9}" type="pres">
      <dgm:prSet presAssocID="{8D7BCDED-6E7F-450A-B855-13B40C62D965}" presName="diagram" presStyleCnt="0">
        <dgm:presLayoutVars>
          <dgm:dir/>
          <dgm:animLvl val="lvl"/>
          <dgm:resizeHandles val="exact"/>
        </dgm:presLayoutVars>
      </dgm:prSet>
      <dgm:spPr/>
    </dgm:pt>
    <dgm:pt modelId="{EC4B50E4-EAE6-4F40-A554-2F32B8135CD2}" type="pres">
      <dgm:prSet presAssocID="{0C9CDA9B-A16F-4FD7-9E44-4A3A6928683E}" presName="compNode" presStyleCnt="0"/>
      <dgm:spPr/>
    </dgm:pt>
    <dgm:pt modelId="{BA8CC32F-F3F4-401F-85AC-BC763D23BDC9}" type="pres">
      <dgm:prSet presAssocID="{0C9CDA9B-A16F-4FD7-9E44-4A3A6928683E}" presName="childRect" presStyleLbl="bgAcc1" presStyleIdx="0" presStyleCnt="2">
        <dgm:presLayoutVars>
          <dgm:bulletEnabled val="1"/>
        </dgm:presLayoutVars>
      </dgm:prSet>
      <dgm:spPr/>
    </dgm:pt>
    <dgm:pt modelId="{A4755621-8907-452F-9CE0-279F9D269AA2}" type="pres">
      <dgm:prSet presAssocID="{0C9CDA9B-A16F-4FD7-9E44-4A3A6928683E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1E95890F-CFEB-410C-825A-CEA536CB457E}" type="pres">
      <dgm:prSet presAssocID="{0C9CDA9B-A16F-4FD7-9E44-4A3A6928683E}" presName="parentRect" presStyleLbl="alignNode1" presStyleIdx="0" presStyleCnt="2"/>
      <dgm:spPr/>
    </dgm:pt>
    <dgm:pt modelId="{93623DCC-5C37-494A-8179-CDCD7D6144BD}" type="pres">
      <dgm:prSet presAssocID="{0C9CDA9B-A16F-4FD7-9E44-4A3A6928683E}" presName="adorn" presStyleLbl="fgAccFollowNode1" presStyleIdx="0" presStyleCnt="2"/>
      <dgm:spPr/>
    </dgm:pt>
    <dgm:pt modelId="{2BD24E2B-34AB-4CD9-8E13-C9C87627570D}" type="pres">
      <dgm:prSet presAssocID="{4A89C18E-B6E6-45B1-A06D-398710D8322F}" presName="sibTrans" presStyleLbl="sibTrans2D1" presStyleIdx="0" presStyleCnt="0"/>
      <dgm:spPr/>
    </dgm:pt>
    <dgm:pt modelId="{CB87AF68-8437-4275-B560-165E725EF880}" type="pres">
      <dgm:prSet presAssocID="{ED05BE48-C769-4D87-AC51-F5B14255F044}" presName="compNode" presStyleCnt="0"/>
      <dgm:spPr/>
    </dgm:pt>
    <dgm:pt modelId="{2354B8C4-7CB3-439E-80BD-02ABB2A92118}" type="pres">
      <dgm:prSet presAssocID="{ED05BE48-C769-4D87-AC51-F5B14255F044}" presName="childRect" presStyleLbl="bgAcc1" presStyleIdx="1" presStyleCnt="2">
        <dgm:presLayoutVars>
          <dgm:bulletEnabled val="1"/>
        </dgm:presLayoutVars>
      </dgm:prSet>
      <dgm:spPr/>
    </dgm:pt>
    <dgm:pt modelId="{EE4FCE20-9282-42CB-BA67-3DFFEAFE71D0}" type="pres">
      <dgm:prSet presAssocID="{ED05BE48-C769-4D87-AC51-F5B14255F044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E7F36B64-0634-48B3-BED2-CEC3EB7E1320}" type="pres">
      <dgm:prSet presAssocID="{ED05BE48-C769-4D87-AC51-F5B14255F044}" presName="parentRect" presStyleLbl="alignNode1" presStyleIdx="1" presStyleCnt="2"/>
      <dgm:spPr/>
    </dgm:pt>
    <dgm:pt modelId="{0079333F-2747-419B-AE6F-7A896083CAEA}" type="pres">
      <dgm:prSet presAssocID="{ED05BE48-C769-4D87-AC51-F5B14255F044}" presName="adorn" presStyleLbl="fgAccFollowNode1" presStyleIdx="1" presStyleCnt="2"/>
      <dgm:spPr/>
    </dgm:pt>
  </dgm:ptLst>
  <dgm:cxnLst>
    <dgm:cxn modelId="{799E3C09-34A0-467D-9ACE-6128C703680D}" type="presOf" srcId="{0C9CDA9B-A16F-4FD7-9E44-4A3A6928683E}" destId="{1E95890F-CFEB-410C-825A-CEA536CB457E}" srcOrd="1" destOrd="0" presId="urn:microsoft.com/office/officeart/2005/8/layout/bList2"/>
    <dgm:cxn modelId="{53D16A0F-5366-4B49-918D-05721DB125E2}" type="presOf" srcId="{0C9CDA9B-A16F-4FD7-9E44-4A3A6928683E}" destId="{A4755621-8907-452F-9CE0-279F9D269AA2}" srcOrd="0" destOrd="0" presId="urn:microsoft.com/office/officeart/2005/8/layout/bList2"/>
    <dgm:cxn modelId="{7F09D821-A6C2-4DA5-BB5F-322708C140D8}" type="presOf" srcId="{29BBF38B-37B2-4EF2-BB08-35AC07251ED6}" destId="{2354B8C4-7CB3-439E-80BD-02ABB2A92118}" srcOrd="0" destOrd="0" presId="urn:microsoft.com/office/officeart/2005/8/layout/bList2"/>
    <dgm:cxn modelId="{CBB1B23E-569B-4C21-955F-6DB5B9B1E146}" type="presOf" srcId="{9F6A8331-FE89-4FEC-BBAE-B8C185CF0903}" destId="{2354B8C4-7CB3-439E-80BD-02ABB2A92118}" srcOrd="0" destOrd="2" presId="urn:microsoft.com/office/officeart/2005/8/layout/bList2"/>
    <dgm:cxn modelId="{398ADF47-C30F-4D91-9399-2331EE42B583}" type="presOf" srcId="{08813EED-5CCA-4C39-B496-974525377FA8}" destId="{2354B8C4-7CB3-439E-80BD-02ABB2A92118}" srcOrd="0" destOrd="1" presId="urn:microsoft.com/office/officeart/2005/8/layout/bList2"/>
    <dgm:cxn modelId="{8172AD4C-BDE6-4E1D-A46C-8453516897DE}" type="presOf" srcId="{8D7BCDED-6E7F-450A-B855-13B40C62D965}" destId="{4CA81784-4C9A-4C60-AB26-C598F21A2AA9}" srcOrd="0" destOrd="0" presId="urn:microsoft.com/office/officeart/2005/8/layout/bList2"/>
    <dgm:cxn modelId="{696A0E51-6D33-4963-ABA6-230B1DAB2360}" type="presOf" srcId="{ED05BE48-C769-4D87-AC51-F5B14255F044}" destId="{EE4FCE20-9282-42CB-BA67-3DFFEAFE71D0}" srcOrd="0" destOrd="0" presId="urn:microsoft.com/office/officeart/2005/8/layout/bList2"/>
    <dgm:cxn modelId="{EA3A0573-6FAB-4AD5-86BA-4AF8450468BD}" type="presOf" srcId="{4A89C18E-B6E6-45B1-A06D-398710D8322F}" destId="{2BD24E2B-34AB-4CD9-8E13-C9C87627570D}" srcOrd="0" destOrd="0" presId="urn:microsoft.com/office/officeart/2005/8/layout/bList2"/>
    <dgm:cxn modelId="{F06ACC77-FBBB-4514-ACCE-BB1C3FDE27CA}" srcId="{ED05BE48-C769-4D87-AC51-F5B14255F044}" destId="{9F6A8331-FE89-4FEC-BBAE-B8C185CF0903}" srcOrd="2" destOrd="0" parTransId="{336815D4-9501-45B6-B837-8EC5BE75C2B2}" sibTransId="{C2B7A79D-BBA9-4E4A-A5E6-D7C26C5A48CE}"/>
    <dgm:cxn modelId="{B775B984-1F8F-42AF-81C6-F597F47CBA0A}" type="presOf" srcId="{7BE0CC95-75C1-4962-8CED-85B9BAE0B3E4}" destId="{BA8CC32F-F3F4-401F-85AC-BC763D23BDC9}" srcOrd="0" destOrd="0" presId="urn:microsoft.com/office/officeart/2005/8/layout/bList2"/>
    <dgm:cxn modelId="{825FFA9E-9453-46B1-81CE-6EBCD501EED3}" srcId="{8D7BCDED-6E7F-450A-B855-13B40C62D965}" destId="{0C9CDA9B-A16F-4FD7-9E44-4A3A6928683E}" srcOrd="0" destOrd="0" parTransId="{ED24FBE2-ACDC-4F65-8044-313666CF6E85}" sibTransId="{4A89C18E-B6E6-45B1-A06D-398710D8322F}"/>
    <dgm:cxn modelId="{5473D2AE-F1DA-4C70-B078-297551762B72}" type="presOf" srcId="{ED05BE48-C769-4D87-AC51-F5B14255F044}" destId="{E7F36B64-0634-48B3-BED2-CEC3EB7E1320}" srcOrd="1" destOrd="0" presId="urn:microsoft.com/office/officeart/2005/8/layout/bList2"/>
    <dgm:cxn modelId="{E3ADEEB1-11C3-421E-A1C1-9FDBBFECE31E}" srcId="{ED05BE48-C769-4D87-AC51-F5B14255F044}" destId="{29BBF38B-37B2-4EF2-BB08-35AC07251ED6}" srcOrd="0" destOrd="0" parTransId="{5547289D-F4DB-4202-9A38-95A145A182B8}" sibTransId="{68752EC9-4DDD-4528-92A3-437C1E57BEDB}"/>
    <dgm:cxn modelId="{8BA363C0-1FF6-4D16-B4BE-8E2A47C0F99E}" srcId="{8D7BCDED-6E7F-450A-B855-13B40C62D965}" destId="{ED05BE48-C769-4D87-AC51-F5B14255F044}" srcOrd="1" destOrd="0" parTransId="{B05A86E4-8F07-446E-9A96-2388CF75B0FE}" sibTransId="{BA55FE8F-2344-48F8-AC58-9A88FFA8877B}"/>
    <dgm:cxn modelId="{BCD27BC5-C2D6-4227-AE4A-5080C36D5CEA}" srcId="{ED05BE48-C769-4D87-AC51-F5B14255F044}" destId="{08813EED-5CCA-4C39-B496-974525377FA8}" srcOrd="1" destOrd="0" parTransId="{07D5B5E2-6C9C-495E-B535-D85655ADBBA2}" sibTransId="{8ACD451A-E9F1-49E6-A45E-0908D6DC8C0C}"/>
    <dgm:cxn modelId="{253970F3-E55F-4C4A-A7C1-7383D4DADA9C}" srcId="{0C9CDA9B-A16F-4FD7-9E44-4A3A6928683E}" destId="{7BE0CC95-75C1-4962-8CED-85B9BAE0B3E4}" srcOrd="0" destOrd="0" parTransId="{4720EEA7-1657-42A3-9B9A-92FBD00E4AF6}" sibTransId="{EBEE089A-BDF2-4B01-A6B2-8062CFD24C48}"/>
    <dgm:cxn modelId="{2271A609-49D0-4383-8B77-1238DB736427}" type="presParOf" srcId="{4CA81784-4C9A-4C60-AB26-C598F21A2AA9}" destId="{EC4B50E4-EAE6-4F40-A554-2F32B8135CD2}" srcOrd="0" destOrd="0" presId="urn:microsoft.com/office/officeart/2005/8/layout/bList2"/>
    <dgm:cxn modelId="{183141A4-66BD-42C2-A673-5F0C61F61DB7}" type="presParOf" srcId="{EC4B50E4-EAE6-4F40-A554-2F32B8135CD2}" destId="{BA8CC32F-F3F4-401F-85AC-BC763D23BDC9}" srcOrd="0" destOrd="0" presId="urn:microsoft.com/office/officeart/2005/8/layout/bList2"/>
    <dgm:cxn modelId="{FCB36978-977F-4F88-81F0-F74191B779DE}" type="presParOf" srcId="{EC4B50E4-EAE6-4F40-A554-2F32B8135CD2}" destId="{A4755621-8907-452F-9CE0-279F9D269AA2}" srcOrd="1" destOrd="0" presId="urn:microsoft.com/office/officeart/2005/8/layout/bList2"/>
    <dgm:cxn modelId="{69CDC773-2666-4B80-A826-F280B1D50A64}" type="presParOf" srcId="{EC4B50E4-EAE6-4F40-A554-2F32B8135CD2}" destId="{1E95890F-CFEB-410C-825A-CEA536CB457E}" srcOrd="2" destOrd="0" presId="urn:microsoft.com/office/officeart/2005/8/layout/bList2"/>
    <dgm:cxn modelId="{AAEA4F1E-C960-4611-8016-5B3D1D77C784}" type="presParOf" srcId="{EC4B50E4-EAE6-4F40-A554-2F32B8135CD2}" destId="{93623DCC-5C37-494A-8179-CDCD7D6144BD}" srcOrd="3" destOrd="0" presId="urn:microsoft.com/office/officeart/2005/8/layout/bList2"/>
    <dgm:cxn modelId="{8D62207D-2C6A-4971-B633-6F6D5BD83104}" type="presParOf" srcId="{4CA81784-4C9A-4C60-AB26-C598F21A2AA9}" destId="{2BD24E2B-34AB-4CD9-8E13-C9C87627570D}" srcOrd="1" destOrd="0" presId="urn:microsoft.com/office/officeart/2005/8/layout/bList2"/>
    <dgm:cxn modelId="{71B068C3-6915-460B-8112-12B1D55FAF82}" type="presParOf" srcId="{4CA81784-4C9A-4C60-AB26-C598F21A2AA9}" destId="{CB87AF68-8437-4275-B560-165E725EF880}" srcOrd="2" destOrd="0" presId="urn:microsoft.com/office/officeart/2005/8/layout/bList2"/>
    <dgm:cxn modelId="{7A2E2955-2B38-4572-A072-2C34A2E1C56C}" type="presParOf" srcId="{CB87AF68-8437-4275-B560-165E725EF880}" destId="{2354B8C4-7CB3-439E-80BD-02ABB2A92118}" srcOrd="0" destOrd="0" presId="urn:microsoft.com/office/officeart/2005/8/layout/bList2"/>
    <dgm:cxn modelId="{621DEAD8-067D-4463-9219-7952359F6046}" type="presParOf" srcId="{CB87AF68-8437-4275-B560-165E725EF880}" destId="{EE4FCE20-9282-42CB-BA67-3DFFEAFE71D0}" srcOrd="1" destOrd="0" presId="urn:microsoft.com/office/officeart/2005/8/layout/bList2"/>
    <dgm:cxn modelId="{351C2BAC-B899-4B5B-AC45-5A5B392CBD95}" type="presParOf" srcId="{CB87AF68-8437-4275-B560-165E725EF880}" destId="{E7F36B64-0634-48B3-BED2-CEC3EB7E1320}" srcOrd="2" destOrd="0" presId="urn:microsoft.com/office/officeart/2005/8/layout/bList2"/>
    <dgm:cxn modelId="{F7FF1A2A-633D-4CAA-8E44-982C3DC2B40B}" type="presParOf" srcId="{CB87AF68-8437-4275-B560-165E725EF880}" destId="{0079333F-2747-419B-AE6F-7A896083CAEA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68E1CAE-106C-4213-9B78-375D2F85BD3E}" type="doc">
      <dgm:prSet loTypeId="urn:microsoft.com/office/officeart/2005/8/layout/b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55A8A6C-F685-42B5-8FA1-B264CC404E33}">
      <dgm:prSet custT="1"/>
      <dgm:spPr>
        <a:solidFill>
          <a:schemeClr val="tx2">
            <a:lumMod val="75000"/>
          </a:schemeClr>
        </a:solidFill>
        <a:ln>
          <a:solidFill>
            <a:srgbClr val="7030A0"/>
          </a:solidFill>
        </a:ln>
      </dgm:spPr>
      <dgm:t>
        <a:bodyPr/>
        <a:lstStyle/>
        <a:p>
          <a:r>
            <a:rPr lang="en-US" sz="2000" b="1"/>
            <a:t>Yeni kemik metastazı </a:t>
          </a:r>
          <a:endParaRPr lang="en-GB" sz="2000" b="1"/>
        </a:p>
      </dgm:t>
    </dgm:pt>
    <dgm:pt modelId="{154F3717-8082-4C59-B2A1-A94B1A7784B6}" type="parTrans" cxnId="{87A16178-DAB3-405E-8265-E1CE964EE1E9}">
      <dgm:prSet/>
      <dgm:spPr/>
      <dgm:t>
        <a:bodyPr/>
        <a:lstStyle/>
        <a:p>
          <a:endParaRPr lang="en-GB"/>
        </a:p>
      </dgm:t>
    </dgm:pt>
    <dgm:pt modelId="{F8462D0D-3057-4155-99DB-CEE15A5BF2F6}" type="sibTrans" cxnId="{87A16178-DAB3-405E-8265-E1CE964EE1E9}">
      <dgm:prSet/>
      <dgm:spPr/>
      <dgm:t>
        <a:bodyPr/>
        <a:lstStyle/>
        <a:p>
          <a:endParaRPr lang="en-GB"/>
        </a:p>
      </dgm:t>
    </dgm:pt>
    <dgm:pt modelId="{4B395E41-C285-4523-BE87-5D4AC2B1E4A0}">
      <dgm:prSet custT="1"/>
      <dgm:spPr>
        <a:solidFill>
          <a:schemeClr val="tx2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4000" b="1"/>
            <a:t>%35</a:t>
          </a:r>
          <a:endParaRPr lang="en-GB" sz="4000" b="1"/>
        </a:p>
      </dgm:t>
    </dgm:pt>
    <dgm:pt modelId="{31EEAFC6-9817-4EED-89B5-D6038D025140}" type="parTrans" cxnId="{CB5F5F89-B0DE-4C3F-A81B-B1880D67FA59}">
      <dgm:prSet/>
      <dgm:spPr/>
      <dgm:t>
        <a:bodyPr/>
        <a:lstStyle/>
        <a:p>
          <a:endParaRPr lang="en-GB"/>
        </a:p>
      </dgm:t>
    </dgm:pt>
    <dgm:pt modelId="{10AACE3F-B6CA-44F2-B709-2D39631D13AD}" type="sibTrans" cxnId="{CB5F5F89-B0DE-4C3F-A81B-B1880D67FA59}">
      <dgm:prSet/>
      <dgm:spPr/>
      <dgm:t>
        <a:bodyPr/>
        <a:lstStyle/>
        <a:p>
          <a:endParaRPr lang="en-GB"/>
        </a:p>
      </dgm:t>
    </dgm:pt>
    <dgm:pt modelId="{F853838E-6850-40E3-8965-7B0129723E0C}">
      <dgm:prSet custT="1"/>
      <dgm:spPr>
        <a:solidFill>
          <a:schemeClr val="tx2">
            <a:lumMod val="75000"/>
          </a:schemeClr>
        </a:solidFill>
        <a:ln>
          <a:solidFill>
            <a:srgbClr val="7030A0"/>
          </a:solidFill>
        </a:ln>
      </dgm:spPr>
      <dgm:t>
        <a:bodyPr/>
        <a:lstStyle/>
        <a:p>
          <a:r>
            <a:rPr lang="en-US" sz="2000" b="1"/>
            <a:t>Yeni yumuşak doku metastazı </a:t>
          </a:r>
          <a:endParaRPr lang="en-GB" sz="2000" b="1"/>
        </a:p>
      </dgm:t>
    </dgm:pt>
    <dgm:pt modelId="{F8A191CC-FCBC-4251-A40E-2BB85B4236FC}" type="parTrans" cxnId="{711A2BAB-8BDC-4A6D-BC47-45BCAE68F2AE}">
      <dgm:prSet/>
      <dgm:spPr/>
      <dgm:t>
        <a:bodyPr/>
        <a:lstStyle/>
        <a:p>
          <a:endParaRPr lang="en-GB"/>
        </a:p>
      </dgm:t>
    </dgm:pt>
    <dgm:pt modelId="{07A58021-1706-4F63-88B9-97809A8CD058}" type="sibTrans" cxnId="{711A2BAB-8BDC-4A6D-BC47-45BCAE68F2AE}">
      <dgm:prSet/>
      <dgm:spPr/>
      <dgm:t>
        <a:bodyPr/>
        <a:lstStyle/>
        <a:p>
          <a:endParaRPr lang="en-GB"/>
        </a:p>
      </dgm:t>
    </dgm:pt>
    <dgm:pt modelId="{B2B532FC-9121-47A5-B46F-AC1309E30DD9}">
      <dgm:prSet custT="1"/>
      <dgm:spPr>
        <a:solidFill>
          <a:schemeClr val="tx2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4000" b="1"/>
            <a:t>%58</a:t>
          </a:r>
          <a:endParaRPr lang="en-GB" sz="4000" b="1"/>
        </a:p>
      </dgm:t>
    </dgm:pt>
    <dgm:pt modelId="{F556FF46-2342-4EE0-9C0C-F5FAD8F31AA8}" type="parTrans" cxnId="{EE010351-90A6-4223-86BF-BA1AFC42EF9C}">
      <dgm:prSet/>
      <dgm:spPr/>
      <dgm:t>
        <a:bodyPr/>
        <a:lstStyle/>
        <a:p>
          <a:endParaRPr lang="en-GB"/>
        </a:p>
      </dgm:t>
    </dgm:pt>
    <dgm:pt modelId="{0C3D56A7-2DBA-4BE0-9BF1-EA944E767B17}" type="sibTrans" cxnId="{EE010351-90A6-4223-86BF-BA1AFC42EF9C}">
      <dgm:prSet/>
      <dgm:spPr/>
      <dgm:t>
        <a:bodyPr/>
        <a:lstStyle/>
        <a:p>
          <a:endParaRPr lang="en-GB"/>
        </a:p>
      </dgm:t>
    </dgm:pt>
    <dgm:pt modelId="{4DCCCA5F-0173-4085-8C04-8C1C85F96949}">
      <dgm:prSet custT="1"/>
      <dgm:spPr>
        <a:solidFill>
          <a:schemeClr val="tx2">
            <a:lumMod val="75000"/>
          </a:schemeClr>
        </a:solidFill>
        <a:ln>
          <a:solidFill>
            <a:srgbClr val="7030A0"/>
          </a:solidFill>
        </a:ln>
      </dgm:spPr>
      <dgm:t>
        <a:bodyPr/>
        <a:lstStyle/>
        <a:p>
          <a:r>
            <a:rPr lang="en-US" sz="2000" b="1"/>
            <a:t>Kemik+Yumuşak Doku Metastazı Birlikte </a:t>
          </a:r>
          <a:endParaRPr lang="en-GB" sz="2000" b="1"/>
        </a:p>
      </dgm:t>
    </dgm:pt>
    <dgm:pt modelId="{364778D0-8687-4BB4-940C-CB68E58B456F}" type="parTrans" cxnId="{3333F111-0898-4504-AC35-363E7E444E71}">
      <dgm:prSet/>
      <dgm:spPr/>
      <dgm:t>
        <a:bodyPr/>
        <a:lstStyle/>
        <a:p>
          <a:endParaRPr lang="en-GB"/>
        </a:p>
      </dgm:t>
    </dgm:pt>
    <dgm:pt modelId="{2CC97496-9BA5-41DF-937F-89880758B517}" type="sibTrans" cxnId="{3333F111-0898-4504-AC35-363E7E444E71}">
      <dgm:prSet/>
      <dgm:spPr/>
      <dgm:t>
        <a:bodyPr/>
        <a:lstStyle/>
        <a:p>
          <a:endParaRPr lang="en-GB"/>
        </a:p>
      </dgm:t>
    </dgm:pt>
    <dgm:pt modelId="{36A1B6E9-811A-4A84-8003-138946F87FC2}">
      <dgm:prSet custT="1"/>
      <dgm:spPr>
        <a:solidFill>
          <a:schemeClr val="tx2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4000" b="1"/>
            <a:t>%6</a:t>
          </a:r>
          <a:endParaRPr lang="en-GB" sz="4000" b="1"/>
        </a:p>
      </dgm:t>
    </dgm:pt>
    <dgm:pt modelId="{86713CE8-1228-4DB7-B057-D35496A2D87B}" type="parTrans" cxnId="{4FB62B2C-C381-4831-AEEB-DD165DA8A4D1}">
      <dgm:prSet/>
      <dgm:spPr/>
      <dgm:t>
        <a:bodyPr/>
        <a:lstStyle/>
        <a:p>
          <a:endParaRPr lang="en-GB"/>
        </a:p>
      </dgm:t>
    </dgm:pt>
    <dgm:pt modelId="{5E9883EC-33BA-4BC0-83DF-1B29C68D5B92}" type="sibTrans" cxnId="{4FB62B2C-C381-4831-AEEB-DD165DA8A4D1}">
      <dgm:prSet/>
      <dgm:spPr/>
      <dgm:t>
        <a:bodyPr/>
        <a:lstStyle/>
        <a:p>
          <a:endParaRPr lang="en-GB"/>
        </a:p>
      </dgm:t>
    </dgm:pt>
    <dgm:pt modelId="{5E813089-2EE6-44E5-A594-12492398BBA3}" type="pres">
      <dgm:prSet presAssocID="{B68E1CAE-106C-4213-9B78-375D2F85BD3E}" presName="diagram" presStyleCnt="0">
        <dgm:presLayoutVars>
          <dgm:dir/>
          <dgm:animLvl val="lvl"/>
          <dgm:resizeHandles val="exact"/>
        </dgm:presLayoutVars>
      </dgm:prSet>
      <dgm:spPr/>
    </dgm:pt>
    <dgm:pt modelId="{107D217D-940B-469D-B463-23ED1E5D864B}" type="pres">
      <dgm:prSet presAssocID="{455A8A6C-F685-42B5-8FA1-B264CC404E33}" presName="compNode" presStyleCnt="0"/>
      <dgm:spPr/>
    </dgm:pt>
    <dgm:pt modelId="{630855C2-41A4-40DE-9297-DE01FC128F2D}" type="pres">
      <dgm:prSet presAssocID="{455A8A6C-F685-42B5-8FA1-B264CC404E33}" presName="childRect" presStyleLbl="bgAcc1" presStyleIdx="0" presStyleCnt="3">
        <dgm:presLayoutVars>
          <dgm:bulletEnabled val="1"/>
        </dgm:presLayoutVars>
      </dgm:prSet>
      <dgm:spPr/>
    </dgm:pt>
    <dgm:pt modelId="{5E066E28-3F6D-4E41-BAE4-0084F85E6ADB}" type="pres">
      <dgm:prSet presAssocID="{455A8A6C-F685-42B5-8FA1-B264CC404E33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98C2A9EA-86E1-489F-830B-943E2146A99E}" type="pres">
      <dgm:prSet presAssocID="{455A8A6C-F685-42B5-8FA1-B264CC404E33}" presName="parentRect" presStyleLbl="alignNode1" presStyleIdx="0" presStyleCnt="3" custScaleY="233456"/>
      <dgm:spPr/>
    </dgm:pt>
    <dgm:pt modelId="{1F204DC3-D635-41BE-8902-AEF06CB63E0D}" type="pres">
      <dgm:prSet presAssocID="{455A8A6C-F685-42B5-8FA1-B264CC404E33}" presName="adorn" presStyleLbl="fgAccFollowNode1" presStyleIdx="0" presStyleCnt="3"/>
      <dgm:spPr/>
    </dgm:pt>
    <dgm:pt modelId="{413F56F3-A04A-4F17-A817-9118B5309DC2}" type="pres">
      <dgm:prSet presAssocID="{F8462D0D-3057-4155-99DB-CEE15A5BF2F6}" presName="sibTrans" presStyleLbl="sibTrans2D1" presStyleIdx="0" presStyleCnt="0"/>
      <dgm:spPr/>
    </dgm:pt>
    <dgm:pt modelId="{0E8D2AF7-F0A4-4B0A-91E1-814A569EC348}" type="pres">
      <dgm:prSet presAssocID="{F853838E-6850-40E3-8965-7B0129723E0C}" presName="compNode" presStyleCnt="0"/>
      <dgm:spPr/>
    </dgm:pt>
    <dgm:pt modelId="{E48FAF5F-75A9-4710-BB10-A5BE666377F6}" type="pres">
      <dgm:prSet presAssocID="{F853838E-6850-40E3-8965-7B0129723E0C}" presName="childRect" presStyleLbl="bgAcc1" presStyleIdx="1" presStyleCnt="3">
        <dgm:presLayoutVars>
          <dgm:bulletEnabled val="1"/>
        </dgm:presLayoutVars>
      </dgm:prSet>
      <dgm:spPr/>
    </dgm:pt>
    <dgm:pt modelId="{A7EFF5F4-D270-4CA9-9AD5-24DB169851D8}" type="pres">
      <dgm:prSet presAssocID="{F853838E-6850-40E3-8965-7B0129723E0C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333489A9-EDCB-43CA-B47A-D5700F502817}" type="pres">
      <dgm:prSet presAssocID="{F853838E-6850-40E3-8965-7B0129723E0C}" presName="parentRect" presStyleLbl="alignNode1" presStyleIdx="1" presStyleCnt="3" custScaleY="233456"/>
      <dgm:spPr/>
    </dgm:pt>
    <dgm:pt modelId="{BA8723E7-3884-4947-9E3D-68D6A7E25899}" type="pres">
      <dgm:prSet presAssocID="{F853838E-6850-40E3-8965-7B0129723E0C}" presName="adorn" presStyleLbl="fgAccFollowNode1" presStyleIdx="1" presStyleCnt="3"/>
      <dgm:spPr/>
    </dgm:pt>
    <dgm:pt modelId="{71474AD2-81FF-42DA-B82C-E75F0F9F1906}" type="pres">
      <dgm:prSet presAssocID="{07A58021-1706-4F63-88B9-97809A8CD058}" presName="sibTrans" presStyleLbl="sibTrans2D1" presStyleIdx="0" presStyleCnt="0"/>
      <dgm:spPr/>
    </dgm:pt>
    <dgm:pt modelId="{2593FB53-F424-447E-A0C0-D33D6612D422}" type="pres">
      <dgm:prSet presAssocID="{4DCCCA5F-0173-4085-8C04-8C1C85F96949}" presName="compNode" presStyleCnt="0"/>
      <dgm:spPr/>
    </dgm:pt>
    <dgm:pt modelId="{6E3E394C-C962-4827-B15A-198CBB8CDE77}" type="pres">
      <dgm:prSet presAssocID="{4DCCCA5F-0173-4085-8C04-8C1C85F96949}" presName="childRect" presStyleLbl="bgAcc1" presStyleIdx="2" presStyleCnt="3">
        <dgm:presLayoutVars>
          <dgm:bulletEnabled val="1"/>
        </dgm:presLayoutVars>
      </dgm:prSet>
      <dgm:spPr/>
    </dgm:pt>
    <dgm:pt modelId="{5E9A91B5-0C76-48FB-B825-46546D86DBF1}" type="pres">
      <dgm:prSet presAssocID="{4DCCCA5F-0173-4085-8C04-8C1C85F96949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B6B04552-1EE8-44F0-AE82-69BB1FD8601B}" type="pres">
      <dgm:prSet presAssocID="{4DCCCA5F-0173-4085-8C04-8C1C85F96949}" presName="parentRect" presStyleLbl="alignNode1" presStyleIdx="2" presStyleCnt="3" custScaleY="233456"/>
      <dgm:spPr/>
    </dgm:pt>
    <dgm:pt modelId="{55452981-C355-47DD-9EAA-636E0FFEAB92}" type="pres">
      <dgm:prSet presAssocID="{4DCCCA5F-0173-4085-8C04-8C1C85F96949}" presName="adorn" presStyleLbl="fgAccFollowNode1" presStyleIdx="2" presStyleCnt="3"/>
      <dgm:spPr/>
    </dgm:pt>
  </dgm:ptLst>
  <dgm:cxnLst>
    <dgm:cxn modelId="{C9B37410-2951-42E1-955F-A6A885B2FE05}" type="presOf" srcId="{4DCCCA5F-0173-4085-8C04-8C1C85F96949}" destId="{5E9A91B5-0C76-48FB-B825-46546D86DBF1}" srcOrd="0" destOrd="0" presId="urn:microsoft.com/office/officeart/2005/8/layout/bList2"/>
    <dgm:cxn modelId="{3333F111-0898-4504-AC35-363E7E444E71}" srcId="{B68E1CAE-106C-4213-9B78-375D2F85BD3E}" destId="{4DCCCA5F-0173-4085-8C04-8C1C85F96949}" srcOrd="2" destOrd="0" parTransId="{364778D0-8687-4BB4-940C-CB68E58B456F}" sibTransId="{2CC97496-9BA5-41DF-937F-89880758B517}"/>
    <dgm:cxn modelId="{27FBE215-588A-411A-B590-A34830026CAE}" type="presOf" srcId="{4B395E41-C285-4523-BE87-5D4AC2B1E4A0}" destId="{630855C2-41A4-40DE-9297-DE01FC128F2D}" srcOrd="0" destOrd="0" presId="urn:microsoft.com/office/officeart/2005/8/layout/bList2"/>
    <dgm:cxn modelId="{5E4FF923-42B1-4293-8303-B9B47FCADA7C}" type="presOf" srcId="{F8462D0D-3057-4155-99DB-CEE15A5BF2F6}" destId="{413F56F3-A04A-4F17-A817-9118B5309DC2}" srcOrd="0" destOrd="0" presId="urn:microsoft.com/office/officeart/2005/8/layout/bList2"/>
    <dgm:cxn modelId="{4FB62B2C-C381-4831-AEEB-DD165DA8A4D1}" srcId="{4DCCCA5F-0173-4085-8C04-8C1C85F96949}" destId="{36A1B6E9-811A-4A84-8003-138946F87FC2}" srcOrd="0" destOrd="0" parTransId="{86713CE8-1228-4DB7-B057-D35496A2D87B}" sibTransId="{5E9883EC-33BA-4BC0-83DF-1B29C68D5B92}"/>
    <dgm:cxn modelId="{14044C30-0664-4731-AA8F-FB4D4B968ED1}" type="presOf" srcId="{455A8A6C-F685-42B5-8FA1-B264CC404E33}" destId="{98C2A9EA-86E1-489F-830B-943E2146A99E}" srcOrd="1" destOrd="0" presId="urn:microsoft.com/office/officeart/2005/8/layout/bList2"/>
    <dgm:cxn modelId="{83B6A833-D813-401D-8835-03D64F611A84}" type="presOf" srcId="{07A58021-1706-4F63-88B9-97809A8CD058}" destId="{71474AD2-81FF-42DA-B82C-E75F0F9F1906}" srcOrd="0" destOrd="0" presId="urn:microsoft.com/office/officeart/2005/8/layout/bList2"/>
    <dgm:cxn modelId="{18DD7B5D-FC32-4515-9300-312D85628DF3}" type="presOf" srcId="{B68E1CAE-106C-4213-9B78-375D2F85BD3E}" destId="{5E813089-2EE6-44E5-A594-12492398BBA3}" srcOrd="0" destOrd="0" presId="urn:microsoft.com/office/officeart/2005/8/layout/bList2"/>
    <dgm:cxn modelId="{3D0D785E-9198-43DA-A5A2-E498B97063D1}" type="presOf" srcId="{455A8A6C-F685-42B5-8FA1-B264CC404E33}" destId="{5E066E28-3F6D-4E41-BAE4-0084F85E6ADB}" srcOrd="0" destOrd="0" presId="urn:microsoft.com/office/officeart/2005/8/layout/bList2"/>
    <dgm:cxn modelId="{EE010351-90A6-4223-86BF-BA1AFC42EF9C}" srcId="{F853838E-6850-40E3-8965-7B0129723E0C}" destId="{B2B532FC-9121-47A5-B46F-AC1309E30DD9}" srcOrd="0" destOrd="0" parTransId="{F556FF46-2342-4EE0-9C0C-F5FAD8F31AA8}" sibTransId="{0C3D56A7-2DBA-4BE0-9BF1-EA944E767B17}"/>
    <dgm:cxn modelId="{87A16178-DAB3-405E-8265-E1CE964EE1E9}" srcId="{B68E1CAE-106C-4213-9B78-375D2F85BD3E}" destId="{455A8A6C-F685-42B5-8FA1-B264CC404E33}" srcOrd="0" destOrd="0" parTransId="{154F3717-8082-4C59-B2A1-A94B1A7784B6}" sibTransId="{F8462D0D-3057-4155-99DB-CEE15A5BF2F6}"/>
    <dgm:cxn modelId="{CB5F5F89-B0DE-4C3F-A81B-B1880D67FA59}" srcId="{455A8A6C-F685-42B5-8FA1-B264CC404E33}" destId="{4B395E41-C285-4523-BE87-5D4AC2B1E4A0}" srcOrd="0" destOrd="0" parTransId="{31EEAFC6-9817-4EED-89B5-D6038D025140}" sibTransId="{10AACE3F-B6CA-44F2-B709-2D39631D13AD}"/>
    <dgm:cxn modelId="{2A486989-C91D-417F-99EF-ACABB3EC173C}" type="presOf" srcId="{F853838E-6850-40E3-8965-7B0129723E0C}" destId="{333489A9-EDCB-43CA-B47A-D5700F502817}" srcOrd="1" destOrd="0" presId="urn:microsoft.com/office/officeart/2005/8/layout/bList2"/>
    <dgm:cxn modelId="{6E25D09C-F2E5-4303-872F-92ED6E55C1DA}" type="presOf" srcId="{4DCCCA5F-0173-4085-8C04-8C1C85F96949}" destId="{B6B04552-1EE8-44F0-AE82-69BB1FD8601B}" srcOrd="1" destOrd="0" presId="urn:microsoft.com/office/officeart/2005/8/layout/bList2"/>
    <dgm:cxn modelId="{711A2BAB-8BDC-4A6D-BC47-45BCAE68F2AE}" srcId="{B68E1CAE-106C-4213-9B78-375D2F85BD3E}" destId="{F853838E-6850-40E3-8965-7B0129723E0C}" srcOrd="1" destOrd="0" parTransId="{F8A191CC-FCBC-4251-A40E-2BB85B4236FC}" sibTransId="{07A58021-1706-4F63-88B9-97809A8CD058}"/>
    <dgm:cxn modelId="{B6DAB3C2-0F55-4CAC-B025-3D5ECB1D2042}" type="presOf" srcId="{36A1B6E9-811A-4A84-8003-138946F87FC2}" destId="{6E3E394C-C962-4827-B15A-198CBB8CDE77}" srcOrd="0" destOrd="0" presId="urn:microsoft.com/office/officeart/2005/8/layout/bList2"/>
    <dgm:cxn modelId="{042D58F0-0BCF-4E37-93A1-31748954A137}" type="presOf" srcId="{B2B532FC-9121-47A5-B46F-AC1309E30DD9}" destId="{E48FAF5F-75A9-4710-BB10-A5BE666377F6}" srcOrd="0" destOrd="0" presId="urn:microsoft.com/office/officeart/2005/8/layout/bList2"/>
    <dgm:cxn modelId="{AC441CF2-D7D7-4992-A2A7-52511F6801BB}" type="presOf" srcId="{F853838E-6850-40E3-8965-7B0129723E0C}" destId="{A7EFF5F4-D270-4CA9-9AD5-24DB169851D8}" srcOrd="0" destOrd="0" presId="urn:microsoft.com/office/officeart/2005/8/layout/bList2"/>
    <dgm:cxn modelId="{7374999C-5249-4BB2-B3FA-71E3A256B890}" type="presParOf" srcId="{5E813089-2EE6-44E5-A594-12492398BBA3}" destId="{107D217D-940B-469D-B463-23ED1E5D864B}" srcOrd="0" destOrd="0" presId="urn:microsoft.com/office/officeart/2005/8/layout/bList2"/>
    <dgm:cxn modelId="{C1075031-D8C9-474D-82F9-720A892BF222}" type="presParOf" srcId="{107D217D-940B-469D-B463-23ED1E5D864B}" destId="{630855C2-41A4-40DE-9297-DE01FC128F2D}" srcOrd="0" destOrd="0" presId="urn:microsoft.com/office/officeart/2005/8/layout/bList2"/>
    <dgm:cxn modelId="{4A9F8F74-9AEE-4E6C-8ABA-F7060394D901}" type="presParOf" srcId="{107D217D-940B-469D-B463-23ED1E5D864B}" destId="{5E066E28-3F6D-4E41-BAE4-0084F85E6ADB}" srcOrd="1" destOrd="0" presId="urn:microsoft.com/office/officeart/2005/8/layout/bList2"/>
    <dgm:cxn modelId="{E454BC4D-02D3-46C8-A950-184328C0EC54}" type="presParOf" srcId="{107D217D-940B-469D-B463-23ED1E5D864B}" destId="{98C2A9EA-86E1-489F-830B-943E2146A99E}" srcOrd="2" destOrd="0" presId="urn:microsoft.com/office/officeart/2005/8/layout/bList2"/>
    <dgm:cxn modelId="{CD761DDA-DE7E-4F8D-A5B3-967E017395AA}" type="presParOf" srcId="{107D217D-940B-469D-B463-23ED1E5D864B}" destId="{1F204DC3-D635-41BE-8902-AEF06CB63E0D}" srcOrd="3" destOrd="0" presId="urn:microsoft.com/office/officeart/2005/8/layout/bList2"/>
    <dgm:cxn modelId="{84B4E51F-06E9-43D4-B96E-CCBD238D4F71}" type="presParOf" srcId="{5E813089-2EE6-44E5-A594-12492398BBA3}" destId="{413F56F3-A04A-4F17-A817-9118B5309DC2}" srcOrd="1" destOrd="0" presId="urn:microsoft.com/office/officeart/2005/8/layout/bList2"/>
    <dgm:cxn modelId="{BBE26FF4-B8E1-432C-9101-AA7D982F4373}" type="presParOf" srcId="{5E813089-2EE6-44E5-A594-12492398BBA3}" destId="{0E8D2AF7-F0A4-4B0A-91E1-814A569EC348}" srcOrd="2" destOrd="0" presId="urn:microsoft.com/office/officeart/2005/8/layout/bList2"/>
    <dgm:cxn modelId="{3A8AB7A0-AA40-4536-A4F5-B0CBAEDC1EC7}" type="presParOf" srcId="{0E8D2AF7-F0A4-4B0A-91E1-814A569EC348}" destId="{E48FAF5F-75A9-4710-BB10-A5BE666377F6}" srcOrd="0" destOrd="0" presId="urn:microsoft.com/office/officeart/2005/8/layout/bList2"/>
    <dgm:cxn modelId="{A379E313-22F9-42D2-8A23-1920C3105AC2}" type="presParOf" srcId="{0E8D2AF7-F0A4-4B0A-91E1-814A569EC348}" destId="{A7EFF5F4-D270-4CA9-9AD5-24DB169851D8}" srcOrd="1" destOrd="0" presId="urn:microsoft.com/office/officeart/2005/8/layout/bList2"/>
    <dgm:cxn modelId="{9DB1A53A-3F58-4102-9E4F-DD9E55292B86}" type="presParOf" srcId="{0E8D2AF7-F0A4-4B0A-91E1-814A569EC348}" destId="{333489A9-EDCB-43CA-B47A-D5700F502817}" srcOrd="2" destOrd="0" presId="urn:microsoft.com/office/officeart/2005/8/layout/bList2"/>
    <dgm:cxn modelId="{E13CC5B0-1C7F-4F8A-AB29-69C053E33A17}" type="presParOf" srcId="{0E8D2AF7-F0A4-4B0A-91E1-814A569EC348}" destId="{BA8723E7-3884-4947-9E3D-68D6A7E25899}" srcOrd="3" destOrd="0" presId="urn:microsoft.com/office/officeart/2005/8/layout/bList2"/>
    <dgm:cxn modelId="{87047307-D861-466C-9EF9-C6FF0E15BB6A}" type="presParOf" srcId="{5E813089-2EE6-44E5-A594-12492398BBA3}" destId="{71474AD2-81FF-42DA-B82C-E75F0F9F1906}" srcOrd="3" destOrd="0" presId="urn:microsoft.com/office/officeart/2005/8/layout/bList2"/>
    <dgm:cxn modelId="{088A0889-D374-4BF3-9E28-65570F8F2D92}" type="presParOf" srcId="{5E813089-2EE6-44E5-A594-12492398BBA3}" destId="{2593FB53-F424-447E-A0C0-D33D6612D422}" srcOrd="4" destOrd="0" presId="urn:microsoft.com/office/officeart/2005/8/layout/bList2"/>
    <dgm:cxn modelId="{05AF7ED9-5A7C-48FB-ACD1-206EC23CDB35}" type="presParOf" srcId="{2593FB53-F424-447E-A0C0-D33D6612D422}" destId="{6E3E394C-C962-4827-B15A-198CBB8CDE77}" srcOrd="0" destOrd="0" presId="urn:microsoft.com/office/officeart/2005/8/layout/bList2"/>
    <dgm:cxn modelId="{F4134A65-C8EC-422A-A047-D16E9808E82A}" type="presParOf" srcId="{2593FB53-F424-447E-A0C0-D33D6612D422}" destId="{5E9A91B5-0C76-48FB-B825-46546D86DBF1}" srcOrd="1" destOrd="0" presId="urn:microsoft.com/office/officeart/2005/8/layout/bList2"/>
    <dgm:cxn modelId="{D5238E9A-E714-42B2-8413-F8ECBFD9D4A5}" type="presParOf" srcId="{2593FB53-F424-447E-A0C0-D33D6612D422}" destId="{B6B04552-1EE8-44F0-AE82-69BB1FD8601B}" srcOrd="2" destOrd="0" presId="urn:microsoft.com/office/officeart/2005/8/layout/bList2"/>
    <dgm:cxn modelId="{BF33C54E-7618-4ACE-B479-525C4AA47DA6}" type="presParOf" srcId="{2593FB53-F424-447E-A0C0-D33D6612D422}" destId="{55452981-C355-47DD-9EAA-636E0FFEAB92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32D00141-E325-481C-8A7C-7716B3F22ADB}" type="doc">
      <dgm:prSet loTypeId="urn:microsoft.com/office/officeart/2005/8/layout/b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E6D2D5F-FF3D-44EF-94AB-C3A04E18A426}">
      <dgm:prSet custT="1"/>
      <dgm:spPr>
        <a:solidFill>
          <a:srgbClr val="FFFFCC"/>
        </a:solidFill>
      </dgm:spPr>
      <dgm:t>
        <a:bodyPr/>
        <a:lstStyle/>
        <a:p>
          <a:r>
            <a:rPr lang="en-GB" sz="1600" b="1" dirty="0">
              <a:solidFill>
                <a:schemeClr val="tx1"/>
              </a:solidFill>
            </a:rPr>
            <a:t>AR </a:t>
          </a:r>
          <a:r>
            <a:rPr lang="en-GB" sz="1600" b="1" dirty="0" err="1">
              <a:solidFill>
                <a:schemeClr val="tx1"/>
              </a:solidFill>
            </a:rPr>
            <a:t>İnhibitör</a:t>
          </a:r>
          <a:endParaRPr lang="en-GB" sz="1600" b="1" dirty="0">
            <a:solidFill>
              <a:schemeClr val="tx1"/>
            </a:solidFill>
          </a:endParaRPr>
        </a:p>
      </dgm:t>
    </dgm:pt>
    <dgm:pt modelId="{641FD23E-A06A-48A5-9EED-6023798EDDA5}" type="parTrans" cxnId="{B65A0CB3-12A5-402B-B196-7F11C0E58CFF}">
      <dgm:prSet/>
      <dgm:spPr/>
      <dgm:t>
        <a:bodyPr/>
        <a:lstStyle/>
        <a:p>
          <a:endParaRPr lang="en-GB"/>
        </a:p>
      </dgm:t>
    </dgm:pt>
    <dgm:pt modelId="{BC6E2C00-3547-4C68-990B-7E23CDEB2216}" type="sibTrans" cxnId="{B65A0CB3-12A5-402B-B196-7F11C0E58CFF}">
      <dgm:prSet/>
      <dgm:spPr/>
      <dgm:t>
        <a:bodyPr/>
        <a:lstStyle/>
        <a:p>
          <a:endParaRPr lang="en-GB"/>
        </a:p>
      </dgm:t>
    </dgm:pt>
    <dgm:pt modelId="{ACE09BEB-6F17-491B-86AD-687DAC9B2BDC}">
      <dgm:prSet custT="1"/>
      <dgm:spPr/>
      <dgm:t>
        <a:bodyPr/>
        <a:lstStyle/>
        <a:p>
          <a:r>
            <a:rPr lang="en-US" sz="1400" b="1" dirty="0"/>
            <a:t>Abiraterone (2011), </a:t>
          </a:r>
          <a:endParaRPr lang="en-GB" sz="1400" b="1" dirty="0"/>
        </a:p>
      </dgm:t>
    </dgm:pt>
    <dgm:pt modelId="{8DB71EF0-A8C1-43F1-8536-E8CE21F915AC}" type="parTrans" cxnId="{A447A712-F4DF-41AF-A1CA-3779146A7A46}">
      <dgm:prSet/>
      <dgm:spPr/>
      <dgm:t>
        <a:bodyPr/>
        <a:lstStyle/>
        <a:p>
          <a:endParaRPr lang="en-GB"/>
        </a:p>
      </dgm:t>
    </dgm:pt>
    <dgm:pt modelId="{87963A1C-C859-4CDA-85DF-B807546F4768}" type="sibTrans" cxnId="{A447A712-F4DF-41AF-A1CA-3779146A7A46}">
      <dgm:prSet/>
      <dgm:spPr/>
      <dgm:t>
        <a:bodyPr/>
        <a:lstStyle/>
        <a:p>
          <a:endParaRPr lang="en-GB"/>
        </a:p>
      </dgm:t>
    </dgm:pt>
    <dgm:pt modelId="{451D88DD-D773-48FE-A040-8E4B05B8339E}">
      <dgm:prSet custT="1"/>
      <dgm:spPr>
        <a:solidFill>
          <a:srgbClr val="FFFFCC"/>
        </a:solidFill>
      </dgm:spPr>
      <dgm:t>
        <a:bodyPr/>
        <a:lstStyle/>
        <a:p>
          <a:r>
            <a:rPr lang="en-US" sz="1600" b="1" dirty="0" err="1">
              <a:solidFill>
                <a:schemeClr val="tx1"/>
              </a:solidFill>
            </a:rPr>
            <a:t>Sitotoksik</a:t>
          </a:r>
          <a:endParaRPr lang="en-GB" sz="1600" b="1" dirty="0">
            <a:solidFill>
              <a:schemeClr val="tx1"/>
            </a:solidFill>
          </a:endParaRPr>
        </a:p>
      </dgm:t>
    </dgm:pt>
    <dgm:pt modelId="{CCF4F420-DF87-4816-B722-09AE37BF9160}" type="parTrans" cxnId="{7B210654-3916-496A-9561-1F24A40F8DCA}">
      <dgm:prSet/>
      <dgm:spPr/>
      <dgm:t>
        <a:bodyPr/>
        <a:lstStyle/>
        <a:p>
          <a:endParaRPr lang="en-GB"/>
        </a:p>
      </dgm:t>
    </dgm:pt>
    <dgm:pt modelId="{3D1EED10-822B-401D-ABA4-BF4BB7ED5ACB}" type="sibTrans" cxnId="{7B210654-3916-496A-9561-1F24A40F8DCA}">
      <dgm:prSet/>
      <dgm:spPr/>
      <dgm:t>
        <a:bodyPr/>
        <a:lstStyle/>
        <a:p>
          <a:endParaRPr lang="en-GB"/>
        </a:p>
      </dgm:t>
    </dgm:pt>
    <dgm:pt modelId="{55DE7023-2B60-4AAE-9C57-AA69FA56B0F1}">
      <dgm:prSet custT="1"/>
      <dgm:spPr/>
      <dgm:t>
        <a:bodyPr/>
        <a:lstStyle/>
        <a:p>
          <a:r>
            <a:rPr lang="en-US" sz="1400" b="1" dirty="0"/>
            <a:t>Docetaxel (2004), </a:t>
          </a:r>
          <a:endParaRPr lang="en-GB" sz="1400" b="1" dirty="0"/>
        </a:p>
      </dgm:t>
    </dgm:pt>
    <dgm:pt modelId="{50C29D50-EC86-4879-A144-A6095F4D5883}" type="parTrans" cxnId="{FC80E704-5837-42C6-9D21-A9E234A31429}">
      <dgm:prSet/>
      <dgm:spPr/>
      <dgm:t>
        <a:bodyPr/>
        <a:lstStyle/>
        <a:p>
          <a:endParaRPr lang="en-GB"/>
        </a:p>
      </dgm:t>
    </dgm:pt>
    <dgm:pt modelId="{2862706C-0AA9-4F17-8D45-AFF5499FA593}" type="sibTrans" cxnId="{FC80E704-5837-42C6-9D21-A9E234A31429}">
      <dgm:prSet/>
      <dgm:spPr/>
      <dgm:t>
        <a:bodyPr/>
        <a:lstStyle/>
        <a:p>
          <a:endParaRPr lang="en-GB"/>
        </a:p>
      </dgm:t>
    </dgm:pt>
    <dgm:pt modelId="{3C2F2CCF-FE9F-411A-87A9-8D1F787EF102}">
      <dgm:prSet custT="1"/>
      <dgm:spPr>
        <a:solidFill>
          <a:srgbClr val="FFFFCC"/>
        </a:solidFill>
      </dgm:spPr>
      <dgm:t>
        <a:bodyPr/>
        <a:lstStyle/>
        <a:p>
          <a:r>
            <a:rPr lang="en-GB" sz="1600" b="1" dirty="0">
              <a:solidFill>
                <a:schemeClr val="tx1"/>
              </a:solidFill>
            </a:rPr>
            <a:t>İT</a:t>
          </a:r>
        </a:p>
      </dgm:t>
    </dgm:pt>
    <dgm:pt modelId="{9004A64F-8E19-4FCA-B00D-5F70307E327F}" type="parTrans" cxnId="{CC706ED9-4C13-4B51-93D8-933F188E2385}">
      <dgm:prSet/>
      <dgm:spPr/>
      <dgm:t>
        <a:bodyPr/>
        <a:lstStyle/>
        <a:p>
          <a:endParaRPr lang="en-GB"/>
        </a:p>
      </dgm:t>
    </dgm:pt>
    <dgm:pt modelId="{349BD7C3-BDA1-421B-BE44-DBBDF48033CF}" type="sibTrans" cxnId="{CC706ED9-4C13-4B51-93D8-933F188E2385}">
      <dgm:prSet/>
      <dgm:spPr/>
      <dgm:t>
        <a:bodyPr/>
        <a:lstStyle/>
        <a:p>
          <a:endParaRPr lang="en-GB"/>
        </a:p>
      </dgm:t>
    </dgm:pt>
    <dgm:pt modelId="{E685A866-D7E5-45DE-886D-AF67FA7E3F6C}">
      <dgm:prSet custT="1"/>
      <dgm:spPr/>
      <dgm:t>
        <a:bodyPr/>
        <a:lstStyle/>
        <a:p>
          <a:r>
            <a:rPr lang="en-US" sz="1400" b="1"/>
            <a:t>Sipuleucel-T (2010)</a:t>
          </a:r>
          <a:endParaRPr lang="en-GB" sz="1400" b="1"/>
        </a:p>
      </dgm:t>
    </dgm:pt>
    <dgm:pt modelId="{6DC43B35-EEA1-48C1-888A-D223A526976B}" type="parTrans" cxnId="{5B3084E4-8C9F-464E-8976-392AD8583243}">
      <dgm:prSet/>
      <dgm:spPr/>
      <dgm:t>
        <a:bodyPr/>
        <a:lstStyle/>
        <a:p>
          <a:endParaRPr lang="en-GB"/>
        </a:p>
      </dgm:t>
    </dgm:pt>
    <dgm:pt modelId="{47A62CCB-74EA-4910-A675-A189B8E6AE3A}" type="sibTrans" cxnId="{5B3084E4-8C9F-464E-8976-392AD8583243}">
      <dgm:prSet/>
      <dgm:spPr/>
      <dgm:t>
        <a:bodyPr/>
        <a:lstStyle/>
        <a:p>
          <a:endParaRPr lang="en-GB"/>
        </a:p>
      </dgm:t>
    </dgm:pt>
    <dgm:pt modelId="{AA14D3A0-0B3C-4BD7-B017-2C2D5F734626}">
      <dgm:prSet custT="1"/>
      <dgm:spPr/>
      <dgm:t>
        <a:bodyPr/>
        <a:lstStyle/>
        <a:p>
          <a:r>
            <a:rPr lang="en-US" sz="1400" b="1"/>
            <a:t>Pembrolizumab (2017)</a:t>
          </a:r>
          <a:endParaRPr lang="en-GB" sz="1400" b="1"/>
        </a:p>
      </dgm:t>
    </dgm:pt>
    <dgm:pt modelId="{E34F524B-16C3-468C-A651-14938A2CCA3A}" type="parTrans" cxnId="{77A24AFA-EEBA-4791-8ED6-E0CE2BE6982E}">
      <dgm:prSet/>
      <dgm:spPr/>
      <dgm:t>
        <a:bodyPr/>
        <a:lstStyle/>
        <a:p>
          <a:endParaRPr lang="en-GB"/>
        </a:p>
      </dgm:t>
    </dgm:pt>
    <dgm:pt modelId="{C36891BE-398A-48AB-87D6-FE2F8AFE4F5C}" type="sibTrans" cxnId="{77A24AFA-EEBA-4791-8ED6-E0CE2BE6982E}">
      <dgm:prSet/>
      <dgm:spPr/>
      <dgm:t>
        <a:bodyPr/>
        <a:lstStyle/>
        <a:p>
          <a:endParaRPr lang="en-GB"/>
        </a:p>
      </dgm:t>
    </dgm:pt>
    <dgm:pt modelId="{D2286CFC-DDE2-4DDF-90F1-8AD19B0EA600}">
      <dgm:prSet custT="1"/>
      <dgm:spPr>
        <a:solidFill>
          <a:srgbClr val="FFFFCC"/>
        </a:solidFill>
      </dgm:spPr>
      <dgm:t>
        <a:bodyPr/>
        <a:lstStyle/>
        <a:p>
          <a:r>
            <a:rPr lang="en-US" sz="1600" b="1" dirty="0" err="1">
              <a:solidFill>
                <a:schemeClr val="tx1"/>
              </a:solidFill>
            </a:rPr>
            <a:t>Radiofarmatik</a:t>
          </a:r>
          <a:endParaRPr lang="en-GB" sz="1600" b="1" dirty="0">
            <a:solidFill>
              <a:schemeClr val="tx1"/>
            </a:solidFill>
          </a:endParaRPr>
        </a:p>
      </dgm:t>
    </dgm:pt>
    <dgm:pt modelId="{75FD5F40-5C21-4B98-97EB-0479D599D24C}" type="parTrans" cxnId="{41F5C0B7-F9AF-4031-98EF-54658ABF814C}">
      <dgm:prSet/>
      <dgm:spPr/>
      <dgm:t>
        <a:bodyPr/>
        <a:lstStyle/>
        <a:p>
          <a:endParaRPr lang="en-GB"/>
        </a:p>
      </dgm:t>
    </dgm:pt>
    <dgm:pt modelId="{1A07AF32-6206-4A0A-B060-539C6CBAD0B8}" type="sibTrans" cxnId="{41F5C0B7-F9AF-4031-98EF-54658ABF814C}">
      <dgm:prSet/>
      <dgm:spPr/>
      <dgm:t>
        <a:bodyPr/>
        <a:lstStyle/>
        <a:p>
          <a:endParaRPr lang="en-GB"/>
        </a:p>
      </dgm:t>
    </dgm:pt>
    <dgm:pt modelId="{6379EC4F-0E5C-4DE0-B036-24F245B35A73}">
      <dgm:prSet custT="1"/>
      <dgm:spPr/>
      <dgm:t>
        <a:bodyPr/>
        <a:lstStyle/>
        <a:p>
          <a:r>
            <a:rPr lang="en-US" sz="1400" b="1"/>
            <a:t>Radium-223 (2013)</a:t>
          </a:r>
          <a:endParaRPr lang="en-GB" sz="1400" b="1"/>
        </a:p>
      </dgm:t>
    </dgm:pt>
    <dgm:pt modelId="{4249993C-B0F1-4CCE-89B2-30BDB414C77E}" type="parTrans" cxnId="{D118D3C0-8D0B-4A73-AB1E-DFF313FA489E}">
      <dgm:prSet/>
      <dgm:spPr/>
      <dgm:t>
        <a:bodyPr/>
        <a:lstStyle/>
        <a:p>
          <a:endParaRPr lang="en-GB"/>
        </a:p>
      </dgm:t>
    </dgm:pt>
    <dgm:pt modelId="{B1EB7652-EAC9-46D9-8A29-03487A3CFB28}" type="sibTrans" cxnId="{D118D3C0-8D0B-4A73-AB1E-DFF313FA489E}">
      <dgm:prSet/>
      <dgm:spPr/>
      <dgm:t>
        <a:bodyPr/>
        <a:lstStyle/>
        <a:p>
          <a:endParaRPr lang="en-GB"/>
        </a:p>
      </dgm:t>
    </dgm:pt>
    <dgm:pt modelId="{15672BDA-36BE-4520-ADA6-5938C8009115}">
      <dgm:prSet custT="1"/>
      <dgm:spPr>
        <a:solidFill>
          <a:srgbClr val="FFFFCC"/>
        </a:solidFill>
      </dgm:spPr>
      <dgm:t>
        <a:bodyPr/>
        <a:lstStyle/>
        <a:p>
          <a:r>
            <a:rPr lang="en-US" sz="1600" b="1" dirty="0">
              <a:solidFill>
                <a:schemeClr val="tx1"/>
              </a:solidFill>
            </a:rPr>
            <a:t>PARP inhibitor</a:t>
          </a:r>
          <a:endParaRPr lang="en-GB" sz="1600" b="1" dirty="0">
            <a:solidFill>
              <a:schemeClr val="tx1"/>
            </a:solidFill>
          </a:endParaRPr>
        </a:p>
      </dgm:t>
    </dgm:pt>
    <dgm:pt modelId="{3BDB6562-418D-4125-A0C4-C6669E4ACC21}" type="parTrans" cxnId="{7900B852-EDCC-4B61-98D1-C23D734C1B70}">
      <dgm:prSet/>
      <dgm:spPr/>
      <dgm:t>
        <a:bodyPr/>
        <a:lstStyle/>
        <a:p>
          <a:endParaRPr lang="en-GB"/>
        </a:p>
      </dgm:t>
    </dgm:pt>
    <dgm:pt modelId="{40EC6361-CC2F-47BD-BD45-1D43B78DAEAC}" type="sibTrans" cxnId="{7900B852-EDCC-4B61-98D1-C23D734C1B70}">
      <dgm:prSet/>
      <dgm:spPr/>
      <dgm:t>
        <a:bodyPr/>
        <a:lstStyle/>
        <a:p>
          <a:endParaRPr lang="en-GB"/>
        </a:p>
      </dgm:t>
    </dgm:pt>
    <dgm:pt modelId="{B5D8CF2B-BC60-41AC-8E43-596D78288C00}">
      <dgm:prSet custT="1"/>
      <dgm:spPr/>
      <dgm:t>
        <a:bodyPr/>
        <a:lstStyle/>
        <a:p>
          <a:r>
            <a:rPr lang="en-US" sz="1400" b="1" dirty="0"/>
            <a:t>Olaparib (2020), </a:t>
          </a:r>
          <a:endParaRPr lang="en-GB" sz="1400" b="1" dirty="0"/>
        </a:p>
      </dgm:t>
    </dgm:pt>
    <dgm:pt modelId="{651943EC-357C-45BB-A3CF-969E6AEEF318}" type="parTrans" cxnId="{18C79E6F-5DAC-4592-9216-1A6DC574B133}">
      <dgm:prSet/>
      <dgm:spPr/>
      <dgm:t>
        <a:bodyPr/>
        <a:lstStyle/>
        <a:p>
          <a:endParaRPr lang="en-GB"/>
        </a:p>
      </dgm:t>
    </dgm:pt>
    <dgm:pt modelId="{A321CEBB-3A64-427D-A3A2-FC925C8EE935}" type="sibTrans" cxnId="{18C79E6F-5DAC-4592-9216-1A6DC574B133}">
      <dgm:prSet/>
      <dgm:spPr/>
      <dgm:t>
        <a:bodyPr/>
        <a:lstStyle/>
        <a:p>
          <a:endParaRPr lang="en-GB"/>
        </a:p>
      </dgm:t>
    </dgm:pt>
    <dgm:pt modelId="{C2F37C39-7F03-4C98-B23C-714CA59903F0}">
      <dgm:prSet custT="1"/>
      <dgm:spPr/>
      <dgm:t>
        <a:bodyPr/>
        <a:lstStyle/>
        <a:p>
          <a:r>
            <a:rPr lang="en-US" sz="1400" b="1" dirty="0"/>
            <a:t>Enzalutamide (2012)</a:t>
          </a:r>
          <a:endParaRPr lang="en-GB" sz="1400" b="1" dirty="0"/>
        </a:p>
      </dgm:t>
    </dgm:pt>
    <dgm:pt modelId="{23830F96-30D2-4807-B6E8-EFDC900FC656}" type="parTrans" cxnId="{18B13229-3946-4522-80FC-E350B5F635A6}">
      <dgm:prSet/>
      <dgm:spPr/>
      <dgm:t>
        <a:bodyPr/>
        <a:lstStyle/>
        <a:p>
          <a:endParaRPr lang="en-GB"/>
        </a:p>
      </dgm:t>
    </dgm:pt>
    <dgm:pt modelId="{C4D69455-C112-4673-8F9E-3B701DDDE62F}" type="sibTrans" cxnId="{18B13229-3946-4522-80FC-E350B5F635A6}">
      <dgm:prSet/>
      <dgm:spPr/>
      <dgm:t>
        <a:bodyPr/>
        <a:lstStyle/>
        <a:p>
          <a:endParaRPr lang="en-GB"/>
        </a:p>
      </dgm:t>
    </dgm:pt>
    <dgm:pt modelId="{D78B59A3-D9A2-4226-9DBC-6C103706D294}">
      <dgm:prSet custT="1"/>
      <dgm:spPr/>
      <dgm:t>
        <a:bodyPr/>
        <a:lstStyle/>
        <a:p>
          <a:r>
            <a:rPr lang="en-US" sz="1400" b="1" dirty="0" err="1"/>
            <a:t>cabazitaxel</a:t>
          </a:r>
          <a:r>
            <a:rPr lang="en-US" sz="1400" b="1" dirty="0"/>
            <a:t> (2010), </a:t>
          </a:r>
          <a:endParaRPr lang="en-GB" sz="1400" b="1" dirty="0"/>
        </a:p>
      </dgm:t>
    </dgm:pt>
    <dgm:pt modelId="{11C6A7C2-890D-4810-A275-CBC87AFE494F}" type="parTrans" cxnId="{8050A6B3-259D-417E-94B3-5521047F35B6}">
      <dgm:prSet/>
      <dgm:spPr/>
      <dgm:t>
        <a:bodyPr/>
        <a:lstStyle/>
        <a:p>
          <a:endParaRPr lang="en-GB"/>
        </a:p>
      </dgm:t>
    </dgm:pt>
    <dgm:pt modelId="{CC7F80DB-CBE1-4AE2-B9A5-D237827B9215}" type="sibTrans" cxnId="{8050A6B3-259D-417E-94B3-5521047F35B6}">
      <dgm:prSet/>
      <dgm:spPr/>
      <dgm:t>
        <a:bodyPr/>
        <a:lstStyle/>
        <a:p>
          <a:endParaRPr lang="en-GB"/>
        </a:p>
      </dgm:t>
    </dgm:pt>
    <dgm:pt modelId="{ED1AE04D-52DE-402B-AF5E-0A10668D0DAE}">
      <dgm:prSet custT="1"/>
      <dgm:spPr/>
      <dgm:t>
        <a:bodyPr/>
        <a:lstStyle/>
        <a:p>
          <a:r>
            <a:rPr lang="en-US" sz="1400" b="1" dirty="0"/>
            <a:t>mitoxantrone (1996), </a:t>
          </a:r>
          <a:endParaRPr lang="en-GB" sz="1400" b="1" dirty="0"/>
        </a:p>
      </dgm:t>
    </dgm:pt>
    <dgm:pt modelId="{AD9DE835-EA95-4538-AB58-505D75375089}" type="parTrans" cxnId="{36DDE262-87F8-411C-B01B-9DB8C409A4CD}">
      <dgm:prSet/>
      <dgm:spPr/>
      <dgm:t>
        <a:bodyPr/>
        <a:lstStyle/>
        <a:p>
          <a:endParaRPr lang="en-GB"/>
        </a:p>
      </dgm:t>
    </dgm:pt>
    <dgm:pt modelId="{E82B9F9E-B77F-41EA-8411-08B7D462DAEE}" type="sibTrans" cxnId="{36DDE262-87F8-411C-B01B-9DB8C409A4CD}">
      <dgm:prSet/>
      <dgm:spPr/>
      <dgm:t>
        <a:bodyPr/>
        <a:lstStyle/>
        <a:p>
          <a:endParaRPr lang="en-GB"/>
        </a:p>
      </dgm:t>
    </dgm:pt>
    <dgm:pt modelId="{32D72969-9842-4CA1-84DA-7315CE9440A0}">
      <dgm:prSet custT="1"/>
      <dgm:spPr/>
      <dgm:t>
        <a:bodyPr/>
        <a:lstStyle/>
        <a:p>
          <a:r>
            <a:rPr lang="en-US" sz="1400" b="1" dirty="0" err="1"/>
            <a:t>estramustine</a:t>
          </a:r>
          <a:r>
            <a:rPr lang="en-US" sz="1400" b="1" dirty="0"/>
            <a:t> (1981)</a:t>
          </a:r>
          <a:endParaRPr lang="en-GB" sz="1400" b="1" dirty="0"/>
        </a:p>
      </dgm:t>
    </dgm:pt>
    <dgm:pt modelId="{BF27140D-39AE-4554-9F4B-155B505CB6A1}" type="parTrans" cxnId="{00A6BF29-AF6C-44F0-B8CD-27D2B0579C81}">
      <dgm:prSet/>
      <dgm:spPr/>
      <dgm:t>
        <a:bodyPr/>
        <a:lstStyle/>
        <a:p>
          <a:endParaRPr lang="en-GB"/>
        </a:p>
      </dgm:t>
    </dgm:pt>
    <dgm:pt modelId="{F1F4DBD1-4DFB-4FE3-B343-053F3E67DF3E}" type="sibTrans" cxnId="{00A6BF29-AF6C-44F0-B8CD-27D2B0579C81}">
      <dgm:prSet/>
      <dgm:spPr/>
      <dgm:t>
        <a:bodyPr/>
        <a:lstStyle/>
        <a:p>
          <a:endParaRPr lang="en-GB"/>
        </a:p>
      </dgm:t>
    </dgm:pt>
    <dgm:pt modelId="{8CD19653-53E5-4024-B872-AACCC346D691}">
      <dgm:prSet custT="1"/>
      <dgm:spPr/>
      <dgm:t>
        <a:bodyPr/>
        <a:lstStyle/>
        <a:p>
          <a:r>
            <a:rPr lang="en-US" sz="1400" b="1" dirty="0"/>
            <a:t>Rucaparib (2020) </a:t>
          </a:r>
          <a:endParaRPr lang="en-GB" sz="1400" b="1" dirty="0"/>
        </a:p>
      </dgm:t>
    </dgm:pt>
    <dgm:pt modelId="{B84CF274-0175-4630-AB8B-4927AEF97F64}" type="parTrans" cxnId="{B0AD298E-1013-4661-A669-8F18D9C7E09F}">
      <dgm:prSet/>
      <dgm:spPr/>
      <dgm:t>
        <a:bodyPr/>
        <a:lstStyle/>
        <a:p>
          <a:endParaRPr lang="en-GB"/>
        </a:p>
      </dgm:t>
    </dgm:pt>
    <dgm:pt modelId="{456227F2-1616-4E3F-A5E7-46193427255F}" type="sibTrans" cxnId="{B0AD298E-1013-4661-A669-8F18D9C7E09F}">
      <dgm:prSet/>
      <dgm:spPr/>
      <dgm:t>
        <a:bodyPr/>
        <a:lstStyle/>
        <a:p>
          <a:endParaRPr lang="en-GB"/>
        </a:p>
      </dgm:t>
    </dgm:pt>
    <dgm:pt modelId="{149A18AC-2640-4705-B644-56B034DC1F82}" type="pres">
      <dgm:prSet presAssocID="{32D00141-E325-481C-8A7C-7716B3F22ADB}" presName="diagram" presStyleCnt="0">
        <dgm:presLayoutVars>
          <dgm:dir/>
          <dgm:animLvl val="lvl"/>
          <dgm:resizeHandles val="exact"/>
        </dgm:presLayoutVars>
      </dgm:prSet>
      <dgm:spPr/>
    </dgm:pt>
    <dgm:pt modelId="{3A66C3DD-5427-461C-9038-2694E0C07288}" type="pres">
      <dgm:prSet presAssocID="{4E6D2D5F-FF3D-44EF-94AB-C3A04E18A426}" presName="compNode" presStyleCnt="0"/>
      <dgm:spPr/>
    </dgm:pt>
    <dgm:pt modelId="{14EB1144-C7FA-4F00-91C5-C07825083B3E}" type="pres">
      <dgm:prSet presAssocID="{4E6D2D5F-FF3D-44EF-94AB-C3A04E18A426}" presName="childRect" presStyleLbl="bgAcc1" presStyleIdx="0" presStyleCnt="5" custScaleY="190868">
        <dgm:presLayoutVars>
          <dgm:bulletEnabled val="1"/>
        </dgm:presLayoutVars>
      </dgm:prSet>
      <dgm:spPr/>
    </dgm:pt>
    <dgm:pt modelId="{1222C59C-6518-4931-A22C-4AB6A5920E5B}" type="pres">
      <dgm:prSet presAssocID="{4E6D2D5F-FF3D-44EF-94AB-C3A04E18A426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C23AE219-B88D-4CE0-A51D-8B8966A22D83}" type="pres">
      <dgm:prSet presAssocID="{4E6D2D5F-FF3D-44EF-94AB-C3A04E18A426}" presName="parentRect" presStyleLbl="alignNode1" presStyleIdx="0" presStyleCnt="5" custScaleY="185381" custLinFactNeighborX="-669" custLinFactNeighborY="-2543"/>
      <dgm:spPr/>
    </dgm:pt>
    <dgm:pt modelId="{CAE31A42-25B1-4DF9-A6F2-8F7B0A4BA956}" type="pres">
      <dgm:prSet presAssocID="{4E6D2D5F-FF3D-44EF-94AB-C3A04E18A426}" presName="adorn" presStyleLbl="fgAccFollowNode1" presStyleIdx="0" presStyleCnt="5"/>
      <dgm:spPr/>
    </dgm:pt>
    <dgm:pt modelId="{0D17C703-C008-4D68-A779-5782CE2CB150}" type="pres">
      <dgm:prSet presAssocID="{BC6E2C00-3547-4C68-990B-7E23CDEB2216}" presName="sibTrans" presStyleLbl="sibTrans2D1" presStyleIdx="0" presStyleCnt="0"/>
      <dgm:spPr/>
    </dgm:pt>
    <dgm:pt modelId="{B54F6B58-20D7-4D11-A261-DFFB589E1123}" type="pres">
      <dgm:prSet presAssocID="{451D88DD-D773-48FE-A040-8E4B05B8339E}" presName="compNode" presStyleCnt="0"/>
      <dgm:spPr/>
    </dgm:pt>
    <dgm:pt modelId="{EE85E754-7ED5-4DE5-A820-C2037E4E5B05}" type="pres">
      <dgm:prSet presAssocID="{451D88DD-D773-48FE-A040-8E4B05B8339E}" presName="childRect" presStyleLbl="bgAcc1" presStyleIdx="1" presStyleCnt="5" custScaleY="190868">
        <dgm:presLayoutVars>
          <dgm:bulletEnabled val="1"/>
        </dgm:presLayoutVars>
      </dgm:prSet>
      <dgm:spPr/>
    </dgm:pt>
    <dgm:pt modelId="{AEAC55D6-A830-42E5-8C4D-D191D4722998}" type="pres">
      <dgm:prSet presAssocID="{451D88DD-D773-48FE-A040-8E4B05B8339E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405EB911-BB85-4936-9A47-D20D640DDA25}" type="pres">
      <dgm:prSet presAssocID="{451D88DD-D773-48FE-A040-8E4B05B8339E}" presName="parentRect" presStyleLbl="alignNode1" presStyleIdx="1" presStyleCnt="5" custScaleY="185381" custLinFactNeighborX="-669" custLinFactNeighborY="-2543"/>
      <dgm:spPr/>
    </dgm:pt>
    <dgm:pt modelId="{2D56F3AA-DEAE-4E2B-8279-8B73A06592C4}" type="pres">
      <dgm:prSet presAssocID="{451D88DD-D773-48FE-A040-8E4B05B8339E}" presName="adorn" presStyleLbl="fgAccFollowNode1" presStyleIdx="1" presStyleCnt="5"/>
      <dgm:spPr/>
    </dgm:pt>
    <dgm:pt modelId="{F7425990-354F-4E13-8480-15F94EC1D852}" type="pres">
      <dgm:prSet presAssocID="{3D1EED10-822B-401D-ABA4-BF4BB7ED5ACB}" presName="sibTrans" presStyleLbl="sibTrans2D1" presStyleIdx="0" presStyleCnt="0"/>
      <dgm:spPr/>
    </dgm:pt>
    <dgm:pt modelId="{25A30CBF-BC34-42FA-9FF6-463BD71E34E5}" type="pres">
      <dgm:prSet presAssocID="{3C2F2CCF-FE9F-411A-87A9-8D1F787EF102}" presName="compNode" presStyleCnt="0"/>
      <dgm:spPr/>
    </dgm:pt>
    <dgm:pt modelId="{67CA6EA8-E792-4F5C-8A7A-7D50C2A1F37D}" type="pres">
      <dgm:prSet presAssocID="{3C2F2CCF-FE9F-411A-87A9-8D1F787EF102}" presName="childRect" presStyleLbl="bgAcc1" presStyleIdx="2" presStyleCnt="5" custScaleY="190868">
        <dgm:presLayoutVars>
          <dgm:bulletEnabled val="1"/>
        </dgm:presLayoutVars>
      </dgm:prSet>
      <dgm:spPr/>
    </dgm:pt>
    <dgm:pt modelId="{59189EF6-69A3-4006-A82A-55A5E8E90C6A}" type="pres">
      <dgm:prSet presAssocID="{3C2F2CCF-FE9F-411A-87A9-8D1F787EF102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D134D0E1-1163-41B9-BB4E-5ADACCD58BEC}" type="pres">
      <dgm:prSet presAssocID="{3C2F2CCF-FE9F-411A-87A9-8D1F787EF102}" presName="parentRect" presStyleLbl="alignNode1" presStyleIdx="2" presStyleCnt="5" custScaleY="185381" custLinFactNeighborX="-669" custLinFactNeighborY="-2543"/>
      <dgm:spPr/>
    </dgm:pt>
    <dgm:pt modelId="{CFF907E0-98F5-44D7-AB15-BD0B3D02D4EF}" type="pres">
      <dgm:prSet presAssocID="{3C2F2CCF-FE9F-411A-87A9-8D1F787EF102}" presName="adorn" presStyleLbl="fgAccFollowNode1" presStyleIdx="2" presStyleCnt="5"/>
      <dgm:spPr/>
    </dgm:pt>
    <dgm:pt modelId="{8F54E8A9-FC8C-487A-97CC-F3BE3187D0EC}" type="pres">
      <dgm:prSet presAssocID="{349BD7C3-BDA1-421B-BE44-DBBDF48033CF}" presName="sibTrans" presStyleLbl="sibTrans2D1" presStyleIdx="0" presStyleCnt="0"/>
      <dgm:spPr/>
    </dgm:pt>
    <dgm:pt modelId="{03F479A9-769A-44F2-8AD8-90ED6D19E448}" type="pres">
      <dgm:prSet presAssocID="{D2286CFC-DDE2-4DDF-90F1-8AD19B0EA600}" presName="compNode" presStyleCnt="0"/>
      <dgm:spPr/>
    </dgm:pt>
    <dgm:pt modelId="{456B6853-806C-4754-BF29-52A18F03E035}" type="pres">
      <dgm:prSet presAssocID="{D2286CFC-DDE2-4DDF-90F1-8AD19B0EA600}" presName="childRect" presStyleLbl="bgAcc1" presStyleIdx="3" presStyleCnt="5" custScaleY="190868">
        <dgm:presLayoutVars>
          <dgm:bulletEnabled val="1"/>
        </dgm:presLayoutVars>
      </dgm:prSet>
      <dgm:spPr/>
    </dgm:pt>
    <dgm:pt modelId="{2DBB1911-9FF3-458F-829A-ABE2AF8D2036}" type="pres">
      <dgm:prSet presAssocID="{D2286CFC-DDE2-4DDF-90F1-8AD19B0EA600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E106FE16-A013-4D79-989D-B45AA689CB97}" type="pres">
      <dgm:prSet presAssocID="{D2286CFC-DDE2-4DDF-90F1-8AD19B0EA600}" presName="parentRect" presStyleLbl="alignNode1" presStyleIdx="3" presStyleCnt="5" custScaleY="185381"/>
      <dgm:spPr/>
    </dgm:pt>
    <dgm:pt modelId="{E99BDDE7-28CB-4FAB-A628-43D3A8D0EE28}" type="pres">
      <dgm:prSet presAssocID="{D2286CFC-DDE2-4DDF-90F1-8AD19B0EA600}" presName="adorn" presStyleLbl="fgAccFollowNode1" presStyleIdx="3" presStyleCnt="5"/>
      <dgm:spPr/>
    </dgm:pt>
    <dgm:pt modelId="{AA040456-D738-4B5D-8AF2-E75AC6A0D6CB}" type="pres">
      <dgm:prSet presAssocID="{1A07AF32-6206-4A0A-B060-539C6CBAD0B8}" presName="sibTrans" presStyleLbl="sibTrans2D1" presStyleIdx="0" presStyleCnt="0"/>
      <dgm:spPr/>
    </dgm:pt>
    <dgm:pt modelId="{0F5135ED-99BC-4DAD-BD61-EB8808BED39C}" type="pres">
      <dgm:prSet presAssocID="{15672BDA-36BE-4520-ADA6-5938C8009115}" presName="compNode" presStyleCnt="0"/>
      <dgm:spPr/>
    </dgm:pt>
    <dgm:pt modelId="{59C00027-22EF-4A05-849D-12652F8CD5F7}" type="pres">
      <dgm:prSet presAssocID="{15672BDA-36BE-4520-ADA6-5938C8009115}" presName="childRect" presStyleLbl="bgAcc1" presStyleIdx="4" presStyleCnt="5" custScaleY="190868">
        <dgm:presLayoutVars>
          <dgm:bulletEnabled val="1"/>
        </dgm:presLayoutVars>
      </dgm:prSet>
      <dgm:spPr/>
    </dgm:pt>
    <dgm:pt modelId="{D3D607D5-EB8A-48B7-A8BB-BEA68EB22163}" type="pres">
      <dgm:prSet presAssocID="{15672BDA-36BE-4520-ADA6-5938C8009115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D1B28342-DCF5-4FE8-A378-DE060896A6D2}" type="pres">
      <dgm:prSet presAssocID="{15672BDA-36BE-4520-ADA6-5938C8009115}" presName="parentRect" presStyleLbl="alignNode1" presStyleIdx="4" presStyleCnt="5" custScaleY="185381"/>
      <dgm:spPr/>
    </dgm:pt>
    <dgm:pt modelId="{E8568316-9F2F-4D99-904B-F151B8041737}" type="pres">
      <dgm:prSet presAssocID="{15672BDA-36BE-4520-ADA6-5938C8009115}" presName="adorn" presStyleLbl="fgAccFollowNode1" presStyleIdx="4" presStyleCnt="5"/>
      <dgm:spPr/>
    </dgm:pt>
  </dgm:ptLst>
  <dgm:cxnLst>
    <dgm:cxn modelId="{FC80E704-5837-42C6-9D21-A9E234A31429}" srcId="{451D88DD-D773-48FE-A040-8E4B05B8339E}" destId="{55DE7023-2B60-4AAE-9C57-AA69FA56B0F1}" srcOrd="0" destOrd="0" parTransId="{50C29D50-EC86-4879-A144-A6095F4D5883}" sibTransId="{2862706C-0AA9-4F17-8D45-AFF5499FA593}"/>
    <dgm:cxn modelId="{9D92270D-13D7-4E3E-A918-EA99FB3F3599}" type="presOf" srcId="{D2286CFC-DDE2-4DDF-90F1-8AD19B0EA600}" destId="{E106FE16-A013-4D79-989D-B45AA689CB97}" srcOrd="1" destOrd="0" presId="urn:microsoft.com/office/officeart/2005/8/layout/bList2"/>
    <dgm:cxn modelId="{A447A712-F4DF-41AF-A1CA-3779146A7A46}" srcId="{4E6D2D5F-FF3D-44EF-94AB-C3A04E18A426}" destId="{ACE09BEB-6F17-491B-86AD-687DAC9B2BDC}" srcOrd="0" destOrd="0" parTransId="{8DB71EF0-A8C1-43F1-8536-E8CE21F915AC}" sibTransId="{87963A1C-C859-4CDA-85DF-B807546F4768}"/>
    <dgm:cxn modelId="{7D004915-F2F5-4DE7-BB8D-317B446A5AD5}" type="presOf" srcId="{451D88DD-D773-48FE-A040-8E4B05B8339E}" destId="{AEAC55D6-A830-42E5-8C4D-D191D4722998}" srcOrd="0" destOrd="0" presId="urn:microsoft.com/office/officeart/2005/8/layout/bList2"/>
    <dgm:cxn modelId="{6321B41A-B913-4E32-8413-15E93A294D5B}" type="presOf" srcId="{8CD19653-53E5-4024-B872-AACCC346D691}" destId="{59C00027-22EF-4A05-849D-12652F8CD5F7}" srcOrd="0" destOrd="1" presId="urn:microsoft.com/office/officeart/2005/8/layout/bList2"/>
    <dgm:cxn modelId="{6A966A1B-FD37-48FA-89BE-9A26ADACBBEB}" type="presOf" srcId="{451D88DD-D773-48FE-A040-8E4B05B8339E}" destId="{405EB911-BB85-4936-9A47-D20D640DDA25}" srcOrd="1" destOrd="0" presId="urn:microsoft.com/office/officeart/2005/8/layout/bList2"/>
    <dgm:cxn modelId="{D588D821-963D-43DC-9BD6-F10CB3842BAB}" type="presOf" srcId="{AA14D3A0-0B3C-4BD7-B017-2C2D5F734626}" destId="{67CA6EA8-E792-4F5C-8A7A-7D50C2A1F37D}" srcOrd="0" destOrd="1" presId="urn:microsoft.com/office/officeart/2005/8/layout/bList2"/>
    <dgm:cxn modelId="{18B13229-3946-4522-80FC-E350B5F635A6}" srcId="{4E6D2D5F-FF3D-44EF-94AB-C3A04E18A426}" destId="{C2F37C39-7F03-4C98-B23C-714CA59903F0}" srcOrd="1" destOrd="0" parTransId="{23830F96-30D2-4807-B6E8-EFDC900FC656}" sibTransId="{C4D69455-C112-4673-8F9E-3B701DDDE62F}"/>
    <dgm:cxn modelId="{FA2B6529-AC86-4766-9481-BAC895E4125B}" type="presOf" srcId="{ACE09BEB-6F17-491B-86AD-687DAC9B2BDC}" destId="{14EB1144-C7FA-4F00-91C5-C07825083B3E}" srcOrd="0" destOrd="0" presId="urn:microsoft.com/office/officeart/2005/8/layout/bList2"/>
    <dgm:cxn modelId="{00A6BF29-AF6C-44F0-B8CD-27D2B0579C81}" srcId="{451D88DD-D773-48FE-A040-8E4B05B8339E}" destId="{32D72969-9842-4CA1-84DA-7315CE9440A0}" srcOrd="3" destOrd="0" parTransId="{BF27140D-39AE-4554-9F4B-155B505CB6A1}" sibTransId="{F1F4DBD1-4DFB-4FE3-B343-053F3E67DF3E}"/>
    <dgm:cxn modelId="{B175F92A-F536-40ED-A5CC-1F5A10E62B87}" type="presOf" srcId="{6379EC4F-0E5C-4DE0-B036-24F245B35A73}" destId="{456B6853-806C-4754-BF29-52A18F03E035}" srcOrd="0" destOrd="0" presId="urn:microsoft.com/office/officeart/2005/8/layout/bList2"/>
    <dgm:cxn modelId="{0977A12D-FA92-4B91-8703-76D8DDC96E2B}" type="presOf" srcId="{32D00141-E325-481C-8A7C-7716B3F22ADB}" destId="{149A18AC-2640-4705-B644-56B034DC1F82}" srcOrd="0" destOrd="0" presId="urn:microsoft.com/office/officeart/2005/8/layout/bList2"/>
    <dgm:cxn modelId="{BB24872E-B2CA-44F6-83D1-8E834CC70391}" type="presOf" srcId="{1A07AF32-6206-4A0A-B060-539C6CBAD0B8}" destId="{AA040456-D738-4B5D-8AF2-E75AC6A0D6CB}" srcOrd="0" destOrd="0" presId="urn:microsoft.com/office/officeart/2005/8/layout/bList2"/>
    <dgm:cxn modelId="{620F4632-9BBA-40CB-9B31-15DD547B8CFD}" type="presOf" srcId="{55DE7023-2B60-4AAE-9C57-AA69FA56B0F1}" destId="{EE85E754-7ED5-4DE5-A820-C2037E4E5B05}" srcOrd="0" destOrd="0" presId="urn:microsoft.com/office/officeart/2005/8/layout/bList2"/>
    <dgm:cxn modelId="{36DDE262-87F8-411C-B01B-9DB8C409A4CD}" srcId="{451D88DD-D773-48FE-A040-8E4B05B8339E}" destId="{ED1AE04D-52DE-402B-AF5E-0A10668D0DAE}" srcOrd="2" destOrd="0" parTransId="{AD9DE835-EA95-4538-AB58-505D75375089}" sibTransId="{E82B9F9E-B77F-41EA-8411-08B7D462DAEE}"/>
    <dgm:cxn modelId="{B64F1B68-FF47-4024-B512-C20CC6B45575}" type="presOf" srcId="{BC6E2C00-3547-4C68-990B-7E23CDEB2216}" destId="{0D17C703-C008-4D68-A779-5782CE2CB150}" srcOrd="0" destOrd="0" presId="urn:microsoft.com/office/officeart/2005/8/layout/bList2"/>
    <dgm:cxn modelId="{CCFE7968-D29C-49C9-AB7C-5D07CBE9CAF3}" type="presOf" srcId="{ED1AE04D-52DE-402B-AF5E-0A10668D0DAE}" destId="{EE85E754-7ED5-4DE5-A820-C2037E4E5B05}" srcOrd="0" destOrd="2" presId="urn:microsoft.com/office/officeart/2005/8/layout/bList2"/>
    <dgm:cxn modelId="{F0B5574A-A48C-4D9B-A448-FF3100A8CCF6}" type="presOf" srcId="{4E6D2D5F-FF3D-44EF-94AB-C3A04E18A426}" destId="{C23AE219-B88D-4CE0-A51D-8B8966A22D83}" srcOrd="1" destOrd="0" presId="urn:microsoft.com/office/officeart/2005/8/layout/bList2"/>
    <dgm:cxn modelId="{18C79E6F-5DAC-4592-9216-1A6DC574B133}" srcId="{15672BDA-36BE-4520-ADA6-5938C8009115}" destId="{B5D8CF2B-BC60-41AC-8E43-596D78288C00}" srcOrd="0" destOrd="0" parTransId="{651943EC-357C-45BB-A3CF-969E6AEEF318}" sibTransId="{A321CEBB-3A64-427D-A3A2-FC925C8EE935}"/>
    <dgm:cxn modelId="{6C06A770-63D3-4C9E-AF8D-6E60AE1B9EB0}" type="presOf" srcId="{3C2F2CCF-FE9F-411A-87A9-8D1F787EF102}" destId="{59189EF6-69A3-4006-A82A-55A5E8E90C6A}" srcOrd="0" destOrd="0" presId="urn:microsoft.com/office/officeart/2005/8/layout/bList2"/>
    <dgm:cxn modelId="{7900B852-EDCC-4B61-98D1-C23D734C1B70}" srcId="{32D00141-E325-481C-8A7C-7716B3F22ADB}" destId="{15672BDA-36BE-4520-ADA6-5938C8009115}" srcOrd="4" destOrd="0" parTransId="{3BDB6562-418D-4125-A0C4-C6669E4ACC21}" sibTransId="{40EC6361-CC2F-47BD-BD45-1D43B78DAEAC}"/>
    <dgm:cxn modelId="{F5D7E152-F591-4E0C-942F-EB5FFD344339}" type="presOf" srcId="{349BD7C3-BDA1-421B-BE44-DBBDF48033CF}" destId="{8F54E8A9-FC8C-487A-97CC-F3BE3187D0EC}" srcOrd="0" destOrd="0" presId="urn:microsoft.com/office/officeart/2005/8/layout/bList2"/>
    <dgm:cxn modelId="{7B210654-3916-496A-9561-1F24A40F8DCA}" srcId="{32D00141-E325-481C-8A7C-7716B3F22ADB}" destId="{451D88DD-D773-48FE-A040-8E4B05B8339E}" srcOrd="1" destOrd="0" parTransId="{CCF4F420-DF87-4816-B722-09AE37BF9160}" sibTransId="{3D1EED10-822B-401D-ABA4-BF4BB7ED5ACB}"/>
    <dgm:cxn modelId="{F1C90777-8EBF-47DC-88FA-C4B3B3B582E3}" type="presOf" srcId="{B5D8CF2B-BC60-41AC-8E43-596D78288C00}" destId="{59C00027-22EF-4A05-849D-12652F8CD5F7}" srcOrd="0" destOrd="0" presId="urn:microsoft.com/office/officeart/2005/8/layout/bList2"/>
    <dgm:cxn modelId="{24E8F677-7F12-472E-89AB-6FA70B689549}" type="presOf" srcId="{C2F37C39-7F03-4C98-B23C-714CA59903F0}" destId="{14EB1144-C7FA-4F00-91C5-C07825083B3E}" srcOrd="0" destOrd="1" presId="urn:microsoft.com/office/officeart/2005/8/layout/bList2"/>
    <dgm:cxn modelId="{56958978-A405-4CC3-BB46-82E6EDE8C59B}" type="presOf" srcId="{15672BDA-36BE-4520-ADA6-5938C8009115}" destId="{D3D607D5-EB8A-48B7-A8BB-BEA68EB22163}" srcOrd="0" destOrd="0" presId="urn:microsoft.com/office/officeart/2005/8/layout/bList2"/>
    <dgm:cxn modelId="{E1F02380-40DA-4F8D-B162-406831B6A6ED}" type="presOf" srcId="{32D72969-9842-4CA1-84DA-7315CE9440A0}" destId="{EE85E754-7ED5-4DE5-A820-C2037E4E5B05}" srcOrd="0" destOrd="3" presId="urn:microsoft.com/office/officeart/2005/8/layout/bList2"/>
    <dgm:cxn modelId="{46AE2082-F7D3-4828-97EC-CDB52A5C6BCA}" type="presOf" srcId="{4E6D2D5F-FF3D-44EF-94AB-C3A04E18A426}" destId="{1222C59C-6518-4931-A22C-4AB6A5920E5B}" srcOrd="0" destOrd="0" presId="urn:microsoft.com/office/officeart/2005/8/layout/bList2"/>
    <dgm:cxn modelId="{DC56468C-FF1E-4410-BE4C-0F3A39E47913}" type="presOf" srcId="{D2286CFC-DDE2-4DDF-90F1-8AD19B0EA600}" destId="{2DBB1911-9FF3-458F-829A-ABE2AF8D2036}" srcOrd="0" destOrd="0" presId="urn:microsoft.com/office/officeart/2005/8/layout/bList2"/>
    <dgm:cxn modelId="{B0AD298E-1013-4661-A669-8F18D9C7E09F}" srcId="{15672BDA-36BE-4520-ADA6-5938C8009115}" destId="{8CD19653-53E5-4024-B872-AACCC346D691}" srcOrd="1" destOrd="0" parTransId="{B84CF274-0175-4630-AB8B-4927AEF97F64}" sibTransId="{456227F2-1616-4E3F-A5E7-46193427255F}"/>
    <dgm:cxn modelId="{4B4CD6A4-E700-4C6D-8AF3-C109793CD038}" type="presOf" srcId="{3C2F2CCF-FE9F-411A-87A9-8D1F787EF102}" destId="{D134D0E1-1163-41B9-BB4E-5ADACCD58BEC}" srcOrd="1" destOrd="0" presId="urn:microsoft.com/office/officeart/2005/8/layout/bList2"/>
    <dgm:cxn modelId="{9B1D9EA6-FD85-4A42-8174-D690C0026914}" type="presOf" srcId="{15672BDA-36BE-4520-ADA6-5938C8009115}" destId="{D1B28342-DCF5-4FE8-A378-DE060896A6D2}" srcOrd="1" destOrd="0" presId="urn:microsoft.com/office/officeart/2005/8/layout/bList2"/>
    <dgm:cxn modelId="{B65A0CB3-12A5-402B-B196-7F11C0E58CFF}" srcId="{32D00141-E325-481C-8A7C-7716B3F22ADB}" destId="{4E6D2D5F-FF3D-44EF-94AB-C3A04E18A426}" srcOrd="0" destOrd="0" parTransId="{641FD23E-A06A-48A5-9EED-6023798EDDA5}" sibTransId="{BC6E2C00-3547-4C68-990B-7E23CDEB2216}"/>
    <dgm:cxn modelId="{8050A6B3-259D-417E-94B3-5521047F35B6}" srcId="{451D88DD-D773-48FE-A040-8E4B05B8339E}" destId="{D78B59A3-D9A2-4226-9DBC-6C103706D294}" srcOrd="1" destOrd="0" parTransId="{11C6A7C2-890D-4810-A275-CBC87AFE494F}" sibTransId="{CC7F80DB-CBE1-4AE2-B9A5-D237827B9215}"/>
    <dgm:cxn modelId="{41F5C0B7-F9AF-4031-98EF-54658ABF814C}" srcId="{32D00141-E325-481C-8A7C-7716B3F22ADB}" destId="{D2286CFC-DDE2-4DDF-90F1-8AD19B0EA600}" srcOrd="3" destOrd="0" parTransId="{75FD5F40-5C21-4B98-97EB-0479D599D24C}" sibTransId="{1A07AF32-6206-4A0A-B060-539C6CBAD0B8}"/>
    <dgm:cxn modelId="{D118D3C0-8D0B-4A73-AB1E-DFF313FA489E}" srcId="{D2286CFC-DDE2-4DDF-90F1-8AD19B0EA600}" destId="{6379EC4F-0E5C-4DE0-B036-24F245B35A73}" srcOrd="0" destOrd="0" parTransId="{4249993C-B0F1-4CCE-89B2-30BDB414C77E}" sibTransId="{B1EB7652-EAC9-46D9-8A29-03487A3CFB28}"/>
    <dgm:cxn modelId="{74C13CCC-D4DA-44A8-8EC4-502605ECEF43}" type="presOf" srcId="{3D1EED10-822B-401D-ABA4-BF4BB7ED5ACB}" destId="{F7425990-354F-4E13-8480-15F94EC1D852}" srcOrd="0" destOrd="0" presId="urn:microsoft.com/office/officeart/2005/8/layout/bList2"/>
    <dgm:cxn modelId="{896563D0-7B3B-4A70-AD00-7010F0D00539}" type="presOf" srcId="{D78B59A3-D9A2-4226-9DBC-6C103706D294}" destId="{EE85E754-7ED5-4DE5-A820-C2037E4E5B05}" srcOrd="0" destOrd="1" presId="urn:microsoft.com/office/officeart/2005/8/layout/bList2"/>
    <dgm:cxn modelId="{CC706ED9-4C13-4B51-93D8-933F188E2385}" srcId="{32D00141-E325-481C-8A7C-7716B3F22ADB}" destId="{3C2F2CCF-FE9F-411A-87A9-8D1F787EF102}" srcOrd="2" destOrd="0" parTransId="{9004A64F-8E19-4FCA-B00D-5F70307E327F}" sibTransId="{349BD7C3-BDA1-421B-BE44-DBBDF48033CF}"/>
    <dgm:cxn modelId="{5B3084E4-8C9F-464E-8976-392AD8583243}" srcId="{3C2F2CCF-FE9F-411A-87A9-8D1F787EF102}" destId="{E685A866-D7E5-45DE-886D-AF67FA7E3F6C}" srcOrd="0" destOrd="0" parTransId="{6DC43B35-EEA1-48C1-888A-D223A526976B}" sibTransId="{47A62CCB-74EA-4910-A675-A189B8E6AE3A}"/>
    <dgm:cxn modelId="{77A24AFA-EEBA-4791-8ED6-E0CE2BE6982E}" srcId="{3C2F2CCF-FE9F-411A-87A9-8D1F787EF102}" destId="{AA14D3A0-0B3C-4BD7-B017-2C2D5F734626}" srcOrd="1" destOrd="0" parTransId="{E34F524B-16C3-468C-A651-14938A2CCA3A}" sibTransId="{C36891BE-398A-48AB-87D6-FE2F8AFE4F5C}"/>
    <dgm:cxn modelId="{80F2C3FB-B7F7-4920-A930-E63968741639}" type="presOf" srcId="{E685A866-D7E5-45DE-886D-AF67FA7E3F6C}" destId="{67CA6EA8-E792-4F5C-8A7A-7D50C2A1F37D}" srcOrd="0" destOrd="0" presId="urn:microsoft.com/office/officeart/2005/8/layout/bList2"/>
    <dgm:cxn modelId="{19059309-019F-4B3C-8088-0FAC6859ABA4}" type="presParOf" srcId="{149A18AC-2640-4705-B644-56B034DC1F82}" destId="{3A66C3DD-5427-461C-9038-2694E0C07288}" srcOrd="0" destOrd="0" presId="urn:microsoft.com/office/officeart/2005/8/layout/bList2"/>
    <dgm:cxn modelId="{38F026A1-94EC-457A-B6DF-1DCCEADA93B7}" type="presParOf" srcId="{3A66C3DD-5427-461C-9038-2694E0C07288}" destId="{14EB1144-C7FA-4F00-91C5-C07825083B3E}" srcOrd="0" destOrd="0" presId="urn:microsoft.com/office/officeart/2005/8/layout/bList2"/>
    <dgm:cxn modelId="{83622273-D3B7-4718-9F7A-B0D2AA21927F}" type="presParOf" srcId="{3A66C3DD-5427-461C-9038-2694E0C07288}" destId="{1222C59C-6518-4931-A22C-4AB6A5920E5B}" srcOrd="1" destOrd="0" presId="urn:microsoft.com/office/officeart/2005/8/layout/bList2"/>
    <dgm:cxn modelId="{D25F2562-8B10-4826-B4DA-85B7E0E2C7BB}" type="presParOf" srcId="{3A66C3DD-5427-461C-9038-2694E0C07288}" destId="{C23AE219-B88D-4CE0-A51D-8B8966A22D83}" srcOrd="2" destOrd="0" presId="urn:microsoft.com/office/officeart/2005/8/layout/bList2"/>
    <dgm:cxn modelId="{02649228-50F3-4029-83BA-9A49A2B2CCE8}" type="presParOf" srcId="{3A66C3DD-5427-461C-9038-2694E0C07288}" destId="{CAE31A42-25B1-4DF9-A6F2-8F7B0A4BA956}" srcOrd="3" destOrd="0" presId="urn:microsoft.com/office/officeart/2005/8/layout/bList2"/>
    <dgm:cxn modelId="{A6D647DA-2028-42F5-99DA-EC8886311AF1}" type="presParOf" srcId="{149A18AC-2640-4705-B644-56B034DC1F82}" destId="{0D17C703-C008-4D68-A779-5782CE2CB150}" srcOrd="1" destOrd="0" presId="urn:microsoft.com/office/officeart/2005/8/layout/bList2"/>
    <dgm:cxn modelId="{40F5E1EB-C787-48C2-86F6-767CF0F411A6}" type="presParOf" srcId="{149A18AC-2640-4705-B644-56B034DC1F82}" destId="{B54F6B58-20D7-4D11-A261-DFFB589E1123}" srcOrd="2" destOrd="0" presId="urn:microsoft.com/office/officeart/2005/8/layout/bList2"/>
    <dgm:cxn modelId="{08CF4BF0-BEDD-494E-AAA3-9B219803468A}" type="presParOf" srcId="{B54F6B58-20D7-4D11-A261-DFFB589E1123}" destId="{EE85E754-7ED5-4DE5-A820-C2037E4E5B05}" srcOrd="0" destOrd="0" presId="urn:microsoft.com/office/officeart/2005/8/layout/bList2"/>
    <dgm:cxn modelId="{E1D50EB4-588B-49DF-A50B-A3D64C84D5BE}" type="presParOf" srcId="{B54F6B58-20D7-4D11-A261-DFFB589E1123}" destId="{AEAC55D6-A830-42E5-8C4D-D191D4722998}" srcOrd="1" destOrd="0" presId="urn:microsoft.com/office/officeart/2005/8/layout/bList2"/>
    <dgm:cxn modelId="{1EB5DF12-D71D-4940-BDB3-9FB5B2BD9CCB}" type="presParOf" srcId="{B54F6B58-20D7-4D11-A261-DFFB589E1123}" destId="{405EB911-BB85-4936-9A47-D20D640DDA25}" srcOrd="2" destOrd="0" presId="urn:microsoft.com/office/officeart/2005/8/layout/bList2"/>
    <dgm:cxn modelId="{B7282B9A-936B-4381-B6D3-EC5FDC7330EC}" type="presParOf" srcId="{B54F6B58-20D7-4D11-A261-DFFB589E1123}" destId="{2D56F3AA-DEAE-4E2B-8279-8B73A06592C4}" srcOrd="3" destOrd="0" presId="urn:microsoft.com/office/officeart/2005/8/layout/bList2"/>
    <dgm:cxn modelId="{4789C483-1C0E-4A11-BFA2-7E84BEC72BE7}" type="presParOf" srcId="{149A18AC-2640-4705-B644-56B034DC1F82}" destId="{F7425990-354F-4E13-8480-15F94EC1D852}" srcOrd="3" destOrd="0" presId="urn:microsoft.com/office/officeart/2005/8/layout/bList2"/>
    <dgm:cxn modelId="{AEEBFBD8-1B1D-4358-8810-D632EDCD5A52}" type="presParOf" srcId="{149A18AC-2640-4705-B644-56B034DC1F82}" destId="{25A30CBF-BC34-42FA-9FF6-463BD71E34E5}" srcOrd="4" destOrd="0" presId="urn:microsoft.com/office/officeart/2005/8/layout/bList2"/>
    <dgm:cxn modelId="{6D4507AA-F73E-48CC-B957-45234B9A86F9}" type="presParOf" srcId="{25A30CBF-BC34-42FA-9FF6-463BD71E34E5}" destId="{67CA6EA8-E792-4F5C-8A7A-7D50C2A1F37D}" srcOrd="0" destOrd="0" presId="urn:microsoft.com/office/officeart/2005/8/layout/bList2"/>
    <dgm:cxn modelId="{5546D613-2A07-4320-813D-CDA23287F528}" type="presParOf" srcId="{25A30CBF-BC34-42FA-9FF6-463BD71E34E5}" destId="{59189EF6-69A3-4006-A82A-55A5E8E90C6A}" srcOrd="1" destOrd="0" presId="urn:microsoft.com/office/officeart/2005/8/layout/bList2"/>
    <dgm:cxn modelId="{2C3B5613-0E4F-4ACE-8C67-5C955CD0D1A1}" type="presParOf" srcId="{25A30CBF-BC34-42FA-9FF6-463BD71E34E5}" destId="{D134D0E1-1163-41B9-BB4E-5ADACCD58BEC}" srcOrd="2" destOrd="0" presId="urn:microsoft.com/office/officeart/2005/8/layout/bList2"/>
    <dgm:cxn modelId="{CD71DA7D-CDBC-4477-8021-04DEB20F53D9}" type="presParOf" srcId="{25A30CBF-BC34-42FA-9FF6-463BD71E34E5}" destId="{CFF907E0-98F5-44D7-AB15-BD0B3D02D4EF}" srcOrd="3" destOrd="0" presId="urn:microsoft.com/office/officeart/2005/8/layout/bList2"/>
    <dgm:cxn modelId="{40217DDD-3440-429A-BEF2-6B82722250B6}" type="presParOf" srcId="{149A18AC-2640-4705-B644-56B034DC1F82}" destId="{8F54E8A9-FC8C-487A-97CC-F3BE3187D0EC}" srcOrd="5" destOrd="0" presId="urn:microsoft.com/office/officeart/2005/8/layout/bList2"/>
    <dgm:cxn modelId="{E7668FD6-9088-4A4D-BA70-1966F077635A}" type="presParOf" srcId="{149A18AC-2640-4705-B644-56B034DC1F82}" destId="{03F479A9-769A-44F2-8AD8-90ED6D19E448}" srcOrd="6" destOrd="0" presId="urn:microsoft.com/office/officeart/2005/8/layout/bList2"/>
    <dgm:cxn modelId="{3E8CC1FA-0667-4ED9-978E-9F35E246CF22}" type="presParOf" srcId="{03F479A9-769A-44F2-8AD8-90ED6D19E448}" destId="{456B6853-806C-4754-BF29-52A18F03E035}" srcOrd="0" destOrd="0" presId="urn:microsoft.com/office/officeart/2005/8/layout/bList2"/>
    <dgm:cxn modelId="{68261146-DB02-4DEE-9490-E936EDF8DABF}" type="presParOf" srcId="{03F479A9-769A-44F2-8AD8-90ED6D19E448}" destId="{2DBB1911-9FF3-458F-829A-ABE2AF8D2036}" srcOrd="1" destOrd="0" presId="urn:microsoft.com/office/officeart/2005/8/layout/bList2"/>
    <dgm:cxn modelId="{ABB31977-A24D-4351-9F3B-5D023B0B49D9}" type="presParOf" srcId="{03F479A9-769A-44F2-8AD8-90ED6D19E448}" destId="{E106FE16-A013-4D79-989D-B45AA689CB97}" srcOrd="2" destOrd="0" presId="urn:microsoft.com/office/officeart/2005/8/layout/bList2"/>
    <dgm:cxn modelId="{1CB14EEA-357E-4D6B-9A48-8F384D4072DA}" type="presParOf" srcId="{03F479A9-769A-44F2-8AD8-90ED6D19E448}" destId="{E99BDDE7-28CB-4FAB-A628-43D3A8D0EE28}" srcOrd="3" destOrd="0" presId="urn:microsoft.com/office/officeart/2005/8/layout/bList2"/>
    <dgm:cxn modelId="{3E3C48B9-98BD-4D1C-A55F-4C087D039A26}" type="presParOf" srcId="{149A18AC-2640-4705-B644-56B034DC1F82}" destId="{AA040456-D738-4B5D-8AF2-E75AC6A0D6CB}" srcOrd="7" destOrd="0" presId="urn:microsoft.com/office/officeart/2005/8/layout/bList2"/>
    <dgm:cxn modelId="{EF387825-531E-452B-A2DC-0732FA265528}" type="presParOf" srcId="{149A18AC-2640-4705-B644-56B034DC1F82}" destId="{0F5135ED-99BC-4DAD-BD61-EB8808BED39C}" srcOrd="8" destOrd="0" presId="urn:microsoft.com/office/officeart/2005/8/layout/bList2"/>
    <dgm:cxn modelId="{36A8DB45-2092-4EE7-9069-7E5691A46A69}" type="presParOf" srcId="{0F5135ED-99BC-4DAD-BD61-EB8808BED39C}" destId="{59C00027-22EF-4A05-849D-12652F8CD5F7}" srcOrd="0" destOrd="0" presId="urn:microsoft.com/office/officeart/2005/8/layout/bList2"/>
    <dgm:cxn modelId="{179C274A-8BB2-468B-BE73-4DD23DD7414A}" type="presParOf" srcId="{0F5135ED-99BC-4DAD-BD61-EB8808BED39C}" destId="{D3D607D5-EB8A-48B7-A8BB-BEA68EB22163}" srcOrd="1" destOrd="0" presId="urn:microsoft.com/office/officeart/2005/8/layout/bList2"/>
    <dgm:cxn modelId="{1AC0BB66-E22C-42CB-A100-D9C858B36085}" type="presParOf" srcId="{0F5135ED-99BC-4DAD-BD61-EB8808BED39C}" destId="{D1B28342-DCF5-4FE8-A378-DE060896A6D2}" srcOrd="2" destOrd="0" presId="urn:microsoft.com/office/officeart/2005/8/layout/bList2"/>
    <dgm:cxn modelId="{B73E25A2-21D0-4143-A6AD-A73535856B1E}" type="presParOf" srcId="{0F5135ED-99BC-4DAD-BD61-EB8808BED39C}" destId="{E8568316-9F2F-4D99-904B-F151B8041737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3A7B89DB-D1D0-4EC9-AD10-94A75A1295D0}" type="doc">
      <dgm:prSet loTypeId="urn:microsoft.com/office/officeart/2005/8/layout/vList5" loCatId="list" qsTypeId="urn:microsoft.com/office/officeart/2005/8/quickstyle/3d9" qsCatId="3D" csTypeId="urn:microsoft.com/office/officeart/2005/8/colors/accent0_2" csCatId="mainScheme" phldr="1"/>
      <dgm:spPr/>
      <dgm:t>
        <a:bodyPr/>
        <a:lstStyle/>
        <a:p>
          <a:endParaRPr lang="en-GB"/>
        </a:p>
      </dgm:t>
    </dgm:pt>
    <dgm:pt modelId="{5C773475-8422-4DA4-9D36-1F05FC4BF9EA}">
      <dgm:prSet/>
      <dgm:spPr/>
      <dgm:t>
        <a:bodyPr/>
        <a:lstStyle/>
        <a:p>
          <a:r>
            <a:rPr lang="tr-TR" dirty="0"/>
            <a:t>TAX-327 </a:t>
          </a:r>
          <a:r>
            <a:rPr lang="tr-TR" dirty="0" err="1"/>
            <a:t>mKDPK’li</a:t>
          </a:r>
          <a:r>
            <a:rPr lang="tr-TR" dirty="0"/>
            <a:t> erkeklerde </a:t>
          </a:r>
          <a:r>
            <a:rPr lang="tr-TR" dirty="0" err="1"/>
            <a:t>randomize</a:t>
          </a:r>
          <a:r>
            <a:rPr lang="tr-TR" dirty="0"/>
            <a:t>, açık etiket, Faz 3 çalışmadır.</a:t>
          </a:r>
          <a:endParaRPr lang="en-GB" dirty="0"/>
        </a:p>
      </dgm:t>
    </dgm:pt>
    <dgm:pt modelId="{A394AA70-F265-4B2E-8282-007840FC4453}" type="parTrans" cxnId="{6FAC0028-5F36-4FE6-BEBD-974BF921AE7E}">
      <dgm:prSet/>
      <dgm:spPr/>
      <dgm:t>
        <a:bodyPr/>
        <a:lstStyle/>
        <a:p>
          <a:endParaRPr lang="en-GB"/>
        </a:p>
      </dgm:t>
    </dgm:pt>
    <dgm:pt modelId="{B136B01E-87FA-4243-AB03-530AE711828C}" type="sibTrans" cxnId="{6FAC0028-5F36-4FE6-BEBD-974BF921AE7E}">
      <dgm:prSet/>
      <dgm:spPr/>
      <dgm:t>
        <a:bodyPr/>
        <a:lstStyle/>
        <a:p>
          <a:endParaRPr lang="en-GB"/>
        </a:p>
      </dgm:t>
    </dgm:pt>
    <dgm:pt modelId="{9BF9BF51-1AE6-40F3-8381-F2FAD18FC11C}">
      <dgm:prSet/>
      <dgm:spPr/>
      <dgm:t>
        <a:bodyPr/>
        <a:lstStyle/>
        <a:p>
          <a:r>
            <a:rPr lang="tr-TR" dirty="0"/>
            <a:t>Dahil olma kriterleri:</a:t>
          </a:r>
          <a:endParaRPr lang="en-GB" dirty="0"/>
        </a:p>
      </dgm:t>
    </dgm:pt>
    <dgm:pt modelId="{8F8EC76C-A79F-4528-AE5E-8E7456B409C4}" type="parTrans" cxnId="{93022067-E6B9-4C7A-ADBA-6E955155812B}">
      <dgm:prSet/>
      <dgm:spPr/>
      <dgm:t>
        <a:bodyPr/>
        <a:lstStyle/>
        <a:p>
          <a:endParaRPr lang="en-GB"/>
        </a:p>
      </dgm:t>
    </dgm:pt>
    <dgm:pt modelId="{4C17CFEA-8448-4ED5-8B77-47C8C4255CF8}" type="sibTrans" cxnId="{93022067-E6B9-4C7A-ADBA-6E955155812B}">
      <dgm:prSet/>
      <dgm:spPr/>
      <dgm:t>
        <a:bodyPr/>
        <a:lstStyle/>
        <a:p>
          <a:endParaRPr lang="en-GB"/>
        </a:p>
      </dgm:t>
    </dgm:pt>
    <dgm:pt modelId="{8A0F1665-711D-44DA-9CFB-4A58FE3A4D9E}">
      <dgm:prSet/>
      <dgm:spPr/>
      <dgm:t>
        <a:bodyPr/>
        <a:lstStyle/>
        <a:p>
          <a:r>
            <a:rPr lang="tr-TR"/>
            <a:t>Konfirme edilmiş prostat adenoca. ve idame olarak ADT sonrası progresif metastatik hastalık</a:t>
          </a:r>
          <a:endParaRPr lang="en-GB"/>
        </a:p>
      </dgm:t>
    </dgm:pt>
    <dgm:pt modelId="{7FB5D596-AB93-458F-A5B1-A672C9C62F09}" type="parTrans" cxnId="{DDA30641-09AB-4A77-9D4C-98BDB70F7EF6}">
      <dgm:prSet/>
      <dgm:spPr/>
      <dgm:t>
        <a:bodyPr/>
        <a:lstStyle/>
        <a:p>
          <a:endParaRPr lang="en-GB"/>
        </a:p>
      </dgm:t>
    </dgm:pt>
    <dgm:pt modelId="{924FE3A9-D992-4976-BBFD-1653EAE39A2F}" type="sibTrans" cxnId="{DDA30641-09AB-4A77-9D4C-98BDB70F7EF6}">
      <dgm:prSet/>
      <dgm:spPr/>
      <dgm:t>
        <a:bodyPr/>
        <a:lstStyle/>
        <a:p>
          <a:endParaRPr lang="en-GB"/>
        </a:p>
      </dgm:t>
    </dgm:pt>
    <dgm:pt modelId="{B35CD341-3CBD-4F99-8689-024A4818916E}">
      <dgm:prSet/>
      <dgm:spPr/>
      <dgm:t>
        <a:bodyPr/>
        <a:lstStyle/>
        <a:p>
          <a:r>
            <a:rPr lang="tr-TR"/>
            <a:t>Antiandrojenlerin &gt;4 hafta boyunca geri çekilmiş olması</a:t>
          </a:r>
          <a:endParaRPr lang="en-GB"/>
        </a:p>
      </dgm:t>
    </dgm:pt>
    <dgm:pt modelId="{D7EB37AE-BC97-4072-A309-6E8BC29A4FF2}" type="parTrans" cxnId="{F84C3805-CA6F-42E0-AB91-A1A2CB07B936}">
      <dgm:prSet/>
      <dgm:spPr/>
      <dgm:t>
        <a:bodyPr/>
        <a:lstStyle/>
        <a:p>
          <a:endParaRPr lang="en-GB"/>
        </a:p>
      </dgm:t>
    </dgm:pt>
    <dgm:pt modelId="{4F8EA619-72CD-467B-B6A2-2B23460697EF}" type="sibTrans" cxnId="{F84C3805-CA6F-42E0-AB91-A1A2CB07B936}">
      <dgm:prSet/>
      <dgm:spPr/>
      <dgm:t>
        <a:bodyPr/>
        <a:lstStyle/>
        <a:p>
          <a:endParaRPr lang="en-GB"/>
        </a:p>
      </dgm:t>
    </dgm:pt>
    <dgm:pt modelId="{7D2752B3-1663-4A8C-A5E1-DF6D7F6752DD}">
      <dgm:prSet/>
      <dgm:spPr/>
      <dgm:t>
        <a:bodyPr/>
        <a:lstStyle/>
        <a:p>
          <a:r>
            <a:rPr lang="tr-TR"/>
            <a:t>PSA artışı ile gösterilen hastalık progresyonu</a:t>
          </a:r>
          <a:endParaRPr lang="en-GB"/>
        </a:p>
      </dgm:t>
    </dgm:pt>
    <dgm:pt modelId="{D355BB87-B85D-411A-910C-393C8E570DD6}" type="parTrans" cxnId="{09BC625A-04FA-4465-9E0B-EDDD902AE1F9}">
      <dgm:prSet/>
      <dgm:spPr/>
      <dgm:t>
        <a:bodyPr/>
        <a:lstStyle/>
        <a:p>
          <a:endParaRPr lang="en-GB"/>
        </a:p>
      </dgm:t>
    </dgm:pt>
    <dgm:pt modelId="{42CA6E66-5212-44A1-9A90-9839D6943258}" type="sibTrans" cxnId="{09BC625A-04FA-4465-9E0B-EDDD902AE1F9}">
      <dgm:prSet/>
      <dgm:spPr/>
      <dgm:t>
        <a:bodyPr/>
        <a:lstStyle/>
        <a:p>
          <a:endParaRPr lang="en-GB"/>
        </a:p>
      </dgm:t>
    </dgm:pt>
    <dgm:pt modelId="{ACE57CFD-8BB9-466E-84A5-223C7D5DBC8A}">
      <dgm:prSet/>
      <dgm:spPr/>
      <dgm:t>
        <a:bodyPr/>
        <a:lstStyle/>
        <a:p>
          <a:r>
            <a:rPr lang="tr-TR"/>
            <a:t>Karnofsky performans statüsü  ≥60%</a:t>
          </a:r>
          <a:endParaRPr lang="en-GB"/>
        </a:p>
      </dgm:t>
    </dgm:pt>
    <dgm:pt modelId="{345C0B28-55ED-4230-A717-1A3E8186FFE2}" type="parTrans" cxnId="{25E98897-71C3-419E-8E1C-838E04D04E6E}">
      <dgm:prSet/>
      <dgm:spPr/>
      <dgm:t>
        <a:bodyPr/>
        <a:lstStyle/>
        <a:p>
          <a:endParaRPr lang="en-GB"/>
        </a:p>
      </dgm:t>
    </dgm:pt>
    <dgm:pt modelId="{750FBBA2-1F50-4444-B235-BECF33B77691}" type="sibTrans" cxnId="{25E98897-71C3-419E-8E1C-838E04D04E6E}">
      <dgm:prSet/>
      <dgm:spPr/>
      <dgm:t>
        <a:bodyPr/>
        <a:lstStyle/>
        <a:p>
          <a:endParaRPr lang="en-GB"/>
        </a:p>
      </dgm:t>
    </dgm:pt>
    <dgm:pt modelId="{BEAA26D7-E506-4F46-A884-BE0002041033}">
      <dgm:prSet/>
      <dgm:spPr/>
      <dgm:t>
        <a:bodyPr/>
        <a:lstStyle/>
        <a:p>
          <a:r>
            <a:rPr lang="tr-TR" dirty="0"/>
            <a:t>Hariç tutma kriterleri</a:t>
          </a:r>
          <a:endParaRPr lang="en-GB" dirty="0"/>
        </a:p>
      </dgm:t>
    </dgm:pt>
    <dgm:pt modelId="{68EB2CA3-BD6E-4857-B79F-BF0700F8C685}" type="parTrans" cxnId="{98BEA8C7-5D51-461C-8760-D9556B836D06}">
      <dgm:prSet/>
      <dgm:spPr/>
      <dgm:t>
        <a:bodyPr/>
        <a:lstStyle/>
        <a:p>
          <a:endParaRPr lang="en-GB"/>
        </a:p>
      </dgm:t>
    </dgm:pt>
    <dgm:pt modelId="{83DA0FB7-8DC5-4ECC-9BEB-2172565F68BF}" type="sibTrans" cxnId="{98BEA8C7-5D51-461C-8760-D9556B836D06}">
      <dgm:prSet/>
      <dgm:spPr/>
      <dgm:t>
        <a:bodyPr/>
        <a:lstStyle/>
        <a:p>
          <a:endParaRPr lang="en-GB"/>
        </a:p>
      </dgm:t>
    </dgm:pt>
    <dgm:pt modelId="{76935BC8-4D09-47A4-806A-B10BB2546B0E}">
      <dgm:prSet/>
      <dgm:spPr/>
      <dgm:t>
        <a:bodyPr/>
        <a:lstStyle/>
        <a:p>
          <a:r>
            <a:rPr lang="tr-TR"/>
            <a:t>Önceden radyoizotop veya sitotoksik ajan kullanmış olmak, başka  kanser öyküsü, beyin metastazı, periferik nöropati</a:t>
          </a:r>
          <a:endParaRPr lang="en-GB"/>
        </a:p>
      </dgm:t>
    </dgm:pt>
    <dgm:pt modelId="{1C293FD8-1E3B-4468-B6B3-47A1E7A468CF}" type="parTrans" cxnId="{1B831071-4678-4ABA-A027-6065CD19E2A1}">
      <dgm:prSet/>
      <dgm:spPr/>
      <dgm:t>
        <a:bodyPr/>
        <a:lstStyle/>
        <a:p>
          <a:endParaRPr lang="en-GB"/>
        </a:p>
      </dgm:t>
    </dgm:pt>
    <dgm:pt modelId="{BA53C7F5-C074-4562-AFAF-F5D53D0315EF}" type="sibTrans" cxnId="{1B831071-4678-4ABA-A027-6065CD19E2A1}">
      <dgm:prSet/>
      <dgm:spPr/>
      <dgm:t>
        <a:bodyPr/>
        <a:lstStyle/>
        <a:p>
          <a:endParaRPr lang="en-GB"/>
        </a:p>
      </dgm:t>
    </dgm:pt>
    <dgm:pt modelId="{C82AE770-C79C-4030-BC1C-8FD20184D44E}" type="pres">
      <dgm:prSet presAssocID="{3A7B89DB-D1D0-4EC9-AD10-94A75A1295D0}" presName="Name0" presStyleCnt="0">
        <dgm:presLayoutVars>
          <dgm:dir/>
          <dgm:animLvl val="lvl"/>
          <dgm:resizeHandles val="exact"/>
        </dgm:presLayoutVars>
      </dgm:prSet>
      <dgm:spPr/>
    </dgm:pt>
    <dgm:pt modelId="{2072FC59-3F11-4285-8514-FE29B52989D0}" type="pres">
      <dgm:prSet presAssocID="{5C773475-8422-4DA4-9D36-1F05FC4BF9EA}" presName="linNode" presStyleCnt="0"/>
      <dgm:spPr/>
    </dgm:pt>
    <dgm:pt modelId="{9ABFE157-56E5-41C5-8C4E-F05D3B3EA32D}" type="pres">
      <dgm:prSet presAssocID="{5C773475-8422-4DA4-9D36-1F05FC4BF9EA}" presName="parentText" presStyleLbl="node1" presStyleIdx="0" presStyleCnt="3" custScaleX="277778">
        <dgm:presLayoutVars>
          <dgm:chMax val="1"/>
          <dgm:bulletEnabled val="1"/>
        </dgm:presLayoutVars>
      </dgm:prSet>
      <dgm:spPr/>
    </dgm:pt>
    <dgm:pt modelId="{123A09BE-C6A9-4ED1-92B0-82EEE764CFB3}" type="pres">
      <dgm:prSet presAssocID="{B136B01E-87FA-4243-AB03-530AE711828C}" presName="sp" presStyleCnt="0"/>
      <dgm:spPr/>
    </dgm:pt>
    <dgm:pt modelId="{C764B070-BF8F-4155-8217-A35204E9BB6F}" type="pres">
      <dgm:prSet presAssocID="{9BF9BF51-1AE6-40F3-8381-F2FAD18FC11C}" presName="linNode" presStyleCnt="0"/>
      <dgm:spPr/>
    </dgm:pt>
    <dgm:pt modelId="{43CB62FB-EA2C-4D19-8DE0-AF9EEA97F38A}" type="pres">
      <dgm:prSet presAssocID="{9BF9BF51-1AE6-40F3-8381-F2FAD18FC11C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8F2E9E13-456F-4841-B962-37FC362BEE49}" type="pres">
      <dgm:prSet presAssocID="{9BF9BF51-1AE6-40F3-8381-F2FAD18FC11C}" presName="descendantText" presStyleLbl="alignAccFollowNode1" presStyleIdx="0" presStyleCnt="2">
        <dgm:presLayoutVars>
          <dgm:bulletEnabled val="1"/>
        </dgm:presLayoutVars>
      </dgm:prSet>
      <dgm:spPr/>
    </dgm:pt>
    <dgm:pt modelId="{DEE6CD5B-298C-42F3-BEC4-8C61C2351ADE}" type="pres">
      <dgm:prSet presAssocID="{4C17CFEA-8448-4ED5-8B77-47C8C4255CF8}" presName="sp" presStyleCnt="0"/>
      <dgm:spPr/>
    </dgm:pt>
    <dgm:pt modelId="{12941727-DEBD-43D1-811E-57FE8E9B6346}" type="pres">
      <dgm:prSet presAssocID="{BEAA26D7-E506-4F46-A884-BE0002041033}" presName="linNode" presStyleCnt="0"/>
      <dgm:spPr/>
    </dgm:pt>
    <dgm:pt modelId="{3F51EF71-1DE6-4C9E-98F2-38D1279B0A07}" type="pres">
      <dgm:prSet presAssocID="{BEAA26D7-E506-4F46-A884-BE0002041033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A9D26481-AFAB-44E1-92AB-0333AFB80671}" type="pres">
      <dgm:prSet presAssocID="{BEAA26D7-E506-4F46-A884-BE0002041033}" presName="descendantText" presStyleLbl="alignAccFollowNode1" presStyleIdx="1" presStyleCnt="2">
        <dgm:presLayoutVars>
          <dgm:bulletEnabled val="1"/>
        </dgm:presLayoutVars>
      </dgm:prSet>
      <dgm:spPr/>
    </dgm:pt>
  </dgm:ptLst>
  <dgm:cxnLst>
    <dgm:cxn modelId="{27D69C01-C66C-4C81-9CCA-34F0611BA82D}" type="presOf" srcId="{7D2752B3-1663-4A8C-A5E1-DF6D7F6752DD}" destId="{8F2E9E13-456F-4841-B962-37FC362BEE49}" srcOrd="0" destOrd="2" presId="urn:microsoft.com/office/officeart/2005/8/layout/vList5"/>
    <dgm:cxn modelId="{F84C3805-CA6F-42E0-AB91-A1A2CB07B936}" srcId="{9BF9BF51-1AE6-40F3-8381-F2FAD18FC11C}" destId="{B35CD341-3CBD-4F99-8689-024A4818916E}" srcOrd="1" destOrd="0" parTransId="{D7EB37AE-BC97-4072-A309-6E8BC29A4FF2}" sibTransId="{4F8EA619-72CD-467B-B6A2-2B23460697EF}"/>
    <dgm:cxn modelId="{6FAC0028-5F36-4FE6-BEBD-974BF921AE7E}" srcId="{3A7B89DB-D1D0-4EC9-AD10-94A75A1295D0}" destId="{5C773475-8422-4DA4-9D36-1F05FC4BF9EA}" srcOrd="0" destOrd="0" parTransId="{A394AA70-F265-4B2E-8282-007840FC4453}" sibTransId="{B136B01E-87FA-4243-AB03-530AE711828C}"/>
    <dgm:cxn modelId="{7AF7423E-17A0-4F8F-910B-0BD1A872B87A}" type="presOf" srcId="{B35CD341-3CBD-4F99-8689-024A4818916E}" destId="{8F2E9E13-456F-4841-B962-37FC362BEE49}" srcOrd="0" destOrd="1" presId="urn:microsoft.com/office/officeart/2005/8/layout/vList5"/>
    <dgm:cxn modelId="{DDA30641-09AB-4A77-9D4C-98BDB70F7EF6}" srcId="{9BF9BF51-1AE6-40F3-8381-F2FAD18FC11C}" destId="{8A0F1665-711D-44DA-9CFB-4A58FE3A4D9E}" srcOrd="0" destOrd="0" parTransId="{7FB5D596-AB93-458F-A5B1-A672C9C62F09}" sibTransId="{924FE3A9-D992-4976-BBFD-1653EAE39A2F}"/>
    <dgm:cxn modelId="{93022067-E6B9-4C7A-ADBA-6E955155812B}" srcId="{3A7B89DB-D1D0-4EC9-AD10-94A75A1295D0}" destId="{9BF9BF51-1AE6-40F3-8381-F2FAD18FC11C}" srcOrd="1" destOrd="0" parTransId="{8F8EC76C-A79F-4528-AE5E-8E7456B409C4}" sibTransId="{4C17CFEA-8448-4ED5-8B77-47C8C4255CF8}"/>
    <dgm:cxn modelId="{1B831071-4678-4ABA-A027-6065CD19E2A1}" srcId="{BEAA26D7-E506-4F46-A884-BE0002041033}" destId="{76935BC8-4D09-47A4-806A-B10BB2546B0E}" srcOrd="0" destOrd="0" parTransId="{1C293FD8-1E3B-4468-B6B3-47A1E7A468CF}" sibTransId="{BA53C7F5-C074-4562-AFAF-F5D53D0315EF}"/>
    <dgm:cxn modelId="{09BC625A-04FA-4465-9E0B-EDDD902AE1F9}" srcId="{9BF9BF51-1AE6-40F3-8381-F2FAD18FC11C}" destId="{7D2752B3-1663-4A8C-A5E1-DF6D7F6752DD}" srcOrd="2" destOrd="0" parTransId="{D355BB87-B85D-411A-910C-393C8E570DD6}" sibTransId="{42CA6E66-5212-44A1-9A90-9839D6943258}"/>
    <dgm:cxn modelId="{9A273B85-B9D8-4B31-AA14-1D41694EFA53}" type="presOf" srcId="{9BF9BF51-1AE6-40F3-8381-F2FAD18FC11C}" destId="{43CB62FB-EA2C-4D19-8DE0-AF9EEA97F38A}" srcOrd="0" destOrd="0" presId="urn:microsoft.com/office/officeart/2005/8/layout/vList5"/>
    <dgm:cxn modelId="{ABBC638F-DCCD-4A24-9FC1-ED3896028C1E}" type="presOf" srcId="{3A7B89DB-D1D0-4EC9-AD10-94A75A1295D0}" destId="{C82AE770-C79C-4030-BC1C-8FD20184D44E}" srcOrd="0" destOrd="0" presId="urn:microsoft.com/office/officeart/2005/8/layout/vList5"/>
    <dgm:cxn modelId="{D3C33193-F0E1-48E5-90A6-29BF71916263}" type="presOf" srcId="{BEAA26D7-E506-4F46-A884-BE0002041033}" destId="{3F51EF71-1DE6-4C9E-98F2-38D1279B0A07}" srcOrd="0" destOrd="0" presId="urn:microsoft.com/office/officeart/2005/8/layout/vList5"/>
    <dgm:cxn modelId="{25E98897-71C3-419E-8E1C-838E04D04E6E}" srcId="{9BF9BF51-1AE6-40F3-8381-F2FAD18FC11C}" destId="{ACE57CFD-8BB9-466E-84A5-223C7D5DBC8A}" srcOrd="3" destOrd="0" parTransId="{345C0B28-55ED-4230-A717-1A3E8186FFE2}" sibTransId="{750FBBA2-1F50-4444-B235-BECF33B77691}"/>
    <dgm:cxn modelId="{7D50C3A2-81AD-4CF2-8F36-00116E970A2A}" type="presOf" srcId="{5C773475-8422-4DA4-9D36-1F05FC4BF9EA}" destId="{9ABFE157-56E5-41C5-8C4E-F05D3B3EA32D}" srcOrd="0" destOrd="0" presId="urn:microsoft.com/office/officeart/2005/8/layout/vList5"/>
    <dgm:cxn modelId="{F5FDE3BB-761E-4C3A-BA01-3A5EDD60CAEF}" type="presOf" srcId="{ACE57CFD-8BB9-466E-84A5-223C7D5DBC8A}" destId="{8F2E9E13-456F-4841-B962-37FC362BEE49}" srcOrd="0" destOrd="3" presId="urn:microsoft.com/office/officeart/2005/8/layout/vList5"/>
    <dgm:cxn modelId="{98BEA8C7-5D51-461C-8760-D9556B836D06}" srcId="{3A7B89DB-D1D0-4EC9-AD10-94A75A1295D0}" destId="{BEAA26D7-E506-4F46-A884-BE0002041033}" srcOrd="2" destOrd="0" parTransId="{68EB2CA3-BD6E-4857-B79F-BF0700F8C685}" sibTransId="{83DA0FB7-8DC5-4ECC-9BEB-2172565F68BF}"/>
    <dgm:cxn modelId="{E641C3EC-7FC8-43DD-81FD-9A3274265728}" type="presOf" srcId="{76935BC8-4D09-47A4-806A-B10BB2546B0E}" destId="{A9D26481-AFAB-44E1-92AB-0333AFB80671}" srcOrd="0" destOrd="0" presId="urn:microsoft.com/office/officeart/2005/8/layout/vList5"/>
    <dgm:cxn modelId="{B110FDFD-2124-416B-AB24-414DB0EA2B0B}" type="presOf" srcId="{8A0F1665-711D-44DA-9CFB-4A58FE3A4D9E}" destId="{8F2E9E13-456F-4841-B962-37FC362BEE49}" srcOrd="0" destOrd="0" presId="urn:microsoft.com/office/officeart/2005/8/layout/vList5"/>
    <dgm:cxn modelId="{F6573653-6F66-4D29-B8F0-002E94417074}" type="presParOf" srcId="{C82AE770-C79C-4030-BC1C-8FD20184D44E}" destId="{2072FC59-3F11-4285-8514-FE29B52989D0}" srcOrd="0" destOrd="0" presId="urn:microsoft.com/office/officeart/2005/8/layout/vList5"/>
    <dgm:cxn modelId="{476D7FCD-371E-4455-AF82-BF19BBAA9FF1}" type="presParOf" srcId="{2072FC59-3F11-4285-8514-FE29B52989D0}" destId="{9ABFE157-56E5-41C5-8C4E-F05D3B3EA32D}" srcOrd="0" destOrd="0" presId="urn:microsoft.com/office/officeart/2005/8/layout/vList5"/>
    <dgm:cxn modelId="{7301C648-8BE6-4713-8384-D638DC5A2C88}" type="presParOf" srcId="{C82AE770-C79C-4030-BC1C-8FD20184D44E}" destId="{123A09BE-C6A9-4ED1-92B0-82EEE764CFB3}" srcOrd="1" destOrd="0" presId="urn:microsoft.com/office/officeart/2005/8/layout/vList5"/>
    <dgm:cxn modelId="{71EAE873-C3DD-46C5-B7AA-14362A863B4B}" type="presParOf" srcId="{C82AE770-C79C-4030-BC1C-8FD20184D44E}" destId="{C764B070-BF8F-4155-8217-A35204E9BB6F}" srcOrd="2" destOrd="0" presId="urn:microsoft.com/office/officeart/2005/8/layout/vList5"/>
    <dgm:cxn modelId="{A06FFD06-93D9-4871-9600-ADE97EC8D9C7}" type="presParOf" srcId="{C764B070-BF8F-4155-8217-A35204E9BB6F}" destId="{43CB62FB-EA2C-4D19-8DE0-AF9EEA97F38A}" srcOrd="0" destOrd="0" presId="urn:microsoft.com/office/officeart/2005/8/layout/vList5"/>
    <dgm:cxn modelId="{965964E1-769D-4780-9831-FB1FA63565E8}" type="presParOf" srcId="{C764B070-BF8F-4155-8217-A35204E9BB6F}" destId="{8F2E9E13-456F-4841-B962-37FC362BEE49}" srcOrd="1" destOrd="0" presId="urn:microsoft.com/office/officeart/2005/8/layout/vList5"/>
    <dgm:cxn modelId="{651C0D0B-1584-47D2-B47F-F46D6CE5D75F}" type="presParOf" srcId="{C82AE770-C79C-4030-BC1C-8FD20184D44E}" destId="{DEE6CD5B-298C-42F3-BEC4-8C61C2351ADE}" srcOrd="3" destOrd="0" presId="urn:microsoft.com/office/officeart/2005/8/layout/vList5"/>
    <dgm:cxn modelId="{154C5B27-B5AE-4CDB-A7E4-5624B837E5ED}" type="presParOf" srcId="{C82AE770-C79C-4030-BC1C-8FD20184D44E}" destId="{12941727-DEBD-43D1-811E-57FE8E9B6346}" srcOrd="4" destOrd="0" presId="urn:microsoft.com/office/officeart/2005/8/layout/vList5"/>
    <dgm:cxn modelId="{B7741BC2-BF28-4319-8925-9EAA3F28D9DE}" type="presParOf" srcId="{12941727-DEBD-43D1-811E-57FE8E9B6346}" destId="{3F51EF71-1DE6-4C9E-98F2-38D1279B0A07}" srcOrd="0" destOrd="0" presId="urn:microsoft.com/office/officeart/2005/8/layout/vList5"/>
    <dgm:cxn modelId="{B952D7AF-587F-4A0E-B536-AB912C9E5CF9}" type="presParOf" srcId="{12941727-DEBD-43D1-811E-57FE8E9B6346}" destId="{A9D26481-AFAB-44E1-92AB-0333AFB8067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6092A6-A735-4175-8D91-8959D87C0D6D}">
      <dsp:nvSpPr>
        <dsp:cNvPr id="0" name=""/>
        <dsp:cNvSpPr/>
      </dsp:nvSpPr>
      <dsp:spPr>
        <a:xfrm>
          <a:off x="1828800" y="0"/>
          <a:ext cx="4114800" cy="4114800"/>
        </a:xfrm>
        <a:prstGeom prst="diamond">
          <a:avLst/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A6BFA93-5B6C-4557-B87A-141EC809CA35}">
      <dsp:nvSpPr>
        <dsp:cNvPr id="0" name=""/>
        <dsp:cNvSpPr/>
      </dsp:nvSpPr>
      <dsp:spPr>
        <a:xfrm>
          <a:off x="2219706" y="390906"/>
          <a:ext cx="1604772" cy="1604772"/>
        </a:xfrm>
        <a:prstGeom prst="roundRect">
          <a:avLst/>
        </a:prstGeom>
        <a:solidFill>
          <a:srgbClr val="FFC000"/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400" b="1" kern="1200" dirty="0"/>
            <a:t>Genel</a:t>
          </a:r>
        </a:p>
      </dsp:txBody>
      <dsp:txXfrm>
        <a:off x="2298045" y="469245"/>
        <a:ext cx="1448094" cy="1448094"/>
      </dsp:txXfrm>
    </dsp:sp>
    <dsp:sp modelId="{C760B0C4-4A3C-4921-AE2B-07EEEFCF72E8}">
      <dsp:nvSpPr>
        <dsp:cNvPr id="0" name=""/>
        <dsp:cNvSpPr/>
      </dsp:nvSpPr>
      <dsp:spPr>
        <a:xfrm>
          <a:off x="3958208" y="347849"/>
          <a:ext cx="1604772" cy="1604772"/>
        </a:xfrm>
        <a:prstGeom prst="roundRect">
          <a:avLst/>
        </a:prstGeom>
        <a:solidFill>
          <a:srgbClr val="FFC000"/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HSMPK</a:t>
          </a:r>
          <a:endParaRPr lang="tr-TR" sz="1400" b="1" kern="1200" dirty="0"/>
        </a:p>
      </dsp:txBody>
      <dsp:txXfrm>
        <a:off x="4036547" y="426188"/>
        <a:ext cx="1448094" cy="1448094"/>
      </dsp:txXfrm>
    </dsp:sp>
    <dsp:sp modelId="{8FA6D266-EAA8-4692-8936-2814744BE824}">
      <dsp:nvSpPr>
        <dsp:cNvPr id="0" name=""/>
        <dsp:cNvSpPr/>
      </dsp:nvSpPr>
      <dsp:spPr>
        <a:xfrm>
          <a:off x="2219706" y="2119122"/>
          <a:ext cx="1604772" cy="1604772"/>
        </a:xfrm>
        <a:prstGeom prst="roundRect">
          <a:avLst/>
        </a:prstGeom>
        <a:solidFill>
          <a:srgbClr val="FFC000"/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MKDPK</a:t>
          </a:r>
          <a:endParaRPr lang="tr-TR" sz="1400" b="1" kern="1200" dirty="0"/>
        </a:p>
      </dsp:txBody>
      <dsp:txXfrm>
        <a:off x="2298045" y="2197461"/>
        <a:ext cx="1448094" cy="1448094"/>
      </dsp:txXfrm>
    </dsp:sp>
    <dsp:sp modelId="{ED5911AD-CE1F-4E21-ACED-0F3BB4F5827B}">
      <dsp:nvSpPr>
        <dsp:cNvPr id="0" name=""/>
        <dsp:cNvSpPr/>
      </dsp:nvSpPr>
      <dsp:spPr>
        <a:xfrm>
          <a:off x="3947922" y="2119122"/>
          <a:ext cx="1604772" cy="1604772"/>
        </a:xfrm>
        <a:prstGeom prst="roundRect">
          <a:avLst/>
        </a:prstGeom>
        <a:solidFill>
          <a:srgbClr val="FFC000"/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MO KDPK</a:t>
          </a:r>
          <a:endParaRPr lang="tr-TR" sz="1400" b="1" kern="1200" dirty="0"/>
        </a:p>
      </dsp:txBody>
      <dsp:txXfrm>
        <a:off x="4026261" y="2197461"/>
        <a:ext cx="1448094" cy="1448094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879FE0-D9C3-46AC-9BBB-DC0C71F024FD}">
      <dsp:nvSpPr>
        <dsp:cNvPr id="0" name=""/>
        <dsp:cNvSpPr/>
      </dsp:nvSpPr>
      <dsp:spPr>
        <a:xfrm>
          <a:off x="7004" y="321728"/>
          <a:ext cx="3025228" cy="2258269"/>
        </a:xfrm>
        <a:prstGeom prst="round2SameRect">
          <a:avLst>
            <a:gd name="adj1" fmla="val 8000"/>
            <a:gd name="adj2" fmla="val 0"/>
          </a:avLst>
        </a:prstGeom>
        <a:solidFill>
          <a:schemeClr val="accent5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/>
            <a:t>2004</a:t>
          </a:r>
        </a:p>
      </dsp:txBody>
      <dsp:txXfrm>
        <a:off x="59918" y="374642"/>
        <a:ext cx="2919400" cy="2205355"/>
      </dsp:txXfrm>
    </dsp:sp>
    <dsp:sp modelId="{EE547524-684A-4665-9A93-2F79B46A6F76}">
      <dsp:nvSpPr>
        <dsp:cNvPr id="0" name=""/>
        <dsp:cNvSpPr/>
      </dsp:nvSpPr>
      <dsp:spPr>
        <a:xfrm>
          <a:off x="7004" y="2579997"/>
          <a:ext cx="3025228" cy="971055"/>
        </a:xfrm>
        <a:prstGeom prst="rect">
          <a:avLst/>
        </a:prstGeom>
        <a:solidFill>
          <a:srgbClr val="66CCFF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0" rIns="29210" bIns="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300" kern="1200"/>
            <a:t>Tarihsel değişimin başlangıcı</a:t>
          </a:r>
        </a:p>
      </dsp:txBody>
      <dsp:txXfrm>
        <a:off x="7004" y="2579997"/>
        <a:ext cx="2130442" cy="971055"/>
      </dsp:txXfrm>
    </dsp:sp>
    <dsp:sp modelId="{DDE49E85-273F-4F37-BBCD-6476FB876B30}">
      <dsp:nvSpPr>
        <dsp:cNvPr id="0" name=""/>
        <dsp:cNvSpPr/>
      </dsp:nvSpPr>
      <dsp:spPr>
        <a:xfrm>
          <a:off x="2223025" y="2734241"/>
          <a:ext cx="1058829" cy="1058829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D362E1-4BC9-45CA-8C20-ADCDD333D094}">
      <dsp:nvSpPr>
        <dsp:cNvPr id="0" name=""/>
        <dsp:cNvSpPr/>
      </dsp:nvSpPr>
      <dsp:spPr>
        <a:xfrm>
          <a:off x="3544174" y="321728"/>
          <a:ext cx="3025228" cy="2258269"/>
        </a:xfrm>
        <a:prstGeom prst="round2SameRect">
          <a:avLst>
            <a:gd name="adj1" fmla="val 8000"/>
            <a:gd name="adj2" fmla="val 0"/>
          </a:avLst>
        </a:prstGeom>
        <a:solidFill>
          <a:schemeClr val="accent5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 dirty="0" err="1"/>
            <a:t>Dosetaksel</a:t>
          </a:r>
          <a:r>
            <a:rPr lang="en-GB" sz="2000" kern="1200" dirty="0"/>
            <a:t> </a:t>
          </a:r>
          <a:r>
            <a:rPr lang="en-GB" sz="2000" kern="1200" dirty="0" err="1"/>
            <a:t>Mitoxantron</a:t>
          </a:r>
          <a:r>
            <a:rPr lang="en-GB" sz="2000" kern="1200" dirty="0"/>
            <a:t> dan </a:t>
          </a:r>
          <a:r>
            <a:rPr lang="en-GB" sz="2000" kern="1200" dirty="0" err="1"/>
            <a:t>üstün</a:t>
          </a:r>
          <a:endParaRPr lang="en-GB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 dirty="0"/>
            <a:t>Steroid </a:t>
          </a:r>
          <a:r>
            <a:rPr lang="en-GB" sz="2000" kern="1200" dirty="0" err="1"/>
            <a:t>zorunluluğu</a:t>
          </a:r>
          <a:r>
            <a:rPr lang="en-GB" sz="2000" kern="1200" dirty="0"/>
            <a:t> </a:t>
          </a:r>
          <a:r>
            <a:rPr lang="en-GB" sz="2000" kern="1200" dirty="0" err="1"/>
            <a:t>getirdi</a:t>
          </a:r>
          <a:endParaRPr lang="en-GB" sz="2000" kern="1200" dirty="0"/>
        </a:p>
      </dsp:txBody>
      <dsp:txXfrm>
        <a:off x="3597088" y="374642"/>
        <a:ext cx="2919400" cy="2205355"/>
      </dsp:txXfrm>
    </dsp:sp>
    <dsp:sp modelId="{4DCA6C15-4F38-4035-A8FB-C8C8CBCC5067}">
      <dsp:nvSpPr>
        <dsp:cNvPr id="0" name=""/>
        <dsp:cNvSpPr/>
      </dsp:nvSpPr>
      <dsp:spPr>
        <a:xfrm>
          <a:off x="3544174" y="2579997"/>
          <a:ext cx="3025228" cy="971055"/>
        </a:xfrm>
        <a:prstGeom prst="rect">
          <a:avLst/>
        </a:prstGeom>
        <a:solidFill>
          <a:srgbClr val="66CCFF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0" rIns="29210" bIns="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300" kern="1200"/>
            <a:t>İlk sistemik tedavi</a:t>
          </a:r>
        </a:p>
      </dsp:txBody>
      <dsp:txXfrm>
        <a:off x="3544174" y="2579997"/>
        <a:ext cx="2130442" cy="971055"/>
      </dsp:txXfrm>
    </dsp:sp>
    <dsp:sp modelId="{6C8EE90D-2465-404E-B1D4-1CC8D77DE994}">
      <dsp:nvSpPr>
        <dsp:cNvPr id="0" name=""/>
        <dsp:cNvSpPr/>
      </dsp:nvSpPr>
      <dsp:spPr>
        <a:xfrm>
          <a:off x="5760195" y="2734241"/>
          <a:ext cx="1058829" cy="1058829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4B526C-45A8-46A5-A0E4-AC0DE8F68316}">
      <dsp:nvSpPr>
        <dsp:cNvPr id="0" name=""/>
        <dsp:cNvSpPr/>
      </dsp:nvSpPr>
      <dsp:spPr>
        <a:xfrm>
          <a:off x="7081344" y="321728"/>
          <a:ext cx="3025228" cy="2258269"/>
        </a:xfrm>
        <a:prstGeom prst="round2SameRect">
          <a:avLst>
            <a:gd name="adj1" fmla="val 8000"/>
            <a:gd name="adj2" fmla="val 0"/>
          </a:avLst>
        </a:prstGeom>
        <a:solidFill>
          <a:schemeClr val="accent5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/>
            <a:t>AR inhibitörü öncesi gerekli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/>
            <a:t>Endikasyon dışı</a:t>
          </a:r>
        </a:p>
      </dsp:txBody>
      <dsp:txXfrm>
        <a:off x="7134258" y="374642"/>
        <a:ext cx="2919400" cy="2205355"/>
      </dsp:txXfrm>
    </dsp:sp>
    <dsp:sp modelId="{F0E69EB9-85E6-49B5-8442-B790D46B9353}">
      <dsp:nvSpPr>
        <dsp:cNvPr id="0" name=""/>
        <dsp:cNvSpPr/>
      </dsp:nvSpPr>
      <dsp:spPr>
        <a:xfrm>
          <a:off x="7081344" y="2579997"/>
          <a:ext cx="3025228" cy="971055"/>
        </a:xfrm>
        <a:prstGeom prst="rect">
          <a:avLst/>
        </a:prstGeom>
        <a:solidFill>
          <a:srgbClr val="66CCFF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0" rIns="29210" bIns="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300" kern="1200"/>
            <a:t>Türkiyede geri ödeme ana koşulu</a:t>
          </a:r>
        </a:p>
      </dsp:txBody>
      <dsp:txXfrm>
        <a:off x="7081344" y="2579997"/>
        <a:ext cx="2130442" cy="971055"/>
      </dsp:txXfrm>
    </dsp:sp>
    <dsp:sp modelId="{A844A659-F201-40AD-8A26-A2F13919D357}">
      <dsp:nvSpPr>
        <dsp:cNvPr id="0" name=""/>
        <dsp:cNvSpPr/>
      </dsp:nvSpPr>
      <dsp:spPr>
        <a:xfrm>
          <a:off x="9297365" y="2734241"/>
          <a:ext cx="1058829" cy="1058829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EF7905-11F9-4FB7-AD23-D4F8336E2B26}">
      <dsp:nvSpPr>
        <dsp:cNvPr id="0" name=""/>
        <dsp:cNvSpPr/>
      </dsp:nvSpPr>
      <dsp:spPr>
        <a:xfrm>
          <a:off x="952" y="2131984"/>
          <a:ext cx="2393156" cy="923758"/>
        </a:xfrm>
        <a:prstGeom prst="chevron">
          <a:avLst>
            <a:gd name="adj" fmla="val 40000"/>
          </a:avLst>
        </a:prstGeom>
        <a:solidFill>
          <a:schemeClr val="bg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E41807-43DA-487A-9BC0-6B741D8A21A3}">
      <dsp:nvSpPr>
        <dsp:cNvPr id="0" name=""/>
        <dsp:cNvSpPr/>
      </dsp:nvSpPr>
      <dsp:spPr>
        <a:xfrm>
          <a:off x="639127" y="2362924"/>
          <a:ext cx="2020887" cy="9237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1" kern="1200" dirty="0">
              <a:solidFill>
                <a:srgbClr val="FF0000"/>
              </a:solidFill>
            </a:rPr>
            <a:t>Lu</a:t>
          </a:r>
        </a:p>
      </dsp:txBody>
      <dsp:txXfrm>
        <a:off x="666183" y="2389980"/>
        <a:ext cx="1966775" cy="869646"/>
      </dsp:txXfrm>
    </dsp:sp>
    <dsp:sp modelId="{E862C939-0F40-4B1A-B04B-5BA4C9D3B48B}">
      <dsp:nvSpPr>
        <dsp:cNvPr id="0" name=""/>
        <dsp:cNvSpPr/>
      </dsp:nvSpPr>
      <dsp:spPr>
        <a:xfrm>
          <a:off x="2734468" y="2131984"/>
          <a:ext cx="2393156" cy="923758"/>
        </a:xfrm>
        <a:prstGeom prst="chevron">
          <a:avLst>
            <a:gd name="adj" fmla="val 40000"/>
          </a:avLst>
        </a:prstGeom>
        <a:solidFill>
          <a:schemeClr val="bg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01E7C8-0892-4552-AC11-CDE1A427FAC3}">
      <dsp:nvSpPr>
        <dsp:cNvPr id="0" name=""/>
        <dsp:cNvSpPr/>
      </dsp:nvSpPr>
      <dsp:spPr>
        <a:xfrm>
          <a:off x="3372643" y="2362924"/>
          <a:ext cx="2020887" cy="9237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1" kern="1200" dirty="0">
              <a:solidFill>
                <a:srgbClr val="FF0000"/>
              </a:solidFill>
            </a:rPr>
            <a:t>İT</a:t>
          </a:r>
        </a:p>
      </dsp:txBody>
      <dsp:txXfrm>
        <a:off x="3399699" y="2389980"/>
        <a:ext cx="1966775" cy="869646"/>
      </dsp:txXfrm>
    </dsp:sp>
    <dsp:sp modelId="{49437364-1EC5-4F35-BDCE-2BE516FB3F7B}">
      <dsp:nvSpPr>
        <dsp:cNvPr id="0" name=""/>
        <dsp:cNvSpPr/>
      </dsp:nvSpPr>
      <dsp:spPr>
        <a:xfrm>
          <a:off x="5467985" y="2131984"/>
          <a:ext cx="2393156" cy="923758"/>
        </a:xfrm>
        <a:prstGeom prst="chevron">
          <a:avLst>
            <a:gd name="adj" fmla="val 40000"/>
          </a:avLst>
        </a:prstGeom>
        <a:solidFill>
          <a:schemeClr val="bg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193293-DC23-4C2A-8830-1373448CCA57}">
      <dsp:nvSpPr>
        <dsp:cNvPr id="0" name=""/>
        <dsp:cNvSpPr/>
      </dsp:nvSpPr>
      <dsp:spPr>
        <a:xfrm>
          <a:off x="6106160" y="2362924"/>
          <a:ext cx="2020887" cy="9237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1" kern="1200" dirty="0">
              <a:solidFill>
                <a:srgbClr val="FF0000"/>
              </a:solidFill>
            </a:rPr>
            <a:t>Ra-223</a:t>
          </a:r>
        </a:p>
      </dsp:txBody>
      <dsp:txXfrm>
        <a:off x="6133216" y="2389980"/>
        <a:ext cx="1966775" cy="869646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6D5FD1-293B-4FA5-B4FF-4658C0187F7F}">
      <dsp:nvSpPr>
        <dsp:cNvPr id="0" name=""/>
        <dsp:cNvSpPr/>
      </dsp:nvSpPr>
      <dsp:spPr>
        <a:xfrm>
          <a:off x="6674" y="967759"/>
          <a:ext cx="2366832" cy="1766790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/>
            <a:t>Docetaksel</a:t>
          </a:r>
          <a:endParaRPr lang="en-GB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/>
            <a:t>Abirateron</a:t>
          </a:r>
          <a:endParaRPr lang="en-GB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/>
            <a:t>Enzalutamide</a:t>
          </a:r>
          <a:endParaRPr lang="en-GB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/>
            <a:t>Apalutamide</a:t>
          </a:r>
          <a:endParaRPr lang="en-GB" sz="2000" kern="1200"/>
        </a:p>
      </dsp:txBody>
      <dsp:txXfrm>
        <a:off x="48072" y="1009157"/>
        <a:ext cx="2284036" cy="1725392"/>
      </dsp:txXfrm>
    </dsp:sp>
    <dsp:sp modelId="{AD61260F-67E5-4161-AED7-1B56F34D4D03}">
      <dsp:nvSpPr>
        <dsp:cNvPr id="0" name=""/>
        <dsp:cNvSpPr/>
      </dsp:nvSpPr>
      <dsp:spPr>
        <a:xfrm>
          <a:off x="6674" y="2734549"/>
          <a:ext cx="2366832" cy="759719"/>
        </a:xfrm>
        <a:prstGeom prst="rect">
          <a:avLst/>
        </a:prstGeom>
        <a:solidFill>
          <a:srgbClr val="C00000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0" rIns="27940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/>
            <a:t>mHSPC</a:t>
          </a:r>
          <a:endParaRPr lang="en-GB" sz="2200" b="1" kern="1200"/>
        </a:p>
      </dsp:txBody>
      <dsp:txXfrm>
        <a:off x="6674" y="2734549"/>
        <a:ext cx="1666783" cy="759719"/>
      </dsp:txXfrm>
    </dsp:sp>
    <dsp:sp modelId="{D69EFB63-590B-45F9-8D03-4EB633136820}">
      <dsp:nvSpPr>
        <dsp:cNvPr id="0" name=""/>
        <dsp:cNvSpPr/>
      </dsp:nvSpPr>
      <dsp:spPr>
        <a:xfrm>
          <a:off x="1740411" y="2855224"/>
          <a:ext cx="828391" cy="828391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9EA1A0-8470-48C2-80D7-80800D28E861}">
      <dsp:nvSpPr>
        <dsp:cNvPr id="0" name=""/>
        <dsp:cNvSpPr/>
      </dsp:nvSpPr>
      <dsp:spPr>
        <a:xfrm>
          <a:off x="2774031" y="967759"/>
          <a:ext cx="2366832" cy="1766790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/>
            <a:t>Apulatamide</a:t>
          </a:r>
          <a:endParaRPr lang="en-GB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/>
            <a:t>Enzalutamide</a:t>
          </a:r>
          <a:endParaRPr lang="en-GB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/>
            <a:t>Darolutamide</a:t>
          </a:r>
          <a:endParaRPr lang="en-GB" sz="2000" kern="1200"/>
        </a:p>
      </dsp:txBody>
      <dsp:txXfrm>
        <a:off x="2815429" y="1009157"/>
        <a:ext cx="2284036" cy="1725392"/>
      </dsp:txXfrm>
    </dsp:sp>
    <dsp:sp modelId="{F52F5B91-DBDD-4A2A-B409-45E4F19D8B18}">
      <dsp:nvSpPr>
        <dsp:cNvPr id="0" name=""/>
        <dsp:cNvSpPr/>
      </dsp:nvSpPr>
      <dsp:spPr>
        <a:xfrm>
          <a:off x="2774031" y="2734549"/>
          <a:ext cx="2366832" cy="759719"/>
        </a:xfrm>
        <a:prstGeom prst="rect">
          <a:avLst/>
        </a:prstGeom>
        <a:solidFill>
          <a:srgbClr val="C00000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0" rIns="27940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M0 KDPK</a:t>
          </a:r>
          <a:endParaRPr lang="en-GB" sz="2200" b="1" kern="1200" dirty="0"/>
        </a:p>
      </dsp:txBody>
      <dsp:txXfrm>
        <a:off x="2774031" y="2734549"/>
        <a:ext cx="1666783" cy="759719"/>
      </dsp:txXfrm>
    </dsp:sp>
    <dsp:sp modelId="{C20FDFFC-219B-4612-B43B-1C764F251F5A}">
      <dsp:nvSpPr>
        <dsp:cNvPr id="0" name=""/>
        <dsp:cNvSpPr/>
      </dsp:nvSpPr>
      <dsp:spPr>
        <a:xfrm>
          <a:off x="4507769" y="2855224"/>
          <a:ext cx="828391" cy="828391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F0FBF7D-3D0D-496C-98CF-B9EB32253D1D}">
      <dsp:nvSpPr>
        <dsp:cNvPr id="0" name=""/>
        <dsp:cNvSpPr/>
      </dsp:nvSpPr>
      <dsp:spPr>
        <a:xfrm>
          <a:off x="5541389" y="967759"/>
          <a:ext cx="2366832" cy="1766790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/>
            <a:t>Docetaksel</a:t>
          </a:r>
          <a:endParaRPr lang="en-GB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/>
            <a:t>Abirateron</a:t>
          </a:r>
          <a:endParaRPr lang="en-GB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/>
            <a:t>Enzalutamid</a:t>
          </a:r>
          <a:endParaRPr lang="en-GB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/>
            <a:t>Post docetaxel</a:t>
          </a:r>
          <a:endParaRPr lang="en-GB" sz="2000" kern="1200"/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/>
            <a:t>Cabazitaxel</a:t>
          </a:r>
          <a:endParaRPr lang="en-GB" sz="2000" kern="1200"/>
        </a:p>
      </dsp:txBody>
      <dsp:txXfrm>
        <a:off x="5582787" y="1009157"/>
        <a:ext cx="2284036" cy="1725392"/>
      </dsp:txXfrm>
    </dsp:sp>
    <dsp:sp modelId="{21822AFD-0256-4AFC-8087-3BF7CC92EEBB}">
      <dsp:nvSpPr>
        <dsp:cNvPr id="0" name=""/>
        <dsp:cNvSpPr/>
      </dsp:nvSpPr>
      <dsp:spPr>
        <a:xfrm>
          <a:off x="5541389" y="2734549"/>
          <a:ext cx="2366832" cy="759719"/>
        </a:xfrm>
        <a:prstGeom prst="rect">
          <a:avLst/>
        </a:prstGeom>
        <a:solidFill>
          <a:srgbClr val="C00000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0" rIns="27940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 err="1"/>
            <a:t>mKDPK</a:t>
          </a:r>
          <a:endParaRPr lang="en-GB" sz="2200" b="1" kern="1200" dirty="0"/>
        </a:p>
      </dsp:txBody>
      <dsp:txXfrm>
        <a:off x="5541389" y="2734549"/>
        <a:ext cx="1666783" cy="759719"/>
      </dsp:txXfrm>
    </dsp:sp>
    <dsp:sp modelId="{67E1145A-C971-43A9-9065-FC47CD748026}">
      <dsp:nvSpPr>
        <dsp:cNvPr id="0" name=""/>
        <dsp:cNvSpPr/>
      </dsp:nvSpPr>
      <dsp:spPr>
        <a:xfrm>
          <a:off x="7275126" y="2855224"/>
          <a:ext cx="828391" cy="828391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07B217-D8AB-41EE-A96B-F94DB07CDE17}">
      <dsp:nvSpPr>
        <dsp:cNvPr id="0" name=""/>
        <dsp:cNvSpPr/>
      </dsp:nvSpPr>
      <dsp:spPr>
        <a:xfrm>
          <a:off x="8308746" y="967759"/>
          <a:ext cx="2366832" cy="1766790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/>
            <a:t>Olaparib</a:t>
          </a:r>
          <a:endParaRPr lang="en-GB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/>
            <a:t>Rucoparib</a:t>
          </a:r>
          <a:endParaRPr lang="en-GB" sz="2000" kern="1200"/>
        </a:p>
      </dsp:txBody>
      <dsp:txXfrm>
        <a:off x="8350144" y="1009157"/>
        <a:ext cx="2284036" cy="1725392"/>
      </dsp:txXfrm>
    </dsp:sp>
    <dsp:sp modelId="{82D31804-5139-4EF8-9147-E34A86B5A75E}">
      <dsp:nvSpPr>
        <dsp:cNvPr id="0" name=""/>
        <dsp:cNvSpPr/>
      </dsp:nvSpPr>
      <dsp:spPr>
        <a:xfrm>
          <a:off x="8308746" y="2734549"/>
          <a:ext cx="2366832" cy="759719"/>
        </a:xfrm>
        <a:prstGeom prst="rect">
          <a:avLst/>
        </a:prstGeom>
        <a:solidFill>
          <a:srgbClr val="C00000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0" rIns="27940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PARP </a:t>
          </a:r>
          <a:r>
            <a:rPr lang="en-US" sz="2200" b="1" kern="1200" dirty="0" err="1"/>
            <a:t>inhibitörü</a:t>
          </a:r>
          <a:endParaRPr lang="en-GB" sz="2200" b="1" kern="1200" dirty="0"/>
        </a:p>
      </dsp:txBody>
      <dsp:txXfrm>
        <a:off x="8308746" y="2734549"/>
        <a:ext cx="1666783" cy="759719"/>
      </dsp:txXfrm>
    </dsp:sp>
    <dsp:sp modelId="{3548267F-1CF2-496B-B26F-03412C947C5F}">
      <dsp:nvSpPr>
        <dsp:cNvPr id="0" name=""/>
        <dsp:cNvSpPr/>
      </dsp:nvSpPr>
      <dsp:spPr>
        <a:xfrm>
          <a:off x="10042484" y="2855224"/>
          <a:ext cx="828391" cy="828391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8EC1EE-E264-489E-B3BF-3E1DE57FCC66}">
      <dsp:nvSpPr>
        <dsp:cNvPr id="0" name=""/>
        <dsp:cNvSpPr/>
      </dsp:nvSpPr>
      <dsp:spPr>
        <a:xfrm>
          <a:off x="0" y="0"/>
          <a:ext cx="4114800" cy="4114800"/>
        </a:xfrm>
        <a:prstGeom prst="pie">
          <a:avLst>
            <a:gd name="adj1" fmla="val 5400000"/>
            <a:gd name="adj2" fmla="val 16200000"/>
          </a:avLst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D8D25F-884B-4291-8D50-C700CB4D847F}">
      <dsp:nvSpPr>
        <dsp:cNvPr id="0" name=""/>
        <dsp:cNvSpPr/>
      </dsp:nvSpPr>
      <dsp:spPr>
        <a:xfrm>
          <a:off x="2057400" y="0"/>
          <a:ext cx="8305800" cy="4114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 dirty="0" err="1"/>
            <a:t>Seçenekler</a:t>
          </a:r>
          <a:r>
            <a:rPr lang="en-GB" sz="3600" kern="1200" dirty="0"/>
            <a:t> </a:t>
          </a:r>
          <a:r>
            <a:rPr lang="en-GB" sz="3600" kern="1200" dirty="0" err="1"/>
            <a:t>yeterli</a:t>
          </a:r>
          <a:r>
            <a:rPr lang="en-GB" sz="3600" kern="1200" dirty="0"/>
            <a:t> </a:t>
          </a:r>
          <a:r>
            <a:rPr lang="en-GB" sz="3600" kern="1200" dirty="0" err="1"/>
            <a:t>sayılabilir</a:t>
          </a:r>
          <a:endParaRPr lang="en-GB" sz="3600" kern="1200" dirty="0"/>
        </a:p>
      </dsp:txBody>
      <dsp:txXfrm>
        <a:off x="2057400" y="0"/>
        <a:ext cx="8305800" cy="1954530"/>
      </dsp:txXfrm>
    </dsp:sp>
    <dsp:sp modelId="{14444BE7-25F4-49FF-82D6-DC5AD39C6D24}">
      <dsp:nvSpPr>
        <dsp:cNvPr id="0" name=""/>
        <dsp:cNvSpPr/>
      </dsp:nvSpPr>
      <dsp:spPr>
        <a:xfrm>
          <a:off x="1080135" y="1954530"/>
          <a:ext cx="1954530" cy="1954530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F3587E-7C5C-49D0-8CF9-3C34284DBFB9}">
      <dsp:nvSpPr>
        <dsp:cNvPr id="0" name=""/>
        <dsp:cNvSpPr/>
      </dsp:nvSpPr>
      <dsp:spPr>
        <a:xfrm>
          <a:off x="2057400" y="1954530"/>
          <a:ext cx="8305800" cy="195453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 dirty="0"/>
            <a:t>Geri </a:t>
          </a:r>
          <a:r>
            <a:rPr lang="en-GB" sz="3600" kern="1200" dirty="0" err="1"/>
            <a:t>ödeme</a:t>
          </a:r>
          <a:r>
            <a:rPr lang="en-GB" sz="3600" kern="1200" dirty="0"/>
            <a:t> </a:t>
          </a:r>
          <a:r>
            <a:rPr lang="en-GB" sz="3600" kern="1200" dirty="0" err="1"/>
            <a:t>gerekliliği</a:t>
          </a:r>
          <a:r>
            <a:rPr lang="en-GB" sz="3600" kern="1200" dirty="0"/>
            <a:t> var</a:t>
          </a:r>
        </a:p>
      </dsp:txBody>
      <dsp:txXfrm>
        <a:off x="2057400" y="1954530"/>
        <a:ext cx="8305800" cy="1954530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6D5FD1-293B-4FA5-B4FF-4658C0187F7F}">
      <dsp:nvSpPr>
        <dsp:cNvPr id="0" name=""/>
        <dsp:cNvSpPr/>
      </dsp:nvSpPr>
      <dsp:spPr>
        <a:xfrm>
          <a:off x="6674" y="967759"/>
          <a:ext cx="2366832" cy="1766790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61260F-67E5-4161-AED7-1B56F34D4D03}">
      <dsp:nvSpPr>
        <dsp:cNvPr id="0" name=""/>
        <dsp:cNvSpPr/>
      </dsp:nvSpPr>
      <dsp:spPr>
        <a:xfrm>
          <a:off x="6674" y="2734549"/>
          <a:ext cx="2366832" cy="75971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0" rIns="27940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/>
            <a:t>mHSPC</a:t>
          </a:r>
          <a:endParaRPr lang="en-GB" sz="2200" b="1" kern="1200"/>
        </a:p>
      </dsp:txBody>
      <dsp:txXfrm>
        <a:off x="6674" y="2734549"/>
        <a:ext cx="1666783" cy="759719"/>
      </dsp:txXfrm>
    </dsp:sp>
    <dsp:sp modelId="{D69EFB63-590B-45F9-8D03-4EB633136820}">
      <dsp:nvSpPr>
        <dsp:cNvPr id="0" name=""/>
        <dsp:cNvSpPr/>
      </dsp:nvSpPr>
      <dsp:spPr>
        <a:xfrm>
          <a:off x="1740411" y="2855224"/>
          <a:ext cx="828391" cy="828391"/>
        </a:xfrm>
        <a:prstGeom prst="ellipse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9EA1A0-8470-48C2-80D7-80800D28E861}">
      <dsp:nvSpPr>
        <dsp:cNvPr id="0" name=""/>
        <dsp:cNvSpPr/>
      </dsp:nvSpPr>
      <dsp:spPr>
        <a:xfrm>
          <a:off x="2774031" y="967759"/>
          <a:ext cx="2366832" cy="1766790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2F5B91-DBDD-4A2A-B409-45E4F19D8B18}">
      <dsp:nvSpPr>
        <dsp:cNvPr id="0" name=""/>
        <dsp:cNvSpPr/>
      </dsp:nvSpPr>
      <dsp:spPr>
        <a:xfrm>
          <a:off x="2774031" y="2734549"/>
          <a:ext cx="2366832" cy="75971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0" rIns="27940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M0 KDPK</a:t>
          </a:r>
          <a:endParaRPr lang="en-GB" sz="2200" b="1" kern="1200" dirty="0"/>
        </a:p>
      </dsp:txBody>
      <dsp:txXfrm>
        <a:off x="2774031" y="2734549"/>
        <a:ext cx="1666783" cy="759719"/>
      </dsp:txXfrm>
    </dsp:sp>
    <dsp:sp modelId="{C20FDFFC-219B-4612-B43B-1C764F251F5A}">
      <dsp:nvSpPr>
        <dsp:cNvPr id="0" name=""/>
        <dsp:cNvSpPr/>
      </dsp:nvSpPr>
      <dsp:spPr>
        <a:xfrm>
          <a:off x="4507769" y="2855224"/>
          <a:ext cx="828391" cy="828391"/>
        </a:xfrm>
        <a:prstGeom prst="ellipse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F0FBF7D-3D0D-496C-98CF-B9EB32253D1D}">
      <dsp:nvSpPr>
        <dsp:cNvPr id="0" name=""/>
        <dsp:cNvSpPr/>
      </dsp:nvSpPr>
      <dsp:spPr>
        <a:xfrm>
          <a:off x="5541389" y="967759"/>
          <a:ext cx="2366832" cy="1766790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822AFD-0256-4AFC-8087-3BF7CC92EEBB}">
      <dsp:nvSpPr>
        <dsp:cNvPr id="0" name=""/>
        <dsp:cNvSpPr/>
      </dsp:nvSpPr>
      <dsp:spPr>
        <a:xfrm>
          <a:off x="5541389" y="2734549"/>
          <a:ext cx="2366832" cy="75971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0" rIns="27940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/>
            <a:t>mKDPK</a:t>
          </a:r>
          <a:endParaRPr lang="en-GB" sz="2200" b="1" kern="1200"/>
        </a:p>
      </dsp:txBody>
      <dsp:txXfrm>
        <a:off x="5541389" y="2734549"/>
        <a:ext cx="1666783" cy="759719"/>
      </dsp:txXfrm>
    </dsp:sp>
    <dsp:sp modelId="{67E1145A-C971-43A9-9065-FC47CD748026}">
      <dsp:nvSpPr>
        <dsp:cNvPr id="0" name=""/>
        <dsp:cNvSpPr/>
      </dsp:nvSpPr>
      <dsp:spPr>
        <a:xfrm>
          <a:off x="7275126" y="2855224"/>
          <a:ext cx="828391" cy="828391"/>
        </a:xfrm>
        <a:prstGeom prst="ellipse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07B217-D8AB-41EE-A96B-F94DB07CDE17}">
      <dsp:nvSpPr>
        <dsp:cNvPr id="0" name=""/>
        <dsp:cNvSpPr/>
      </dsp:nvSpPr>
      <dsp:spPr>
        <a:xfrm>
          <a:off x="8308746" y="967759"/>
          <a:ext cx="2366832" cy="1766790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2D31804-5139-4EF8-9147-E34A86B5A75E}">
      <dsp:nvSpPr>
        <dsp:cNvPr id="0" name=""/>
        <dsp:cNvSpPr/>
      </dsp:nvSpPr>
      <dsp:spPr>
        <a:xfrm>
          <a:off x="8308746" y="2734549"/>
          <a:ext cx="2366832" cy="75971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0" rIns="27940" bIns="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/>
            <a:t>PARP inhibitörü</a:t>
          </a:r>
          <a:endParaRPr lang="en-GB" sz="2200" b="1" kern="1200"/>
        </a:p>
      </dsp:txBody>
      <dsp:txXfrm>
        <a:off x="8308746" y="2734549"/>
        <a:ext cx="1666783" cy="759719"/>
      </dsp:txXfrm>
    </dsp:sp>
    <dsp:sp modelId="{3548267F-1CF2-496B-B26F-03412C947C5F}">
      <dsp:nvSpPr>
        <dsp:cNvPr id="0" name=""/>
        <dsp:cNvSpPr/>
      </dsp:nvSpPr>
      <dsp:spPr>
        <a:xfrm>
          <a:off x="10042484" y="2855224"/>
          <a:ext cx="828391" cy="828391"/>
        </a:xfrm>
        <a:prstGeom prst="ellipse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71FEBC-1B31-48C2-8AA5-0A8CA8F25BBD}">
      <dsp:nvSpPr>
        <dsp:cNvPr id="0" name=""/>
        <dsp:cNvSpPr/>
      </dsp:nvSpPr>
      <dsp:spPr>
        <a:xfrm>
          <a:off x="0" y="22590"/>
          <a:ext cx="6656288" cy="1296000"/>
        </a:xfrm>
        <a:prstGeom prst="rightArrow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ABEBE2-03A1-4F07-BA98-E4D966B0C6A0}">
      <dsp:nvSpPr>
        <dsp:cNvPr id="0" name=""/>
        <dsp:cNvSpPr/>
      </dsp:nvSpPr>
      <dsp:spPr>
        <a:xfrm>
          <a:off x="838624" y="338944"/>
          <a:ext cx="5781238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82880" rIns="0" bIns="1828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 err="1"/>
            <a:t>Klinik</a:t>
          </a:r>
          <a:r>
            <a:rPr lang="en-GB" sz="1800" b="1" kern="1200" dirty="0"/>
            <a:t> </a:t>
          </a:r>
          <a:r>
            <a:rPr lang="en-GB" sz="1800" b="1" kern="1200" dirty="0" err="1"/>
            <a:t>Araştırma</a:t>
          </a:r>
          <a:endParaRPr lang="en-GB" sz="1800" b="1" kern="1200" dirty="0"/>
        </a:p>
      </dsp:txBody>
      <dsp:txXfrm>
        <a:off x="838624" y="338944"/>
        <a:ext cx="5781238" cy="648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BD2FDA-49C2-4469-A58D-B20665D0A21D}">
      <dsp:nvSpPr>
        <dsp:cNvPr id="0" name=""/>
        <dsp:cNvSpPr/>
      </dsp:nvSpPr>
      <dsp:spPr>
        <a:xfrm>
          <a:off x="4468400" y="1047628"/>
          <a:ext cx="1342083" cy="134224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8472FAD1-3AE4-430D-90AF-5EB950D7A5D5}">
      <dsp:nvSpPr>
        <dsp:cNvPr id="0" name=""/>
        <dsp:cNvSpPr/>
      </dsp:nvSpPr>
      <dsp:spPr>
        <a:xfrm>
          <a:off x="4370540" y="0"/>
          <a:ext cx="1537803" cy="822960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/>
            <a:t>Yaş</a:t>
          </a:r>
        </a:p>
      </dsp:txBody>
      <dsp:txXfrm>
        <a:off x="4370540" y="0"/>
        <a:ext cx="1537803" cy="822960"/>
      </dsp:txXfrm>
    </dsp:sp>
    <dsp:sp modelId="{C7FF8C93-C4D9-4B49-B030-7125B325A53F}">
      <dsp:nvSpPr>
        <dsp:cNvPr id="0" name=""/>
        <dsp:cNvSpPr/>
      </dsp:nvSpPr>
      <dsp:spPr>
        <a:xfrm>
          <a:off x="4862078" y="1236908"/>
          <a:ext cx="1342083" cy="134224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905F6E2B-FB8F-4572-B3B0-6803DB0D7F94}">
      <dsp:nvSpPr>
        <dsp:cNvPr id="0" name=""/>
        <dsp:cNvSpPr/>
      </dsp:nvSpPr>
      <dsp:spPr>
        <a:xfrm>
          <a:off x="6173528" y="781812"/>
          <a:ext cx="1846235" cy="90525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 err="1"/>
            <a:t>Ek</a:t>
          </a:r>
          <a:r>
            <a:rPr lang="en-GB" sz="2000" b="1" kern="1200" dirty="0"/>
            <a:t> </a:t>
          </a:r>
          <a:r>
            <a:rPr lang="en-GB" sz="2000" b="1" kern="1200" dirty="0" err="1"/>
            <a:t>hastalıklar</a:t>
          </a:r>
          <a:endParaRPr lang="en-GB" sz="2000" b="1" kern="1200" dirty="0"/>
        </a:p>
      </dsp:txBody>
      <dsp:txXfrm>
        <a:off x="6173528" y="781812"/>
        <a:ext cx="1846235" cy="905256"/>
      </dsp:txXfrm>
    </dsp:sp>
    <dsp:sp modelId="{240E41AB-2273-43A9-9D05-2BE1C192FB1C}">
      <dsp:nvSpPr>
        <dsp:cNvPr id="0" name=""/>
        <dsp:cNvSpPr/>
      </dsp:nvSpPr>
      <dsp:spPr>
        <a:xfrm>
          <a:off x="4958820" y="1662790"/>
          <a:ext cx="1342083" cy="134224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A872F9DB-E4C1-4245-9D0E-93E045DA567A}">
      <dsp:nvSpPr>
        <dsp:cNvPr id="0" name=""/>
        <dsp:cNvSpPr/>
      </dsp:nvSpPr>
      <dsp:spPr>
        <a:xfrm>
          <a:off x="6509485" y="1933956"/>
          <a:ext cx="1425963" cy="966978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/>
            <a:t>Semptom</a:t>
          </a:r>
        </a:p>
      </dsp:txBody>
      <dsp:txXfrm>
        <a:off x="6509485" y="1933956"/>
        <a:ext cx="1425963" cy="966978"/>
      </dsp:txXfrm>
    </dsp:sp>
    <dsp:sp modelId="{FFB45A86-0357-4C27-8D9A-FEAB33BF3C93}">
      <dsp:nvSpPr>
        <dsp:cNvPr id="0" name=""/>
        <dsp:cNvSpPr/>
      </dsp:nvSpPr>
      <dsp:spPr>
        <a:xfrm>
          <a:off x="4686489" y="2004319"/>
          <a:ext cx="1342083" cy="134224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D2090FD8-DD5E-42C9-AE70-C6FF93C20907}">
      <dsp:nvSpPr>
        <dsp:cNvPr id="0" name=""/>
        <dsp:cNvSpPr/>
      </dsp:nvSpPr>
      <dsp:spPr>
        <a:xfrm>
          <a:off x="5666807" y="3230117"/>
          <a:ext cx="1992916" cy="8846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 err="1"/>
            <a:t>Progresyon</a:t>
          </a:r>
          <a:r>
            <a:rPr lang="en-GB" sz="2000" b="1" kern="1200" dirty="0"/>
            <a:t> </a:t>
          </a:r>
          <a:r>
            <a:rPr lang="en-GB" sz="2000" b="1" kern="1200" dirty="0" err="1"/>
            <a:t>bölgesi</a:t>
          </a:r>
          <a:endParaRPr lang="en-GB" sz="2000" b="1" kern="1200" dirty="0"/>
        </a:p>
      </dsp:txBody>
      <dsp:txXfrm>
        <a:off x="5666807" y="3230117"/>
        <a:ext cx="1992916" cy="884682"/>
      </dsp:txXfrm>
    </dsp:sp>
    <dsp:sp modelId="{35D003E9-F0C5-48D4-9FC2-9C4168F3B754}">
      <dsp:nvSpPr>
        <dsp:cNvPr id="0" name=""/>
        <dsp:cNvSpPr/>
      </dsp:nvSpPr>
      <dsp:spPr>
        <a:xfrm>
          <a:off x="4250311" y="2004319"/>
          <a:ext cx="1342083" cy="134224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9D21C71-FA96-494D-9E8B-52BE9E9D0442}">
      <dsp:nvSpPr>
        <dsp:cNvPr id="0" name=""/>
        <dsp:cNvSpPr/>
      </dsp:nvSpPr>
      <dsp:spPr>
        <a:xfrm>
          <a:off x="2846716" y="3230117"/>
          <a:ext cx="1537803" cy="884682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 err="1"/>
            <a:t>Tedaviye</a:t>
          </a:r>
          <a:r>
            <a:rPr lang="en-GB" sz="2000" b="1" kern="1200" dirty="0"/>
            <a:t> </a:t>
          </a:r>
          <a:r>
            <a:rPr lang="en-GB" sz="2000" b="1" kern="1200" dirty="0" err="1"/>
            <a:t>uyum</a:t>
          </a:r>
          <a:r>
            <a:rPr lang="en-GB" sz="2000" b="1" kern="1200" dirty="0"/>
            <a:t> </a:t>
          </a:r>
          <a:r>
            <a:rPr lang="en-GB" sz="2000" b="1" kern="1200" dirty="0" err="1"/>
            <a:t>süreci</a:t>
          </a:r>
          <a:endParaRPr lang="en-GB" sz="2000" b="1" kern="1200" dirty="0"/>
        </a:p>
      </dsp:txBody>
      <dsp:txXfrm>
        <a:off x="2846716" y="3230117"/>
        <a:ext cx="1537803" cy="884682"/>
      </dsp:txXfrm>
    </dsp:sp>
    <dsp:sp modelId="{93A455C6-9EE7-4529-8E10-591A0E0C633B}">
      <dsp:nvSpPr>
        <dsp:cNvPr id="0" name=""/>
        <dsp:cNvSpPr/>
      </dsp:nvSpPr>
      <dsp:spPr>
        <a:xfrm>
          <a:off x="3977980" y="1662790"/>
          <a:ext cx="1342083" cy="134224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6C77295A-01F6-47FB-907D-27C2FA254BAA}">
      <dsp:nvSpPr>
        <dsp:cNvPr id="0" name=""/>
        <dsp:cNvSpPr/>
      </dsp:nvSpPr>
      <dsp:spPr>
        <a:xfrm>
          <a:off x="2343435" y="1933956"/>
          <a:ext cx="1425963" cy="966978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 err="1"/>
            <a:t>Sosyal</a:t>
          </a:r>
          <a:r>
            <a:rPr lang="en-GB" sz="2000" b="1" kern="1200" dirty="0"/>
            <a:t> </a:t>
          </a:r>
          <a:r>
            <a:rPr lang="en-GB" sz="2000" b="1" kern="1200" dirty="0" err="1"/>
            <a:t>yaşam</a:t>
          </a:r>
          <a:endParaRPr lang="en-GB" sz="2000" b="1" kern="1200" dirty="0"/>
        </a:p>
      </dsp:txBody>
      <dsp:txXfrm>
        <a:off x="2343435" y="1933956"/>
        <a:ext cx="1425963" cy="966978"/>
      </dsp:txXfrm>
    </dsp:sp>
    <dsp:sp modelId="{5F67FBF7-3153-41B8-B9DA-1CF1821D7243}">
      <dsp:nvSpPr>
        <dsp:cNvPr id="0" name=""/>
        <dsp:cNvSpPr/>
      </dsp:nvSpPr>
      <dsp:spPr>
        <a:xfrm>
          <a:off x="4074722" y="1236908"/>
          <a:ext cx="1342083" cy="134224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29945E4-2B7B-41F4-B267-1EBDB67DBF5F}">
      <dsp:nvSpPr>
        <dsp:cNvPr id="0" name=""/>
        <dsp:cNvSpPr/>
      </dsp:nvSpPr>
      <dsp:spPr>
        <a:xfrm>
          <a:off x="2455275" y="781812"/>
          <a:ext cx="1453923" cy="90525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 err="1"/>
            <a:t>Agresif</a:t>
          </a:r>
          <a:r>
            <a:rPr lang="en-GB" sz="2000" b="1" kern="1200" dirty="0"/>
            <a:t> </a:t>
          </a:r>
          <a:r>
            <a:rPr lang="en-GB" sz="2000" b="1" kern="1200" dirty="0" err="1"/>
            <a:t>biyoloji</a:t>
          </a:r>
          <a:endParaRPr lang="en-GB" sz="2000" b="1" kern="1200" dirty="0"/>
        </a:p>
      </dsp:txBody>
      <dsp:txXfrm>
        <a:off x="2455275" y="781812"/>
        <a:ext cx="1453923" cy="90525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C85442-E3E8-4A4D-A478-C17A6F5ED92E}">
      <dsp:nvSpPr>
        <dsp:cNvPr id="0" name=""/>
        <dsp:cNvSpPr/>
      </dsp:nvSpPr>
      <dsp:spPr>
        <a:xfrm>
          <a:off x="1778309" y="369"/>
          <a:ext cx="2000598" cy="59174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i="0" kern="1200" baseline="0"/>
            <a:t>Küçük hücreli variant</a:t>
          </a:r>
          <a:endParaRPr lang="en-GB" sz="1100" b="1" kern="1200"/>
        </a:p>
      </dsp:txBody>
      <dsp:txXfrm>
        <a:off x="1807196" y="29256"/>
        <a:ext cx="1942824" cy="533971"/>
      </dsp:txXfrm>
    </dsp:sp>
    <dsp:sp modelId="{E7235D1C-E608-448A-8ACD-35F78575CCAA}">
      <dsp:nvSpPr>
        <dsp:cNvPr id="0" name=""/>
        <dsp:cNvSpPr/>
      </dsp:nvSpPr>
      <dsp:spPr>
        <a:xfrm>
          <a:off x="1778309" y="621701"/>
          <a:ext cx="2000598" cy="59174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kern="1200"/>
            <a:t>Yaygın visseral metastaz</a:t>
          </a:r>
        </a:p>
      </dsp:txBody>
      <dsp:txXfrm>
        <a:off x="1807196" y="650588"/>
        <a:ext cx="1942824" cy="533971"/>
      </dsp:txXfrm>
    </dsp:sp>
    <dsp:sp modelId="{0D36EB43-3423-4B18-AAFF-3754E23D65B4}">
      <dsp:nvSpPr>
        <dsp:cNvPr id="0" name=""/>
        <dsp:cNvSpPr/>
      </dsp:nvSpPr>
      <dsp:spPr>
        <a:xfrm>
          <a:off x="1778309" y="1243034"/>
          <a:ext cx="2000598" cy="59174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i="0" kern="1200" baseline="0"/>
            <a:t>Litik kemik metastazı</a:t>
          </a:r>
          <a:endParaRPr lang="en-GB" sz="1100" b="1" kern="1200"/>
        </a:p>
      </dsp:txBody>
      <dsp:txXfrm>
        <a:off x="1807196" y="1271921"/>
        <a:ext cx="1942824" cy="533971"/>
      </dsp:txXfrm>
    </dsp:sp>
    <dsp:sp modelId="{2A0CA5D4-E0B4-44A1-B59C-CBB65A7953ED}">
      <dsp:nvSpPr>
        <dsp:cNvPr id="0" name=""/>
        <dsp:cNvSpPr/>
      </dsp:nvSpPr>
      <dsp:spPr>
        <a:xfrm>
          <a:off x="1778309" y="1864367"/>
          <a:ext cx="2000598" cy="59174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kern="1200"/>
            <a:t>Büyük LN ve Kitle</a:t>
          </a:r>
        </a:p>
      </dsp:txBody>
      <dsp:txXfrm>
        <a:off x="1807196" y="1893254"/>
        <a:ext cx="1942824" cy="533971"/>
      </dsp:txXfrm>
    </dsp:sp>
    <dsp:sp modelId="{73984FF6-33A7-4E4D-9C2D-CF965A869C4A}">
      <dsp:nvSpPr>
        <dsp:cNvPr id="0" name=""/>
        <dsp:cNvSpPr/>
      </dsp:nvSpPr>
      <dsp:spPr>
        <a:xfrm>
          <a:off x="1778309" y="2485699"/>
          <a:ext cx="2000598" cy="59174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i="0" kern="1200" baseline="0"/>
            <a:t>Düşük PSA</a:t>
          </a:r>
          <a:endParaRPr lang="en-GB" sz="1100" b="1" kern="1200"/>
        </a:p>
      </dsp:txBody>
      <dsp:txXfrm>
        <a:off x="1807196" y="2514586"/>
        <a:ext cx="1942824" cy="533971"/>
      </dsp:txXfrm>
    </dsp:sp>
    <dsp:sp modelId="{47D7701D-B985-426F-8484-6575E8E2AA83}">
      <dsp:nvSpPr>
        <dsp:cNvPr id="0" name=""/>
        <dsp:cNvSpPr/>
      </dsp:nvSpPr>
      <dsp:spPr>
        <a:xfrm>
          <a:off x="1778309" y="3107032"/>
          <a:ext cx="2000598" cy="59174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kern="1200"/>
            <a:t>Nöroendokrin markır ve LDH artışı, hiperkalsemi veya CEA artışı </a:t>
          </a:r>
        </a:p>
      </dsp:txBody>
      <dsp:txXfrm>
        <a:off x="1807196" y="3135919"/>
        <a:ext cx="1942824" cy="533971"/>
      </dsp:txXfrm>
    </dsp:sp>
    <dsp:sp modelId="{60E38A29-B029-47D0-9B6F-842CE7675D40}">
      <dsp:nvSpPr>
        <dsp:cNvPr id="0" name=""/>
        <dsp:cNvSpPr/>
      </dsp:nvSpPr>
      <dsp:spPr>
        <a:xfrm>
          <a:off x="1778309" y="3728365"/>
          <a:ext cx="2000598" cy="59174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i="0" kern="1200" baseline="0"/>
            <a:t>Kısa sürede progresyon</a:t>
          </a:r>
          <a:endParaRPr lang="en-GB" sz="1100" b="1" kern="1200"/>
        </a:p>
      </dsp:txBody>
      <dsp:txXfrm>
        <a:off x="1807196" y="3757252"/>
        <a:ext cx="1942824" cy="53397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56572B-1618-4FEA-8B3C-601464419036}">
      <dsp:nvSpPr>
        <dsp:cNvPr id="0" name=""/>
        <dsp:cNvSpPr/>
      </dsp:nvSpPr>
      <dsp:spPr>
        <a:xfrm>
          <a:off x="3452463" y="2652"/>
          <a:ext cx="4256312" cy="1702525"/>
        </a:xfrm>
        <a:prstGeom prst="chevron">
          <a:avLst/>
        </a:prstGeom>
        <a:solidFill>
          <a:srgbClr val="00009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0" bIns="15240" numCol="1" spcCol="1270" anchor="ctr" anchorCtr="0">
          <a:noAutofit/>
          <a:sp3d extrusionH="28000" prstMaterial="matte"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1" i="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ADT </a:t>
          </a:r>
          <a:r>
            <a:rPr lang="en-GB" sz="2400" b="1" i="0" kern="12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yıllardır</a:t>
          </a:r>
          <a:r>
            <a:rPr lang="en-GB" sz="2400" b="1" i="0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en-GB" sz="2400" b="1" i="0" kern="12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tandart</a:t>
          </a:r>
          <a:endParaRPr lang="en-GB" sz="2400" b="1" i="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4303726" y="2652"/>
        <a:ext cx="2553787" cy="1702525"/>
      </dsp:txXfrm>
    </dsp:sp>
    <dsp:sp modelId="{968CF13D-E166-4E6B-A29C-3F11DEA063D7}">
      <dsp:nvSpPr>
        <dsp:cNvPr id="0" name=""/>
        <dsp:cNvSpPr/>
      </dsp:nvSpPr>
      <dsp:spPr>
        <a:xfrm>
          <a:off x="3452463" y="1943530"/>
          <a:ext cx="4256312" cy="1702525"/>
        </a:xfrm>
        <a:prstGeom prst="chevron">
          <a:avLst/>
        </a:prstGeom>
        <a:solidFill>
          <a:srgbClr val="00009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0" bIns="15240" numCol="1" spcCol="1270" anchor="ctr" anchorCtr="0">
          <a:noAutofit/>
          <a:sp3d extrusionH="28000" prstMaterial="matte"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1" i="0" kern="12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ürekli tedavi ilk öneri</a:t>
          </a:r>
        </a:p>
      </dsp:txBody>
      <dsp:txXfrm>
        <a:off x="4303726" y="1943530"/>
        <a:ext cx="2553787" cy="1702525"/>
      </dsp:txXfrm>
    </dsp:sp>
    <dsp:sp modelId="{21C23B74-370B-4FF9-8E15-D9E6764FEBD6}">
      <dsp:nvSpPr>
        <dsp:cNvPr id="0" name=""/>
        <dsp:cNvSpPr/>
      </dsp:nvSpPr>
      <dsp:spPr>
        <a:xfrm>
          <a:off x="3452463" y="3884409"/>
          <a:ext cx="4256312" cy="1702525"/>
        </a:xfrm>
        <a:prstGeom prst="chevron">
          <a:avLst/>
        </a:prstGeom>
        <a:solidFill>
          <a:srgbClr val="00009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0" bIns="15240" numCol="1" spcCol="1270" anchor="ctr" anchorCtr="0">
          <a:noAutofit/>
          <a:sp3d extrusionH="28000" prstMaterial="matte"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1" i="0" kern="12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Kombine blokaj toksik yeterince güçlü etkili değil</a:t>
          </a:r>
        </a:p>
      </dsp:txBody>
      <dsp:txXfrm>
        <a:off x="4303726" y="3884409"/>
        <a:ext cx="2553787" cy="170252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9A924F-47F0-4CB8-A5D2-6C544E0D2716}">
      <dsp:nvSpPr>
        <dsp:cNvPr id="0" name=""/>
        <dsp:cNvSpPr/>
      </dsp:nvSpPr>
      <dsp:spPr>
        <a:xfrm>
          <a:off x="5291100" y="2558090"/>
          <a:ext cx="4144022" cy="4794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9736"/>
              </a:lnTo>
              <a:lnTo>
                <a:pt x="4144022" y="239736"/>
              </a:lnTo>
              <a:lnTo>
                <a:pt x="4144022" y="479473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6A179F-46B2-414D-B054-31FCCA5300CF}">
      <dsp:nvSpPr>
        <dsp:cNvPr id="0" name=""/>
        <dsp:cNvSpPr/>
      </dsp:nvSpPr>
      <dsp:spPr>
        <a:xfrm>
          <a:off x="5291100" y="2558090"/>
          <a:ext cx="1381340" cy="4794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9736"/>
              </a:lnTo>
              <a:lnTo>
                <a:pt x="1381340" y="239736"/>
              </a:lnTo>
              <a:lnTo>
                <a:pt x="1381340" y="479473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F60F12B-ECF3-46ED-9A24-762A125940F2}">
      <dsp:nvSpPr>
        <dsp:cNvPr id="0" name=""/>
        <dsp:cNvSpPr/>
      </dsp:nvSpPr>
      <dsp:spPr>
        <a:xfrm>
          <a:off x="3909759" y="2558090"/>
          <a:ext cx="1381340" cy="479473"/>
        </a:xfrm>
        <a:custGeom>
          <a:avLst/>
          <a:gdLst/>
          <a:ahLst/>
          <a:cxnLst/>
          <a:rect l="0" t="0" r="0" b="0"/>
          <a:pathLst>
            <a:path>
              <a:moveTo>
                <a:pt x="1381340" y="0"/>
              </a:moveTo>
              <a:lnTo>
                <a:pt x="1381340" y="239736"/>
              </a:lnTo>
              <a:lnTo>
                <a:pt x="0" y="239736"/>
              </a:lnTo>
              <a:lnTo>
                <a:pt x="0" y="479473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34380F-5813-48EC-A78C-609BC0F4D4B0}">
      <dsp:nvSpPr>
        <dsp:cNvPr id="0" name=""/>
        <dsp:cNvSpPr/>
      </dsp:nvSpPr>
      <dsp:spPr>
        <a:xfrm>
          <a:off x="1147077" y="2558090"/>
          <a:ext cx="4144022" cy="479473"/>
        </a:xfrm>
        <a:custGeom>
          <a:avLst/>
          <a:gdLst/>
          <a:ahLst/>
          <a:cxnLst/>
          <a:rect l="0" t="0" r="0" b="0"/>
          <a:pathLst>
            <a:path>
              <a:moveTo>
                <a:pt x="4144022" y="0"/>
              </a:moveTo>
              <a:lnTo>
                <a:pt x="4144022" y="239736"/>
              </a:lnTo>
              <a:lnTo>
                <a:pt x="0" y="239736"/>
              </a:lnTo>
              <a:lnTo>
                <a:pt x="0" y="479473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B4165F-451D-4083-A8A2-7861B89B3C6C}">
      <dsp:nvSpPr>
        <dsp:cNvPr id="0" name=""/>
        <dsp:cNvSpPr/>
      </dsp:nvSpPr>
      <dsp:spPr>
        <a:xfrm>
          <a:off x="4149496" y="432047"/>
          <a:ext cx="2283207" cy="2126043"/>
        </a:xfrm>
        <a:prstGeom prst="rect">
          <a:avLst/>
        </a:prstGeom>
        <a:solidFill>
          <a:schemeClr val="tx2">
            <a:lumMod val="95000"/>
            <a:lumOff val="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 err="1"/>
            <a:t>Etkinliği</a:t>
          </a:r>
          <a:r>
            <a:rPr lang="en-GB" sz="2000" b="1" kern="1200" dirty="0"/>
            <a:t> </a:t>
          </a:r>
          <a:r>
            <a:rPr lang="en-GB" sz="2000" b="1" kern="1200" dirty="0" err="1"/>
            <a:t>görülen</a:t>
          </a:r>
          <a:r>
            <a:rPr lang="en-GB" sz="2000" b="1" kern="1200" dirty="0"/>
            <a:t> </a:t>
          </a:r>
          <a:r>
            <a:rPr lang="en-GB" sz="2000" b="1" kern="1200" dirty="0" err="1"/>
            <a:t>bir</a:t>
          </a:r>
          <a:r>
            <a:rPr lang="en-GB" sz="2000" b="1" kern="1200" dirty="0"/>
            <a:t> </a:t>
          </a:r>
          <a:r>
            <a:rPr lang="en-GB" sz="2000" b="1" kern="1200" dirty="0" err="1"/>
            <a:t>ilaç</a:t>
          </a:r>
          <a:r>
            <a:rPr lang="en-GB" sz="2000" b="1" kern="1200" dirty="0"/>
            <a:t> </a:t>
          </a:r>
          <a:r>
            <a:rPr lang="en-GB" sz="2000" b="1" kern="1200" dirty="0" err="1"/>
            <a:t>aynı</a:t>
          </a:r>
          <a:r>
            <a:rPr lang="en-GB" sz="2000" b="1" kern="1200" dirty="0"/>
            <a:t> </a:t>
          </a:r>
          <a:r>
            <a:rPr lang="en-GB" sz="2000" b="1" kern="1200" dirty="0" err="1"/>
            <a:t>alanda</a:t>
          </a:r>
          <a:r>
            <a:rPr lang="en-GB" sz="2000" b="1" kern="1200" dirty="0"/>
            <a:t> </a:t>
          </a:r>
          <a:r>
            <a:rPr lang="en-GB" sz="2000" b="1" kern="1200" dirty="0" err="1"/>
            <a:t>daha</a:t>
          </a:r>
          <a:r>
            <a:rPr lang="en-GB" sz="2000" b="1" kern="1200" dirty="0"/>
            <a:t> </a:t>
          </a:r>
          <a:r>
            <a:rPr lang="en-GB" sz="2000" b="1" kern="1200" dirty="0" err="1"/>
            <a:t>ileri</a:t>
          </a:r>
          <a:r>
            <a:rPr lang="en-GB" sz="2000" b="1" kern="1200" dirty="0"/>
            <a:t> </a:t>
          </a:r>
          <a:r>
            <a:rPr lang="en-GB" sz="2000" b="1" kern="1200" dirty="0" err="1"/>
            <a:t>incelemeye</a:t>
          </a:r>
          <a:r>
            <a:rPr lang="en-GB" sz="2000" b="1" kern="1200" dirty="0"/>
            <a:t> </a:t>
          </a:r>
          <a:r>
            <a:rPr lang="en-GB" sz="2000" b="1" kern="1200" dirty="0" err="1"/>
            <a:t>gitmezler</a:t>
          </a:r>
          <a:endParaRPr lang="en-GB" sz="2000" b="1" kern="1200" dirty="0"/>
        </a:p>
      </dsp:txBody>
      <dsp:txXfrm>
        <a:off x="4149496" y="432047"/>
        <a:ext cx="2283207" cy="2126043"/>
      </dsp:txXfrm>
    </dsp:sp>
    <dsp:sp modelId="{7172A2A1-338E-4131-977C-0E71DB260075}">
      <dsp:nvSpPr>
        <dsp:cNvPr id="0" name=""/>
        <dsp:cNvSpPr/>
      </dsp:nvSpPr>
      <dsp:spPr>
        <a:xfrm>
          <a:off x="5473" y="3037564"/>
          <a:ext cx="2283207" cy="11416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/>
            <a:t>Artık satış dönemidir</a:t>
          </a:r>
        </a:p>
      </dsp:txBody>
      <dsp:txXfrm>
        <a:off x="5473" y="3037564"/>
        <a:ext cx="2283207" cy="1141603"/>
      </dsp:txXfrm>
    </dsp:sp>
    <dsp:sp modelId="{1C296226-B335-4E75-ACB4-9D5E88A35783}">
      <dsp:nvSpPr>
        <dsp:cNvPr id="0" name=""/>
        <dsp:cNvSpPr/>
      </dsp:nvSpPr>
      <dsp:spPr>
        <a:xfrm>
          <a:off x="2768155" y="3037564"/>
          <a:ext cx="2283207" cy="11416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/>
            <a:t>Akademik çalışmlara ihtiyaç vardır</a:t>
          </a:r>
        </a:p>
      </dsp:txBody>
      <dsp:txXfrm>
        <a:off x="2768155" y="3037564"/>
        <a:ext cx="2283207" cy="1141603"/>
      </dsp:txXfrm>
    </dsp:sp>
    <dsp:sp modelId="{4FB1F622-8799-414F-BF88-2C01A1513A25}">
      <dsp:nvSpPr>
        <dsp:cNvPr id="0" name=""/>
        <dsp:cNvSpPr/>
      </dsp:nvSpPr>
      <dsp:spPr>
        <a:xfrm>
          <a:off x="5530836" y="3037564"/>
          <a:ext cx="2283207" cy="11416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/>
            <a:t>Endustri çalışması beklemek mantıklı değil</a:t>
          </a:r>
        </a:p>
      </dsp:txBody>
      <dsp:txXfrm>
        <a:off x="5530836" y="3037564"/>
        <a:ext cx="2283207" cy="1141603"/>
      </dsp:txXfrm>
    </dsp:sp>
    <dsp:sp modelId="{3BBFF4D1-3A74-4CFF-A854-72BD5D4094E1}">
      <dsp:nvSpPr>
        <dsp:cNvPr id="0" name=""/>
        <dsp:cNvSpPr/>
      </dsp:nvSpPr>
      <dsp:spPr>
        <a:xfrm>
          <a:off x="8293518" y="3037564"/>
          <a:ext cx="2283207" cy="11416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/>
            <a:t>Yeni </a:t>
          </a:r>
          <a:r>
            <a:rPr lang="en-GB" sz="2000" b="1" kern="1200" dirty="0" err="1"/>
            <a:t>gelişen</a:t>
          </a:r>
          <a:r>
            <a:rPr lang="en-GB" sz="2000" b="1" kern="1200" dirty="0"/>
            <a:t> </a:t>
          </a:r>
          <a:r>
            <a:rPr lang="en-GB" sz="2000" b="1" kern="1200" dirty="0" err="1"/>
            <a:t>bir</a:t>
          </a:r>
          <a:r>
            <a:rPr lang="en-GB" sz="2000" b="1" kern="1200" dirty="0"/>
            <a:t> </a:t>
          </a:r>
          <a:r>
            <a:rPr lang="en-GB" sz="2000" b="1" kern="1200" dirty="0" err="1"/>
            <a:t>ilaç</a:t>
          </a:r>
          <a:r>
            <a:rPr lang="en-GB" sz="2000" b="1" kern="1200" dirty="0"/>
            <a:t> </a:t>
          </a:r>
        </a:p>
      </dsp:txBody>
      <dsp:txXfrm>
        <a:off x="8293518" y="3037564"/>
        <a:ext cx="2283207" cy="114160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8CC32F-F3F4-401F-85AC-BC763D23BDC9}">
      <dsp:nvSpPr>
        <dsp:cNvPr id="0" name=""/>
        <dsp:cNvSpPr/>
      </dsp:nvSpPr>
      <dsp:spPr>
        <a:xfrm>
          <a:off x="1150102" y="2986"/>
          <a:ext cx="3580787" cy="2672982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91440" rIns="30480" bIns="3048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/>
            <a:t>Sistemik Tedaviler</a:t>
          </a:r>
        </a:p>
      </dsp:txBody>
      <dsp:txXfrm>
        <a:off x="1212733" y="65617"/>
        <a:ext cx="3455525" cy="2610351"/>
      </dsp:txXfrm>
    </dsp:sp>
    <dsp:sp modelId="{1E95890F-CFEB-410C-825A-CEA536CB457E}">
      <dsp:nvSpPr>
        <dsp:cNvPr id="0" name=""/>
        <dsp:cNvSpPr/>
      </dsp:nvSpPr>
      <dsp:spPr>
        <a:xfrm>
          <a:off x="1150102" y="2675968"/>
          <a:ext cx="3580787" cy="1149382"/>
        </a:xfrm>
        <a:prstGeom prst="rect">
          <a:avLst/>
        </a:prstGeom>
        <a:solidFill>
          <a:srgbClr val="7030A0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0" rIns="34290" bIns="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kern="1200"/>
            <a:t>M0 KRPK</a:t>
          </a:r>
        </a:p>
      </dsp:txBody>
      <dsp:txXfrm>
        <a:off x="1150102" y="2675968"/>
        <a:ext cx="2521681" cy="1149382"/>
      </dsp:txXfrm>
    </dsp:sp>
    <dsp:sp modelId="{93623DCC-5C37-494A-8179-CDCD7D6144BD}">
      <dsp:nvSpPr>
        <dsp:cNvPr id="0" name=""/>
        <dsp:cNvSpPr/>
      </dsp:nvSpPr>
      <dsp:spPr>
        <a:xfrm>
          <a:off x="3773078" y="2858537"/>
          <a:ext cx="1253275" cy="1253275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54B8C4-7CB3-439E-80BD-02ABB2A92118}">
      <dsp:nvSpPr>
        <dsp:cNvPr id="0" name=""/>
        <dsp:cNvSpPr/>
      </dsp:nvSpPr>
      <dsp:spPr>
        <a:xfrm>
          <a:off x="5336845" y="2986"/>
          <a:ext cx="3580787" cy="2672982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91440" rIns="30480" bIns="3048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/>
            <a:t>Salvage RT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/>
            <a:t>Salvage Cerrahi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400" kern="1200" dirty="0" err="1"/>
            <a:t>Ablatif</a:t>
          </a:r>
          <a:r>
            <a:rPr lang="en-GB" sz="2400" kern="1200" dirty="0"/>
            <a:t> </a:t>
          </a:r>
          <a:r>
            <a:rPr lang="en-GB" sz="2400" kern="1200" dirty="0" err="1"/>
            <a:t>tedaviler</a:t>
          </a:r>
          <a:endParaRPr lang="en-GB" sz="2400" kern="1200" dirty="0"/>
        </a:p>
      </dsp:txBody>
      <dsp:txXfrm>
        <a:off x="5399476" y="65617"/>
        <a:ext cx="3455525" cy="2610351"/>
      </dsp:txXfrm>
    </dsp:sp>
    <dsp:sp modelId="{E7F36B64-0634-48B3-BED2-CEC3EB7E1320}">
      <dsp:nvSpPr>
        <dsp:cNvPr id="0" name=""/>
        <dsp:cNvSpPr/>
      </dsp:nvSpPr>
      <dsp:spPr>
        <a:xfrm>
          <a:off x="5336845" y="2675968"/>
          <a:ext cx="3580787" cy="1149382"/>
        </a:xfrm>
        <a:prstGeom prst="rect">
          <a:avLst/>
        </a:prstGeom>
        <a:solidFill>
          <a:srgbClr val="7030A0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0" rIns="34290" bIns="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kern="1200"/>
            <a:t>Lokal tedavi sonrası PSA nüksü</a:t>
          </a:r>
        </a:p>
      </dsp:txBody>
      <dsp:txXfrm>
        <a:off x="5336845" y="2675968"/>
        <a:ext cx="2521681" cy="1149382"/>
      </dsp:txXfrm>
    </dsp:sp>
    <dsp:sp modelId="{0079333F-2747-419B-AE6F-7A896083CAEA}">
      <dsp:nvSpPr>
        <dsp:cNvPr id="0" name=""/>
        <dsp:cNvSpPr/>
      </dsp:nvSpPr>
      <dsp:spPr>
        <a:xfrm>
          <a:off x="7959821" y="2858537"/>
          <a:ext cx="1253275" cy="1253275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0855C2-41A4-40DE-9297-DE01FC128F2D}">
      <dsp:nvSpPr>
        <dsp:cNvPr id="0" name=""/>
        <dsp:cNvSpPr/>
      </dsp:nvSpPr>
      <dsp:spPr>
        <a:xfrm>
          <a:off x="471377" y="482"/>
          <a:ext cx="2144907" cy="1601127"/>
        </a:xfrm>
        <a:prstGeom prst="round2SameRect">
          <a:avLst>
            <a:gd name="adj1" fmla="val 8000"/>
            <a:gd name="adj2" fmla="val 0"/>
          </a:avLst>
        </a:prstGeom>
        <a:solidFill>
          <a:schemeClr val="tx2">
            <a:lumMod val="20000"/>
            <a:lumOff val="80000"/>
            <a:alpha val="9000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152400" rIns="50800" bIns="50800" numCol="1" spcCol="1270" anchor="t" anchorCtr="0">
          <a:noAutofit/>
        </a:bodyPr>
        <a:lstStyle/>
        <a:p>
          <a:pPr marL="285750" lvl="1" indent="-285750" algn="l" defTabSz="1778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4000" b="1" kern="1200"/>
            <a:t>%35</a:t>
          </a:r>
          <a:endParaRPr lang="en-GB" sz="4000" b="1" kern="1200"/>
        </a:p>
      </dsp:txBody>
      <dsp:txXfrm>
        <a:off x="508893" y="37998"/>
        <a:ext cx="2069875" cy="1563611"/>
      </dsp:txXfrm>
    </dsp:sp>
    <dsp:sp modelId="{98C2A9EA-86E1-489F-830B-943E2146A99E}">
      <dsp:nvSpPr>
        <dsp:cNvPr id="0" name=""/>
        <dsp:cNvSpPr/>
      </dsp:nvSpPr>
      <dsp:spPr>
        <a:xfrm>
          <a:off x="471377" y="1142198"/>
          <a:ext cx="2144907" cy="1607309"/>
        </a:xfrm>
        <a:prstGeom prst="rect">
          <a:avLst/>
        </a:prstGeom>
        <a:solidFill>
          <a:schemeClr val="tx2">
            <a:lumMod val="75000"/>
          </a:schemeClr>
        </a:solidFill>
        <a:ln w="26425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254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/>
            <a:t>Yeni kemik metastazı </a:t>
          </a:r>
          <a:endParaRPr lang="en-GB" sz="2000" b="1" kern="1200"/>
        </a:p>
      </dsp:txBody>
      <dsp:txXfrm>
        <a:off x="471377" y="1142198"/>
        <a:ext cx="1510497" cy="1607309"/>
      </dsp:txXfrm>
    </dsp:sp>
    <dsp:sp modelId="{1F204DC3-D635-41BE-8902-AEF06CB63E0D}">
      <dsp:nvSpPr>
        <dsp:cNvPr id="0" name=""/>
        <dsp:cNvSpPr/>
      </dsp:nvSpPr>
      <dsp:spPr>
        <a:xfrm>
          <a:off x="2042551" y="1710969"/>
          <a:ext cx="750717" cy="750717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8FAF5F-75A9-4710-BB10-A5BE666377F6}">
      <dsp:nvSpPr>
        <dsp:cNvPr id="0" name=""/>
        <dsp:cNvSpPr/>
      </dsp:nvSpPr>
      <dsp:spPr>
        <a:xfrm>
          <a:off x="2979254" y="482"/>
          <a:ext cx="2144907" cy="1601127"/>
        </a:xfrm>
        <a:prstGeom prst="round2SameRect">
          <a:avLst>
            <a:gd name="adj1" fmla="val 8000"/>
            <a:gd name="adj2" fmla="val 0"/>
          </a:avLst>
        </a:prstGeom>
        <a:solidFill>
          <a:schemeClr val="tx2">
            <a:lumMod val="20000"/>
            <a:lumOff val="80000"/>
            <a:alpha val="9000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152400" rIns="50800" bIns="50800" numCol="1" spcCol="1270" anchor="t" anchorCtr="0">
          <a:noAutofit/>
        </a:bodyPr>
        <a:lstStyle/>
        <a:p>
          <a:pPr marL="285750" lvl="1" indent="-285750" algn="l" defTabSz="1778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4000" b="1" kern="1200"/>
            <a:t>%58</a:t>
          </a:r>
          <a:endParaRPr lang="en-GB" sz="4000" b="1" kern="1200"/>
        </a:p>
      </dsp:txBody>
      <dsp:txXfrm>
        <a:off x="3016770" y="37998"/>
        <a:ext cx="2069875" cy="1563611"/>
      </dsp:txXfrm>
    </dsp:sp>
    <dsp:sp modelId="{333489A9-EDCB-43CA-B47A-D5700F502817}">
      <dsp:nvSpPr>
        <dsp:cNvPr id="0" name=""/>
        <dsp:cNvSpPr/>
      </dsp:nvSpPr>
      <dsp:spPr>
        <a:xfrm>
          <a:off x="2979254" y="1142198"/>
          <a:ext cx="2144907" cy="1607309"/>
        </a:xfrm>
        <a:prstGeom prst="rect">
          <a:avLst/>
        </a:prstGeom>
        <a:solidFill>
          <a:schemeClr val="tx2">
            <a:lumMod val="75000"/>
          </a:schemeClr>
        </a:solidFill>
        <a:ln w="26425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254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/>
            <a:t>Yeni yumuşak doku metastazı </a:t>
          </a:r>
          <a:endParaRPr lang="en-GB" sz="2000" b="1" kern="1200"/>
        </a:p>
      </dsp:txBody>
      <dsp:txXfrm>
        <a:off x="2979254" y="1142198"/>
        <a:ext cx="1510497" cy="1607309"/>
      </dsp:txXfrm>
    </dsp:sp>
    <dsp:sp modelId="{BA8723E7-3884-4947-9E3D-68D6A7E25899}">
      <dsp:nvSpPr>
        <dsp:cNvPr id="0" name=""/>
        <dsp:cNvSpPr/>
      </dsp:nvSpPr>
      <dsp:spPr>
        <a:xfrm>
          <a:off x="4550428" y="1710969"/>
          <a:ext cx="750717" cy="750717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3E394C-C962-4827-B15A-198CBB8CDE77}">
      <dsp:nvSpPr>
        <dsp:cNvPr id="0" name=""/>
        <dsp:cNvSpPr/>
      </dsp:nvSpPr>
      <dsp:spPr>
        <a:xfrm>
          <a:off x="5487131" y="482"/>
          <a:ext cx="2144907" cy="1601127"/>
        </a:xfrm>
        <a:prstGeom prst="round2SameRect">
          <a:avLst>
            <a:gd name="adj1" fmla="val 8000"/>
            <a:gd name="adj2" fmla="val 0"/>
          </a:avLst>
        </a:prstGeom>
        <a:solidFill>
          <a:schemeClr val="tx2">
            <a:lumMod val="20000"/>
            <a:lumOff val="80000"/>
            <a:alpha val="9000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152400" rIns="50800" bIns="50800" numCol="1" spcCol="1270" anchor="t" anchorCtr="0">
          <a:noAutofit/>
        </a:bodyPr>
        <a:lstStyle/>
        <a:p>
          <a:pPr marL="285750" lvl="1" indent="-285750" algn="l" defTabSz="1778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4000" b="1" kern="1200"/>
            <a:t>%6</a:t>
          </a:r>
          <a:endParaRPr lang="en-GB" sz="4000" b="1" kern="1200"/>
        </a:p>
      </dsp:txBody>
      <dsp:txXfrm>
        <a:off x="5524647" y="37998"/>
        <a:ext cx="2069875" cy="1563611"/>
      </dsp:txXfrm>
    </dsp:sp>
    <dsp:sp modelId="{B6B04552-1EE8-44F0-AE82-69BB1FD8601B}">
      <dsp:nvSpPr>
        <dsp:cNvPr id="0" name=""/>
        <dsp:cNvSpPr/>
      </dsp:nvSpPr>
      <dsp:spPr>
        <a:xfrm>
          <a:off x="5487131" y="1142198"/>
          <a:ext cx="2144907" cy="1607309"/>
        </a:xfrm>
        <a:prstGeom prst="rect">
          <a:avLst/>
        </a:prstGeom>
        <a:solidFill>
          <a:schemeClr val="tx2">
            <a:lumMod val="75000"/>
          </a:schemeClr>
        </a:solidFill>
        <a:ln w="26425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254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/>
            <a:t>Kemik+Yumuşak Doku Metastazı Birlikte </a:t>
          </a:r>
          <a:endParaRPr lang="en-GB" sz="2000" b="1" kern="1200"/>
        </a:p>
      </dsp:txBody>
      <dsp:txXfrm>
        <a:off x="5487131" y="1142198"/>
        <a:ext cx="1510497" cy="1607309"/>
      </dsp:txXfrm>
    </dsp:sp>
    <dsp:sp modelId="{55452981-C355-47DD-9EAA-636E0FFEAB92}">
      <dsp:nvSpPr>
        <dsp:cNvPr id="0" name=""/>
        <dsp:cNvSpPr/>
      </dsp:nvSpPr>
      <dsp:spPr>
        <a:xfrm>
          <a:off x="7058305" y="1710969"/>
          <a:ext cx="750717" cy="750717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EB1144-C7FA-4F00-91C5-C07825083B3E}">
      <dsp:nvSpPr>
        <dsp:cNvPr id="0" name=""/>
        <dsp:cNvSpPr/>
      </dsp:nvSpPr>
      <dsp:spPr>
        <a:xfrm>
          <a:off x="5907" y="869557"/>
          <a:ext cx="1886605" cy="2688015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53340" rIns="17780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 dirty="0"/>
            <a:t>Abiraterone (2011), </a:t>
          </a:r>
          <a:endParaRPr lang="en-GB" sz="14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 dirty="0"/>
            <a:t>Enzalutamide (2012)</a:t>
          </a:r>
          <a:endParaRPr lang="en-GB" sz="1400" b="1" kern="1200" dirty="0"/>
        </a:p>
      </dsp:txBody>
      <dsp:txXfrm>
        <a:off x="50112" y="913762"/>
        <a:ext cx="1798195" cy="2643810"/>
      </dsp:txXfrm>
    </dsp:sp>
    <dsp:sp modelId="{C23AE219-B88D-4CE0-A51D-8B8966A22D83}">
      <dsp:nvSpPr>
        <dsp:cNvPr id="0" name=""/>
        <dsp:cNvSpPr/>
      </dsp:nvSpPr>
      <dsp:spPr>
        <a:xfrm>
          <a:off x="0" y="2643798"/>
          <a:ext cx="1886605" cy="1122618"/>
        </a:xfrm>
        <a:prstGeom prst="rect">
          <a:avLst/>
        </a:prstGeom>
        <a:solidFill>
          <a:srgbClr val="FFFFCC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0" rIns="2032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solidFill>
                <a:schemeClr val="tx1"/>
              </a:solidFill>
            </a:rPr>
            <a:t>AR </a:t>
          </a:r>
          <a:r>
            <a:rPr lang="en-GB" sz="1600" b="1" kern="1200" dirty="0" err="1">
              <a:solidFill>
                <a:schemeClr val="tx1"/>
              </a:solidFill>
            </a:rPr>
            <a:t>İnhibitör</a:t>
          </a:r>
          <a:endParaRPr lang="en-GB" sz="1600" b="1" kern="1200" dirty="0">
            <a:solidFill>
              <a:schemeClr val="tx1"/>
            </a:solidFill>
          </a:endParaRPr>
        </a:p>
      </dsp:txBody>
      <dsp:txXfrm>
        <a:off x="0" y="2643798"/>
        <a:ext cx="1328595" cy="1122618"/>
      </dsp:txXfrm>
    </dsp:sp>
    <dsp:sp modelId="{CAE31A42-25B1-4DF9-A6F2-8F7B0A4BA956}">
      <dsp:nvSpPr>
        <dsp:cNvPr id="0" name=""/>
        <dsp:cNvSpPr/>
      </dsp:nvSpPr>
      <dsp:spPr>
        <a:xfrm>
          <a:off x="1387871" y="3013910"/>
          <a:ext cx="660311" cy="660311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E85E754-7ED5-4DE5-A820-C2037E4E5B05}">
      <dsp:nvSpPr>
        <dsp:cNvPr id="0" name=""/>
        <dsp:cNvSpPr/>
      </dsp:nvSpPr>
      <dsp:spPr>
        <a:xfrm>
          <a:off x="2211772" y="869557"/>
          <a:ext cx="1886605" cy="2688015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53340" rIns="17780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 dirty="0"/>
            <a:t>Docetaxel (2004), </a:t>
          </a:r>
          <a:endParaRPr lang="en-GB" sz="14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 dirty="0" err="1"/>
            <a:t>cabazitaxel</a:t>
          </a:r>
          <a:r>
            <a:rPr lang="en-US" sz="1400" b="1" kern="1200" dirty="0"/>
            <a:t> (2010), </a:t>
          </a:r>
          <a:endParaRPr lang="en-GB" sz="14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 dirty="0"/>
            <a:t>mitoxantrone (1996), </a:t>
          </a:r>
          <a:endParaRPr lang="en-GB" sz="14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 dirty="0" err="1"/>
            <a:t>estramustine</a:t>
          </a:r>
          <a:r>
            <a:rPr lang="en-US" sz="1400" b="1" kern="1200" dirty="0"/>
            <a:t> (1981)</a:t>
          </a:r>
          <a:endParaRPr lang="en-GB" sz="1400" b="1" kern="1200" dirty="0"/>
        </a:p>
      </dsp:txBody>
      <dsp:txXfrm>
        <a:off x="2255977" y="913762"/>
        <a:ext cx="1798195" cy="2643810"/>
      </dsp:txXfrm>
    </dsp:sp>
    <dsp:sp modelId="{405EB911-BB85-4936-9A47-D20D640DDA25}">
      <dsp:nvSpPr>
        <dsp:cNvPr id="0" name=""/>
        <dsp:cNvSpPr/>
      </dsp:nvSpPr>
      <dsp:spPr>
        <a:xfrm>
          <a:off x="2199150" y="2643798"/>
          <a:ext cx="1886605" cy="1122618"/>
        </a:xfrm>
        <a:prstGeom prst="rect">
          <a:avLst/>
        </a:prstGeom>
        <a:solidFill>
          <a:srgbClr val="FFFFCC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0" rIns="2032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 err="1">
              <a:solidFill>
                <a:schemeClr val="tx1"/>
              </a:solidFill>
            </a:rPr>
            <a:t>Sitotoksik</a:t>
          </a:r>
          <a:endParaRPr lang="en-GB" sz="1600" b="1" kern="1200" dirty="0">
            <a:solidFill>
              <a:schemeClr val="tx1"/>
            </a:solidFill>
          </a:endParaRPr>
        </a:p>
      </dsp:txBody>
      <dsp:txXfrm>
        <a:off x="2199150" y="2643798"/>
        <a:ext cx="1328595" cy="1122618"/>
      </dsp:txXfrm>
    </dsp:sp>
    <dsp:sp modelId="{2D56F3AA-DEAE-4E2B-8279-8B73A06592C4}">
      <dsp:nvSpPr>
        <dsp:cNvPr id="0" name=""/>
        <dsp:cNvSpPr/>
      </dsp:nvSpPr>
      <dsp:spPr>
        <a:xfrm>
          <a:off x="3593736" y="3013910"/>
          <a:ext cx="660311" cy="660311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CA6EA8-E792-4F5C-8A7A-7D50C2A1F37D}">
      <dsp:nvSpPr>
        <dsp:cNvPr id="0" name=""/>
        <dsp:cNvSpPr/>
      </dsp:nvSpPr>
      <dsp:spPr>
        <a:xfrm>
          <a:off x="4417636" y="869557"/>
          <a:ext cx="1886605" cy="2688015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53340" rIns="17780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/>
            <a:t>Sipuleucel-T (2010)</a:t>
          </a:r>
          <a:endParaRPr lang="en-GB" sz="1400" b="1" kern="120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/>
            <a:t>Pembrolizumab (2017)</a:t>
          </a:r>
          <a:endParaRPr lang="en-GB" sz="1400" b="1" kern="1200"/>
        </a:p>
      </dsp:txBody>
      <dsp:txXfrm>
        <a:off x="4461841" y="913762"/>
        <a:ext cx="1798195" cy="2643810"/>
      </dsp:txXfrm>
    </dsp:sp>
    <dsp:sp modelId="{D134D0E1-1163-41B9-BB4E-5ADACCD58BEC}">
      <dsp:nvSpPr>
        <dsp:cNvPr id="0" name=""/>
        <dsp:cNvSpPr/>
      </dsp:nvSpPr>
      <dsp:spPr>
        <a:xfrm>
          <a:off x="4405015" y="2643798"/>
          <a:ext cx="1886605" cy="1122618"/>
        </a:xfrm>
        <a:prstGeom prst="rect">
          <a:avLst/>
        </a:prstGeom>
        <a:solidFill>
          <a:srgbClr val="FFFFCC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0" rIns="2032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>
              <a:solidFill>
                <a:schemeClr val="tx1"/>
              </a:solidFill>
            </a:rPr>
            <a:t>İT</a:t>
          </a:r>
        </a:p>
      </dsp:txBody>
      <dsp:txXfrm>
        <a:off x="4405015" y="2643798"/>
        <a:ext cx="1328595" cy="1122618"/>
      </dsp:txXfrm>
    </dsp:sp>
    <dsp:sp modelId="{CFF907E0-98F5-44D7-AB15-BD0B3D02D4EF}">
      <dsp:nvSpPr>
        <dsp:cNvPr id="0" name=""/>
        <dsp:cNvSpPr/>
      </dsp:nvSpPr>
      <dsp:spPr>
        <a:xfrm>
          <a:off x="5799601" y="3013910"/>
          <a:ext cx="660311" cy="660311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6B6853-806C-4754-BF29-52A18F03E035}">
      <dsp:nvSpPr>
        <dsp:cNvPr id="0" name=""/>
        <dsp:cNvSpPr/>
      </dsp:nvSpPr>
      <dsp:spPr>
        <a:xfrm>
          <a:off x="6623501" y="869557"/>
          <a:ext cx="1886605" cy="2688015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53340" rIns="17780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/>
            <a:t>Radium-223 (2013)</a:t>
          </a:r>
          <a:endParaRPr lang="en-GB" sz="1400" b="1" kern="1200"/>
        </a:p>
      </dsp:txBody>
      <dsp:txXfrm>
        <a:off x="6667706" y="913762"/>
        <a:ext cx="1798195" cy="2643810"/>
      </dsp:txXfrm>
    </dsp:sp>
    <dsp:sp modelId="{E106FE16-A013-4D79-989D-B45AA689CB97}">
      <dsp:nvSpPr>
        <dsp:cNvPr id="0" name=""/>
        <dsp:cNvSpPr/>
      </dsp:nvSpPr>
      <dsp:spPr>
        <a:xfrm>
          <a:off x="6623501" y="2659198"/>
          <a:ext cx="1886605" cy="1122618"/>
        </a:xfrm>
        <a:prstGeom prst="rect">
          <a:avLst/>
        </a:prstGeom>
        <a:solidFill>
          <a:srgbClr val="FFFFCC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0" rIns="2032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 err="1">
              <a:solidFill>
                <a:schemeClr val="tx1"/>
              </a:solidFill>
            </a:rPr>
            <a:t>Radiofarmatik</a:t>
          </a:r>
          <a:endParaRPr lang="en-GB" sz="1600" b="1" kern="1200" dirty="0">
            <a:solidFill>
              <a:schemeClr val="tx1"/>
            </a:solidFill>
          </a:endParaRPr>
        </a:p>
      </dsp:txBody>
      <dsp:txXfrm>
        <a:off x="6623501" y="2659198"/>
        <a:ext cx="1328595" cy="1122618"/>
      </dsp:txXfrm>
    </dsp:sp>
    <dsp:sp modelId="{E99BDDE7-28CB-4FAB-A628-43D3A8D0EE28}">
      <dsp:nvSpPr>
        <dsp:cNvPr id="0" name=""/>
        <dsp:cNvSpPr/>
      </dsp:nvSpPr>
      <dsp:spPr>
        <a:xfrm>
          <a:off x="8005465" y="3013910"/>
          <a:ext cx="660311" cy="660311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C00027-22EF-4A05-849D-12652F8CD5F7}">
      <dsp:nvSpPr>
        <dsp:cNvPr id="0" name=""/>
        <dsp:cNvSpPr/>
      </dsp:nvSpPr>
      <dsp:spPr>
        <a:xfrm>
          <a:off x="8829366" y="869557"/>
          <a:ext cx="1886605" cy="2688015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53340" rIns="17780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 dirty="0"/>
            <a:t>Olaparib (2020), </a:t>
          </a:r>
          <a:endParaRPr lang="en-GB" sz="14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 dirty="0"/>
            <a:t>Rucaparib (2020) </a:t>
          </a:r>
          <a:endParaRPr lang="en-GB" sz="1400" b="1" kern="1200" dirty="0"/>
        </a:p>
      </dsp:txBody>
      <dsp:txXfrm>
        <a:off x="8873571" y="913762"/>
        <a:ext cx="1798195" cy="2643810"/>
      </dsp:txXfrm>
    </dsp:sp>
    <dsp:sp modelId="{D1B28342-DCF5-4FE8-A378-DE060896A6D2}">
      <dsp:nvSpPr>
        <dsp:cNvPr id="0" name=""/>
        <dsp:cNvSpPr/>
      </dsp:nvSpPr>
      <dsp:spPr>
        <a:xfrm>
          <a:off x="8829366" y="2659198"/>
          <a:ext cx="1886605" cy="1122618"/>
        </a:xfrm>
        <a:prstGeom prst="rect">
          <a:avLst/>
        </a:prstGeom>
        <a:solidFill>
          <a:srgbClr val="FFFFCC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0" rIns="2032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solidFill>
                <a:schemeClr val="tx1"/>
              </a:solidFill>
            </a:rPr>
            <a:t>PARP inhibitor</a:t>
          </a:r>
          <a:endParaRPr lang="en-GB" sz="1600" b="1" kern="1200" dirty="0">
            <a:solidFill>
              <a:schemeClr val="tx1"/>
            </a:solidFill>
          </a:endParaRPr>
        </a:p>
      </dsp:txBody>
      <dsp:txXfrm>
        <a:off x="8829366" y="2659198"/>
        <a:ext cx="1328595" cy="1122618"/>
      </dsp:txXfrm>
    </dsp:sp>
    <dsp:sp modelId="{E8568316-9F2F-4D99-904B-F151B8041737}">
      <dsp:nvSpPr>
        <dsp:cNvPr id="0" name=""/>
        <dsp:cNvSpPr/>
      </dsp:nvSpPr>
      <dsp:spPr>
        <a:xfrm>
          <a:off x="10211330" y="3013910"/>
          <a:ext cx="660311" cy="660311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BFE157-56E5-41C5-8C4E-F05D3B3EA32D}">
      <dsp:nvSpPr>
        <dsp:cNvPr id="0" name=""/>
        <dsp:cNvSpPr/>
      </dsp:nvSpPr>
      <dsp:spPr>
        <a:xfrm>
          <a:off x="0" y="1898"/>
          <a:ext cx="3309879" cy="12529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  <a:sp3d extrusionH="28000" prstMaterial="matte"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500" kern="1200" dirty="0"/>
            <a:t>TAX-327 </a:t>
          </a:r>
          <a:r>
            <a:rPr lang="tr-TR" sz="1500" kern="1200" dirty="0" err="1"/>
            <a:t>mKDPK’li</a:t>
          </a:r>
          <a:r>
            <a:rPr lang="tr-TR" sz="1500" kern="1200" dirty="0"/>
            <a:t> erkeklerde </a:t>
          </a:r>
          <a:r>
            <a:rPr lang="tr-TR" sz="1500" kern="1200" dirty="0" err="1"/>
            <a:t>randomize</a:t>
          </a:r>
          <a:r>
            <a:rPr lang="tr-TR" sz="1500" kern="1200" dirty="0"/>
            <a:t>, açık etiket, Faz 3 çalışmadır.</a:t>
          </a:r>
          <a:endParaRPr lang="en-GB" sz="1500" kern="1200" dirty="0"/>
        </a:p>
      </dsp:txBody>
      <dsp:txXfrm>
        <a:off x="61162" y="63060"/>
        <a:ext cx="3187555" cy="1130576"/>
      </dsp:txXfrm>
    </dsp:sp>
    <dsp:sp modelId="{8F2E9E13-456F-4841-B962-37FC362BEE49}">
      <dsp:nvSpPr>
        <dsp:cNvPr id="0" name=""/>
        <dsp:cNvSpPr/>
      </dsp:nvSpPr>
      <dsp:spPr>
        <a:xfrm rot="5400000">
          <a:off x="1751755" y="883698"/>
          <a:ext cx="1002320" cy="2120391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13335" rIns="26670" bIns="13335" numCol="1" spcCol="1270" anchor="ctr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tr-TR" sz="700" kern="1200"/>
            <a:t>Konfirme edilmiş prostat adenoca. ve idame olarak ADT sonrası progresif metastatik hastalık</a:t>
          </a:r>
          <a:endParaRPr lang="en-GB" sz="700" kern="120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tr-TR" sz="700" kern="1200"/>
            <a:t>Antiandrojenlerin &gt;4 hafta boyunca geri çekilmiş olması</a:t>
          </a:r>
          <a:endParaRPr lang="en-GB" sz="700" kern="120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tr-TR" sz="700" kern="1200"/>
            <a:t>PSA artışı ile gösterilen hastalık progresyonu</a:t>
          </a:r>
          <a:endParaRPr lang="en-GB" sz="700" kern="120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tr-TR" sz="700" kern="1200"/>
            <a:t>Karnofsky performans statüsü  ≥60%</a:t>
          </a:r>
          <a:endParaRPr lang="en-GB" sz="700" kern="1200"/>
        </a:p>
      </dsp:txBody>
      <dsp:txXfrm rot="-5400000">
        <a:off x="1192720" y="1491663"/>
        <a:ext cx="2071462" cy="904462"/>
      </dsp:txXfrm>
    </dsp:sp>
    <dsp:sp modelId="{43CB62FB-EA2C-4D19-8DE0-AF9EEA97F38A}">
      <dsp:nvSpPr>
        <dsp:cNvPr id="0" name=""/>
        <dsp:cNvSpPr/>
      </dsp:nvSpPr>
      <dsp:spPr>
        <a:xfrm>
          <a:off x="0" y="1317443"/>
          <a:ext cx="1192720" cy="12529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  <a:sp3d extrusionH="28000" prstMaterial="matte"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500" kern="1200" dirty="0"/>
            <a:t>Dahil olma kriterleri:</a:t>
          </a:r>
          <a:endParaRPr lang="en-GB" sz="1500" kern="1200" dirty="0"/>
        </a:p>
      </dsp:txBody>
      <dsp:txXfrm>
        <a:off x="58224" y="1375667"/>
        <a:ext cx="1076272" cy="1136452"/>
      </dsp:txXfrm>
    </dsp:sp>
    <dsp:sp modelId="{A9D26481-AFAB-44E1-92AB-0333AFB80671}">
      <dsp:nvSpPr>
        <dsp:cNvPr id="0" name=""/>
        <dsp:cNvSpPr/>
      </dsp:nvSpPr>
      <dsp:spPr>
        <a:xfrm rot="5400000">
          <a:off x="1751755" y="2199243"/>
          <a:ext cx="1002320" cy="2120391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6670" tIns="13335" rIns="26670" bIns="13335" numCol="1" spcCol="1270" anchor="ctr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tr-TR" sz="700" kern="1200"/>
            <a:t>Önceden radyoizotop veya sitotoksik ajan kullanmış olmak, başka  kanser öyküsü, beyin metastazı, periferik nöropati</a:t>
          </a:r>
          <a:endParaRPr lang="en-GB" sz="700" kern="1200"/>
        </a:p>
      </dsp:txBody>
      <dsp:txXfrm rot="-5400000">
        <a:off x="1192720" y="2807208"/>
        <a:ext cx="2071462" cy="904462"/>
      </dsp:txXfrm>
    </dsp:sp>
    <dsp:sp modelId="{3F51EF71-1DE6-4C9E-98F2-38D1279B0A07}">
      <dsp:nvSpPr>
        <dsp:cNvPr id="0" name=""/>
        <dsp:cNvSpPr/>
      </dsp:nvSpPr>
      <dsp:spPr>
        <a:xfrm>
          <a:off x="0" y="2632989"/>
          <a:ext cx="1192720" cy="12529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  <a:sp3d extrusionH="28000" prstMaterial="matte"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500" kern="1200" dirty="0"/>
            <a:t>Hariç tutma kriterleri</a:t>
          </a:r>
          <a:endParaRPr lang="en-GB" sz="1500" kern="1200" dirty="0"/>
        </a:p>
      </dsp:txBody>
      <dsp:txXfrm>
        <a:off x="58224" y="2691213"/>
        <a:ext cx="1076272" cy="11364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hProcess3">
  <dgm:title val=""/>
  <dgm:desc val=""/>
  <dgm:catLst>
    <dgm:cat type="process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 chOrder="t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dummy" refType="w"/>
      <dgm:constr type="h" for="ch" forName="dummy" refType="h"/>
      <dgm:constr type="h" for="ch" forName="dummy" refType="w" refFor="ch" refForName="dummy" op="lte" fact="0.4"/>
      <dgm:constr type="ctrX" for="ch" forName="dummy" refType="w" fact="0.5"/>
      <dgm:constr type="ctrY" for="ch" forName="dummy" refType="h" fact="0.5"/>
      <dgm:constr type="w" for="ch" forName="linH" refType="w"/>
      <dgm:constr type="h" for="ch" forName="linH" refType="h"/>
      <dgm:constr type="ctrX" for="ch" forName="linH" refType="w" fact="0.5"/>
      <dgm:constr type="ctrY" for="ch" forName="linH" refType="h" fact="0.5"/>
      <dgm:constr type="userP" for="ch" forName="linH" refType="h" refFor="ch" refForName="dummy" fact="0.25"/>
      <dgm:constr type="userT" for="des" forName="parTx" refType="w" refFor="ch" refForName="dummy" fact="0.2"/>
    </dgm:constrLst>
    <dgm:ruleLst/>
    <dgm:layoutNode name="dummy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linH">
      <dgm:choose name="Name1">
        <dgm:if name="Name2" func="var" arg="dir" op="equ" val="norm">
          <dgm:alg type="lin">
            <dgm:param type="linDir" val="fromL"/>
            <dgm:param type="nodeVertAlign" val="t"/>
          </dgm:alg>
        </dgm:if>
        <dgm:else name="Name3">
          <dgm:alg type="lin">
            <dgm:param type="linDir" val="fromR"/>
            <dgm:param type="nodeVertAlign" val="t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forName="parTx" val="65"/>
        <dgm:constr type="primFontSz" for="des" forName="desTx" refType="primFontSz" refFor="des" refForName="parTx" op="equ"/>
        <dgm:constr type="h" for="des" forName="parTx" refType="primFontSz" refFor="des" refForName="parTx"/>
        <dgm:constr type="h" for="des" forName="desTx" refType="primFontSz" refFor="des" refForName="parTx" fact="0.5"/>
        <dgm:constr type="h" for="des" forName="parTx" op="equ"/>
        <dgm:constr type="h" for="des" forName="desTx" op="equ"/>
        <dgm:constr type="h" for="ch" forName="backgroundArrow" refType="primFontSz" refFor="des" refForName="parTx" fact="2"/>
        <dgm:constr type="h" for="ch" forName="backgroundArrow" refType="h" refFor="des" refForName="parTx" op="lte" fact="2"/>
        <dgm:constr type="h" for="ch" forName="backgroundArrow" refType="h" refFor="des" refForName="parTx" op="gte" fact="2"/>
        <dgm:constr type="h" for="des" forName="spVertical1" refType="primFontSz" refFor="des" refForName="parTx" fact="0.5"/>
        <dgm:constr type="h" for="des" forName="spVertical1" refType="h" refFor="des" refForName="parTx" op="lte" fact="0.5"/>
        <dgm:constr type="h" for="des" forName="spVertical1" refType="h" refFor="des" refForName="parTx" op="gte" fact="0.5"/>
        <dgm:constr type="h" for="des" forName="spVertical2" refType="primFontSz" refFor="des" refForName="parTx" fact="0.5"/>
        <dgm:constr type="h" for="des" forName="spVertical2" refType="h" refFor="des" refForName="parTx" op="lte" fact="0.5"/>
        <dgm:constr type="h" for="des" forName="spVertical2" refType="h" refFor="des" refForName="parTx" op="gte" fact="0.5"/>
        <dgm:constr type="h" for="des" forName="spVertical3" refType="primFontSz" refFor="des" refForName="parTx" fact="-0.4"/>
        <dgm:constr type="h" for="des" forName="spVertical3" refType="h" refFor="des" refForName="parTx" op="lte" fact="-0.4"/>
        <dgm:constr type="h" for="des" forName="spVertical3" refType="h" refFor="des" refForName="parTx" op="gte" fact="-0.4"/>
        <dgm:constr type="w" for="ch" forName="backgroundArrow" refType="w"/>
        <dgm:constr type="w" for="ch" forName="negArrow" refType="w" fact="-1"/>
        <dgm:constr type="w" for="ch" forName="linV" refType="w"/>
        <dgm:constr type="w" for="ch" forName="space" refType="w" refFor="ch" refForName="linV" fact="0.2"/>
        <dgm:constr type="w" for="ch" forName="padding1" refType="w" fact="0.08"/>
        <dgm:constr type="userP"/>
        <dgm:constr type="w" for="ch" forName="padding2" refType="userP"/>
      </dgm:constrLst>
      <dgm:ruleLst>
        <dgm:rule type="w" for="ch" forName="linV" val="0" fact="NaN" max="NaN"/>
        <dgm:rule type="primFontSz" for="des" forName="parTx" val="5" fact="NaN" max="NaN"/>
      </dgm:ruleLst>
      <dgm:layoutNode name="padding1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forEach name="Name4" axis="ch" ptType="node">
        <dgm:layoutNode name="linV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spVertical1" refType="w"/>
            <dgm:constr type="w" for="ch" forName="parTx" refType="w"/>
            <dgm:constr type="w" for="ch" forName="spVertical2" refType="w"/>
            <dgm:constr type="w" for="ch" forName="spVertical3" refType="w"/>
            <dgm:constr type="w" for="ch" forName="desTx" refType="w"/>
          </dgm:constrLst>
          <dgm:ruleLst/>
          <dgm:layoutNode name="spVertical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parTx" styleLbl="revTx">
            <dgm:varLst>
              <dgm:chMax val="0"/>
              <dgm:chPref val="0"/>
              <dgm:bulletEnabled val="1"/>
            </dgm:varLst>
            <dgm:choose name="Name5">
              <dgm:if name="Name6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">
                <dgm:alg type="tx">
                  <dgm:param type="parTxLTRAlign" val="ctr"/>
                  <dgm:param type="parTxRTLAlign" val="ct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hoose name="Name8">
              <dgm:if name="Name9" func="var" arg="dir" op="equ" val="norm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if>
              <dgm:else name="Name10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else>
            </dgm:choose>
            <dgm:ruleLst>
              <dgm:rule type="h" val="INF" fact="NaN" max="NaN"/>
            </dgm:ruleLst>
          </dgm:layoutNode>
          <dgm:layoutNode name="spVertical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pVertical3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choose name="Name11">
            <dgm:if name="Name12" axis="ch" ptType="node" func="cnt" op="gte" val="1">
              <dgm:layoutNode name="desTx" styleLbl="revTx">
                <dgm:varLst>
                  <dgm:bulletEnabled val="1"/>
                </dgm:varLst>
                <dgm:alg type="tx">
                  <dgm:param type="stBulletLvl" val="1"/>
                </dgm:alg>
                <dgm:shape xmlns:r="http://schemas.openxmlformats.org/officeDocument/2006/relationships" type="rect" r:blip="">
                  <dgm:adjLst/>
                </dgm:shape>
                <dgm:presOf axis="des" ptType="node"/>
                <dgm:constrLst>
                  <dgm:constr type="tMarg"/>
                  <dgm:constr type="bMarg"/>
                  <dgm:constr type="rMarg"/>
                  <dgm:constr type="lMarg"/>
                </dgm:constrLst>
                <dgm:ruleLst>
                  <dgm:rule type="h" val="INF" fact="NaN" max="NaN"/>
                </dgm:ruleLst>
              </dgm:layoutNode>
            </dgm:if>
            <dgm:else name="Name13"/>
          </dgm:choose>
        </dgm:layoutNod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  <dgm:layoutNode name="padding2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negArrow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backgroundArrow" styleLbl="node1">
        <dgm:alg type="sp"/>
        <dgm:choose name="Name15">
          <dgm:if name="Name16" func="var" arg="dir" op="equ" val="norm">
            <dgm:shape xmlns:r="http://schemas.openxmlformats.org/officeDocument/2006/relationships" type="rightArrow" r:blip="">
              <dgm:adjLst/>
            </dgm:shape>
          </dgm:if>
          <dgm:else name="Name17">
            <dgm:shape xmlns:r="http://schemas.openxmlformats.org/officeDocument/2006/relationships" type="leftArrow" r:blip="">
              <dgm:adjLst/>
            </dgm:shape>
          </dgm:else>
        </dgm:choose>
        <dgm:presOf/>
        <dgm:constrLst/>
        <dgm:ruleLst/>
      </dgm:layoutNode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>
            <a:extLst>
              <a:ext uri="{FF2B5EF4-FFF2-40B4-BE49-F238E27FC236}">
                <a16:creationId xmlns:a16="http://schemas.microsoft.com/office/drawing/2014/main" id="{5223DEC3-936C-47CB-8868-A76CD08BD848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1C0EC571-2930-4523-88D8-171CD8E96130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5B16052D-CD8F-4360-A387-3C465B516944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5125" name="Rectangle 5">
            <a:extLst>
              <a:ext uri="{FF2B5EF4-FFF2-40B4-BE49-F238E27FC236}">
                <a16:creationId xmlns:a16="http://schemas.microsoft.com/office/drawing/2014/main" id="{69DFDE0B-DA47-48EC-AAA8-59208CDC727A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E95C8E27-4A5E-41E6-9113-B9315AA7C846}" type="slidenum">
              <a:rPr lang="tr-TR" altLang="tr-TR"/>
              <a:pPr>
                <a:defRPr/>
              </a:pPr>
              <a:t>‹#›</a:t>
            </a:fld>
            <a:endParaRPr lang="tr-TR" altLang="tr-TR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050">
            <a:extLst>
              <a:ext uri="{FF2B5EF4-FFF2-40B4-BE49-F238E27FC236}">
                <a16:creationId xmlns:a16="http://schemas.microsoft.com/office/drawing/2014/main" id="{6A045B7E-50B0-42E4-9328-24F69EFE65F3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27651" name="Rectangle 2051">
            <a:extLst>
              <a:ext uri="{FF2B5EF4-FFF2-40B4-BE49-F238E27FC236}">
                <a16:creationId xmlns:a16="http://schemas.microsoft.com/office/drawing/2014/main" id="{C855D33E-4683-451D-97B4-0DACC2F9BC0F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17412" name="Rectangle 2052">
            <a:extLst>
              <a:ext uri="{FF2B5EF4-FFF2-40B4-BE49-F238E27FC236}">
                <a16:creationId xmlns:a16="http://schemas.microsoft.com/office/drawing/2014/main" id="{B213FF07-2195-4AF5-8579-A397D4A470E2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7653" name="Rectangle 2053">
            <a:extLst>
              <a:ext uri="{FF2B5EF4-FFF2-40B4-BE49-F238E27FC236}">
                <a16:creationId xmlns:a16="http://schemas.microsoft.com/office/drawing/2014/main" id="{CB73B3DE-F12A-4966-A967-6F0001A7C4FC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 altLang="tr-TR" noProof="0"/>
              <a:t>Asıl metin biçemleri için tıklatın</a:t>
            </a:r>
          </a:p>
          <a:p>
            <a:pPr lvl="1"/>
            <a:r>
              <a:rPr lang="tr-TR" altLang="tr-TR" noProof="0"/>
              <a:t>İkinci düzey</a:t>
            </a:r>
          </a:p>
          <a:p>
            <a:pPr lvl="2"/>
            <a:r>
              <a:rPr lang="tr-TR" altLang="tr-TR" noProof="0"/>
              <a:t>Üçüncü düzey</a:t>
            </a:r>
          </a:p>
          <a:p>
            <a:pPr lvl="3"/>
            <a:r>
              <a:rPr lang="tr-TR" altLang="tr-TR" noProof="0"/>
              <a:t>Dördüncü düzey</a:t>
            </a:r>
          </a:p>
          <a:p>
            <a:pPr lvl="4"/>
            <a:r>
              <a:rPr lang="tr-TR" altLang="tr-TR" noProof="0"/>
              <a:t>Beşinci düzey</a:t>
            </a:r>
          </a:p>
        </p:txBody>
      </p:sp>
      <p:sp>
        <p:nvSpPr>
          <p:cNvPr id="27654" name="Rectangle 2054">
            <a:extLst>
              <a:ext uri="{FF2B5EF4-FFF2-40B4-BE49-F238E27FC236}">
                <a16:creationId xmlns:a16="http://schemas.microsoft.com/office/drawing/2014/main" id="{552B07AC-F146-46E2-9F17-1A2E4DB15D1F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27655" name="Rectangle 2055">
            <a:extLst>
              <a:ext uri="{FF2B5EF4-FFF2-40B4-BE49-F238E27FC236}">
                <a16:creationId xmlns:a16="http://schemas.microsoft.com/office/drawing/2014/main" id="{FD0D775D-815F-44B7-A54C-3E1A910E7BD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B9A040BF-A25A-4621-9B36-53E31A4271AF}" type="slidenum">
              <a:rPr lang="tr-TR" altLang="tr-TR"/>
              <a:pPr>
                <a:defRPr/>
              </a:pPr>
              <a:t>‹#›</a:t>
            </a:fld>
            <a:endParaRPr lang="tr-TR" altLang="tr-T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79FC6F-74C5-46B7-A7AF-FC1B85B22E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pitchFamily="34" charset="-128"/>
                <a:cs typeface="Arial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69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90525" y="688975"/>
            <a:ext cx="6092825" cy="342741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8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7388" y="4343400"/>
            <a:ext cx="5483225" cy="4113213"/>
          </a:xfrm>
          <a:noFill/>
        </p:spPr>
        <p:txBody>
          <a:bodyPr wrap="square" lIns="91190" tIns="45594" rIns="91190" bIns="45594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tr-TR" baseline="0" dirty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46934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37532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576CF9-3F79-4B96-87E3-25EEEABC24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32154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1 Slayt Görüntüsü Yer Tutucusu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4147" name="2 Not Yer Tutucusu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wrap="square" anchor="t"/>
          <a:lstStyle/>
          <a:p>
            <a:endParaRPr lang="en-US"/>
          </a:p>
        </p:txBody>
      </p:sp>
      <p:sp>
        <p:nvSpPr>
          <p:cNvPr id="134148" name="3 Slayt Numarası Yer Tutucusu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679B73-09C4-4552-B8DC-3402F0510CA1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94283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2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455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07542"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7ADD8D-A8D9-4029-875B-06687FAD2E3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43173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Slayt Görüntüsü Yer Tutucusu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Not Yer Tutucusu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r-TR" dirty="0"/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31A457-A476-494A-9D19-B1AAAE760CA8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81544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7ADD8D-A8D9-4029-875B-06687FAD2E3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41026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Slayt Görüntüsü Yer Tutucusu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Not Yer Tutucusu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r-TR" dirty="0"/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31A457-A476-494A-9D19-B1AAAE760CA8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03596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05256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4412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86649"/>
            <a:ext cx="5486400" cy="4527164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88196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2485CF22-EF6A-4510-A230-07A8BC72449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D2042CE8-42FD-4DE2-90A6-8A2D0A1F0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altLang="en-US" i="1" dirty="0">
                <a:latin typeface="Calibri" panose="020F0502020204030204" pitchFamily="34" charset="0"/>
              </a:rPr>
              <a:t>ADT, androgen-deprivation therapy; CAB, </a:t>
            </a:r>
            <a:r>
              <a:rPr lang="en-US" altLang="en-US" b="0" i="1" dirty="0">
                <a:solidFill>
                  <a:srgbClr val="5F6368"/>
                </a:solidFill>
                <a:effectLst/>
                <a:latin typeface="Roboto"/>
              </a:rPr>
              <a:t>combined androgen blockade</a:t>
            </a:r>
            <a:r>
              <a:rPr lang="en-US" b="0" i="1" dirty="0">
                <a:solidFill>
                  <a:srgbClr val="5F6368"/>
                </a:solidFill>
                <a:effectLst/>
                <a:latin typeface="Roboto"/>
              </a:rPr>
              <a:t>;</a:t>
            </a:r>
            <a:r>
              <a:rPr lang="en-US" b="0" i="1" dirty="0">
                <a:solidFill>
                  <a:srgbClr val="4D5156"/>
                </a:solidFill>
                <a:effectLst/>
                <a:latin typeface="Roboto"/>
              </a:rPr>
              <a:t> </a:t>
            </a:r>
            <a:r>
              <a:rPr lang="en-US" altLang="en-US" i="1" dirty="0">
                <a:latin typeface="Calibri" panose="020F0502020204030204" pitchFamily="34" charset="0"/>
              </a:rPr>
              <a:t>ECOG, Eastern Cooperative Oncology Group; CRPC, </a:t>
            </a:r>
            <a:r>
              <a:rPr lang="en-US" sz="1200" i="1" dirty="0"/>
              <a:t>castration-resistant prostate cancer</a:t>
            </a:r>
            <a:r>
              <a:rPr lang="en-US" altLang="en-US" i="1" dirty="0">
                <a:latin typeface="Calibri" panose="020F0502020204030204" pitchFamily="34" charset="0"/>
              </a:rPr>
              <a:t>; mets, metastases; PS, performance status; PSA, prostate-specific antigen; SRE, skeletal-related event; QoL, quality of life.</a:t>
            </a:r>
          </a:p>
        </p:txBody>
      </p:sp>
    </p:spTree>
    <p:extLst>
      <p:ext uri="{BB962C8B-B14F-4D97-AF65-F5344CB8AC3E}">
        <p14:creationId xmlns:p14="http://schemas.microsoft.com/office/powerpoint/2010/main" val="12050207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061124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8829F-E004-4170-9A68-4A5240B877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642639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4412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6220" y="4435371"/>
            <a:ext cx="5474515" cy="4022829"/>
          </a:xfrm>
        </p:spPr>
        <p:txBody>
          <a:bodyPr/>
          <a:lstStyle/>
          <a:p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279373475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3444B1-158A-4BF6-99BF-61DE2EB2E352}" type="slidenum">
              <a:rPr kumimoji="0" lang="en-US" sz="2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703545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3444B1-158A-4BF6-99BF-61DE2EB2E352}" type="slidenum">
              <a:rPr kumimoji="0" lang="en-US" sz="2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3585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2936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60814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3A36DC-69B9-4AF7-9325-457547ECFD64}" type="slidenum">
              <a:rPr kumimoji="0" lang="en-US" sz="2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96854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3444B1-158A-4BF6-99BF-61DE2EB2E352}" type="slidenum">
              <a:rPr kumimoji="0" lang="en-US" sz="2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73305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2485CF22-EF6A-4510-A230-07A8BC72449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384175"/>
            <a:ext cx="6096000" cy="3429000"/>
          </a:xfrm>
          <a:ln/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D2042CE8-42FD-4DE2-90A6-8A2D0A1F0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 altLang="en-US" i="1" dirty="0"/>
          </a:p>
        </p:txBody>
      </p:sp>
    </p:spTree>
    <p:extLst>
      <p:ext uri="{BB962C8B-B14F-4D97-AF65-F5344CB8AC3E}">
        <p14:creationId xmlns:p14="http://schemas.microsoft.com/office/powerpoint/2010/main" val="41247022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BB8463-FF47-4AB8-A37C-6B473AF28FB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74768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i="1" dirty="0">
              <a:ea typeface="ＭＳ Ｐゴシック" pitchFamily="34" charset="-128"/>
            </a:endParaRPr>
          </a:p>
        </p:txBody>
      </p:sp>
      <p:sp>
        <p:nvSpPr>
          <p:cNvPr id="471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C191B1D-546F-402B-9C1E-76B5FA60D5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7038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tr-TR"/>
              <a:t>Asıl alt başlık stilini düzenlemek için tıklatın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F87CA46B-760C-4AB5-9455-F424AEEF691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B0D4E20C-9498-430D-B19C-9B850BFA7CD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D6045B3F-C072-453F-B84B-DD827657F2E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C29372-6DFB-4198-B2E3-0117485E0F0F}" type="slidenum">
              <a:rPr lang="tr-TR" altLang="tr-TR"/>
              <a:pPr>
                <a:defRPr/>
              </a:pPr>
              <a:t>‹#›</a:t>
            </a:fld>
            <a:endParaRPr lang="tr-TR" altLang="tr-TR"/>
          </a:p>
        </p:txBody>
      </p:sp>
    </p:spTree>
    <p:extLst>
      <p:ext uri="{BB962C8B-B14F-4D97-AF65-F5344CB8AC3E}">
        <p14:creationId xmlns:p14="http://schemas.microsoft.com/office/powerpoint/2010/main" val="1975401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9144000" y="0"/>
            <a:ext cx="3048000" cy="6096000"/>
          </a:xfrm>
        </p:spPr>
        <p:txBody>
          <a:bodyPr vert="eaVert"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8940800" cy="6096000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45E76958-BF90-41CE-A328-D0A78C72EB6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685D7A92-A6C4-4FA3-AA10-E27FF3C4305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E1789B59-5FED-4EC6-BE82-ED3D39C7A88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9C3022-0517-4549-AAFD-6FD191BB2DDF}" type="slidenum">
              <a:rPr lang="tr-TR" altLang="tr-TR"/>
              <a:pPr>
                <a:defRPr/>
              </a:pPr>
              <a:t>‹#›</a:t>
            </a:fld>
            <a:endParaRPr lang="tr-TR" altLang="tr-TR"/>
          </a:p>
        </p:txBody>
      </p:sp>
    </p:spTree>
    <p:extLst>
      <p:ext uri="{BB962C8B-B14F-4D97-AF65-F5344CB8AC3E}">
        <p14:creationId xmlns:p14="http://schemas.microsoft.com/office/powerpoint/2010/main" val="1482382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Başlık, Metin ve 2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1268413"/>
          </a:xfrm>
        </p:spPr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quarter" idx="2"/>
          </p:nvPr>
        </p:nvSpPr>
        <p:spPr>
          <a:xfrm>
            <a:off x="6197600" y="1981200"/>
            <a:ext cx="5080000" cy="1981200"/>
          </a:xfrm>
        </p:spPr>
        <p:txBody>
          <a:bodyPr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İçerik Yer Tutucusu 4"/>
          <p:cNvSpPr>
            <a:spLocks noGrp="1"/>
          </p:cNvSpPr>
          <p:nvPr>
            <p:ph sz="quarter" idx="3"/>
          </p:nvPr>
        </p:nvSpPr>
        <p:spPr>
          <a:xfrm>
            <a:off x="6197600" y="4114800"/>
            <a:ext cx="5080000" cy="1981200"/>
          </a:xfrm>
        </p:spPr>
        <p:txBody>
          <a:bodyPr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8E4481D6-D2CD-4197-836A-EDB5E501E63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78BD40A7-54EB-4304-920B-3470E825356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F9DE7ACF-9F9F-436E-AD98-37D0372E171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B8DAB6-98A0-4D67-B98E-464199E86D15}" type="slidenum">
              <a:rPr lang="tr-TR" altLang="tr-TR"/>
              <a:pPr>
                <a:defRPr/>
              </a:pPr>
              <a:t>‹#›</a:t>
            </a:fld>
            <a:endParaRPr lang="tr-TR" altLang="tr-TR"/>
          </a:p>
        </p:txBody>
      </p:sp>
    </p:spTree>
    <p:extLst>
      <p:ext uri="{BB962C8B-B14F-4D97-AF65-F5344CB8AC3E}">
        <p14:creationId xmlns:p14="http://schemas.microsoft.com/office/powerpoint/2010/main" val="18361244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3811F168-5851-4164-A476-942919F07F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465" y="3662363"/>
            <a:ext cx="6078537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1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94B36-D511-4E23-A768-EAFA149B5CC7}"/>
              </a:ext>
            </a:extLst>
          </p:cNvPr>
          <p:cNvSpPr/>
          <p:nvPr/>
        </p:nvSpPr>
        <p:spPr>
          <a:xfrm>
            <a:off x="1" y="1620837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B42F6D-719A-45C6-BB57-84887368226C}"/>
              </a:ext>
            </a:extLst>
          </p:cNvPr>
          <p:cNvCxnSpPr/>
          <p:nvPr/>
        </p:nvCxnSpPr>
        <p:spPr bwMode="auto">
          <a:xfrm>
            <a:off x="-14291" y="1620839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CD6CB8-625C-44F5-9B90-77A60BCC4A2E}"/>
              </a:ext>
            </a:extLst>
          </p:cNvPr>
          <p:cNvCxnSpPr/>
          <p:nvPr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>
            <a:extLst>
              <a:ext uri="{FF2B5EF4-FFF2-40B4-BE49-F238E27FC236}">
                <a16:creationId xmlns:a16="http://schemas.microsoft.com/office/drawing/2014/main" id="{078B106A-3121-420B-B2D9-854FF204BD0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0" y="1600200"/>
            <a:ext cx="11264901" cy="2057400"/>
          </a:xfrm>
          <a:prstGeom prst="rect">
            <a:avLst/>
          </a:prstGeom>
        </p:spPr>
        <p:txBody>
          <a:bodyPr/>
          <a:lstStyle>
            <a:lvl1pPr>
              <a:defRPr sz="3900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C33664-ACD6-44A3-95A5-32325CBC9685}"/>
              </a:ext>
            </a:extLst>
          </p:cNvPr>
          <p:cNvSpPr/>
          <p:nvPr userDrawn="1"/>
        </p:nvSpPr>
        <p:spPr>
          <a:xfrm>
            <a:off x="1" y="1620837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EECCBFD-9ED3-4167-961B-65218739F1A5}"/>
              </a:ext>
            </a:extLst>
          </p:cNvPr>
          <p:cNvCxnSpPr/>
          <p:nvPr userDrawn="1"/>
        </p:nvCxnSpPr>
        <p:spPr bwMode="auto">
          <a:xfrm>
            <a:off x="-14291" y="1620839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95A2832-7EB2-44CE-B43D-FCA9D107E325}"/>
              </a:ext>
            </a:extLst>
          </p:cNvPr>
          <p:cNvCxnSpPr/>
          <p:nvPr userDrawn="1"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980EB246-0392-4BB5-B5BD-C999CA9A71E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053514" y="328762"/>
            <a:ext cx="2673351" cy="945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E80C5BE-1F71-409C-B0C2-0544F3724BE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116637" y="3952875"/>
            <a:ext cx="6075363" cy="1265239"/>
          </a:xfrm>
          <a:prstGeom prst="rect">
            <a:avLst/>
          </a:prstGeom>
          <a:solidFill>
            <a:srgbClr val="461E64">
              <a:alpha val="80000"/>
            </a:srgbClr>
          </a:solidFill>
          <a:ln>
            <a:noFill/>
          </a:ln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20" name="Picture 19" descr="A picture containing drawing&#10;&#10;Description automatically generated">
            <a:extLst>
              <a:ext uri="{FF2B5EF4-FFF2-40B4-BE49-F238E27FC236}">
                <a16:creationId xmlns:a16="http://schemas.microsoft.com/office/drawing/2014/main" id="{32092B37-DBBC-4CD3-88EC-FE69F023D46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9297" y="4207941"/>
            <a:ext cx="3458267" cy="857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9916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9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7" y="1513047"/>
            <a:ext cx="10877529" cy="4650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75519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8F8BDA-1A03-445B-A76B-525DE8317C18}"/>
              </a:ext>
            </a:extLst>
          </p:cNvPr>
          <p:cNvSpPr/>
          <p:nvPr userDrawn="1"/>
        </p:nvSpPr>
        <p:spPr>
          <a:xfrm>
            <a:off x="1" y="6590271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9293BAA-8C62-4F73-8124-D4D6BEBF88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4581" y="5345429"/>
            <a:ext cx="3827419" cy="124741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7E97A50-08EF-437E-A636-931428B27154}"/>
              </a:ext>
            </a:extLst>
          </p:cNvPr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7F3F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85635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60" y="238129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29"/>
            <a:ext cx="5309279" cy="4678739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3" y="1510730"/>
            <a:ext cx="5229571" cy="46794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21443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3" y="1510729"/>
            <a:ext cx="5229571" cy="466574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9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29"/>
            <a:ext cx="5309279" cy="4678739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5346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61" y="238129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8230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93738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14351" y="4856675"/>
            <a:ext cx="11283951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400" b="1">
                <a:solidFill>
                  <a:srgbClr val="8B3D9A"/>
                </a:solidFill>
              </a:defRPr>
            </a:lvl1pPr>
            <a:lvl2pPr>
              <a:buFontTx/>
              <a:buNone/>
              <a:defRPr sz="2400"/>
            </a:lvl2pPr>
            <a:lvl3pPr>
              <a:buFontTx/>
              <a:buNone/>
              <a:defRPr sz="2400"/>
            </a:lvl3pPr>
            <a:lvl4pPr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6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8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EDCE80E-A528-4F84-999C-167B7BD87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407" y="3355525"/>
            <a:ext cx="3827419" cy="124741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B50470-EA3D-49B4-8F28-4C9C1E0D226A}"/>
              </a:ext>
            </a:extLst>
          </p:cNvPr>
          <p:cNvCxnSpPr/>
          <p:nvPr userDrawn="1"/>
        </p:nvCxnSpPr>
        <p:spPr bwMode="auto">
          <a:xfrm>
            <a:off x="-22230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9" name="Picture 5" descr="CCO_ONC_RGB.jpg">
            <a:extLst>
              <a:ext uri="{FF2B5EF4-FFF2-40B4-BE49-F238E27FC236}">
                <a16:creationId xmlns:a16="http://schemas.microsoft.com/office/drawing/2014/main" id="{A8FCC512-B9D6-45E5-83A8-5B1B4BEE14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31"/>
          <a:stretch>
            <a:fillRect/>
          </a:stretch>
        </p:blipFill>
        <p:spPr bwMode="auto">
          <a:xfrm>
            <a:off x="8150225" y="5876926"/>
            <a:ext cx="3673475" cy="717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002248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tr-TR" dirty="0"/>
              <a:t>Asıl metin stillerini düzenlemek için tıklatın</a:t>
            </a:r>
          </a:p>
          <a:p>
            <a:pPr lvl="1"/>
            <a:r>
              <a:rPr lang="tr-TR" dirty="0"/>
              <a:t>İkinci düzey</a:t>
            </a:r>
          </a:p>
          <a:p>
            <a:pPr lvl="2"/>
            <a:r>
              <a:rPr lang="tr-TR" dirty="0"/>
              <a:t>Üçüncü düzey</a:t>
            </a:r>
          </a:p>
          <a:p>
            <a:pPr lvl="3"/>
            <a:r>
              <a:rPr lang="tr-TR" dirty="0"/>
              <a:t>Dördüncü düzey</a:t>
            </a:r>
          </a:p>
          <a:p>
            <a:pPr lvl="4"/>
            <a:r>
              <a:rPr lang="tr-TR" dirty="0"/>
              <a:t>Beşinci düzey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39B21A87-3261-494B-8E36-9220E3C24A1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8580EE13-A9AF-4A93-9366-991DB8C82EE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E93BA08C-7DED-4FB5-8D8C-D68E28EB4B6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FEEE54-B236-4DC9-8216-A1BCB4D5C293}" type="slidenum">
              <a:rPr lang="tr-TR" altLang="tr-TR"/>
              <a:pPr>
                <a:defRPr/>
              </a:pPr>
              <a:t>‹#›</a:t>
            </a:fld>
            <a:endParaRPr lang="tr-TR" altLang="tr-TR"/>
          </a:p>
        </p:txBody>
      </p:sp>
    </p:spTree>
    <p:extLst>
      <p:ext uri="{BB962C8B-B14F-4D97-AF65-F5344CB8AC3E}">
        <p14:creationId xmlns:p14="http://schemas.microsoft.com/office/powerpoint/2010/main" val="27756655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371601"/>
            <a:ext cx="104648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505200"/>
            <a:ext cx="85344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DAD85-1D43-4D6F-90E4-F7E15EF89746}" type="datetime1">
              <a:rPr lang="tr-TR" smtClean="0"/>
              <a:t>14.11.2020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4C500-2EF8-4748-A341-8D028D14A2FE}" type="slidenum">
              <a:rPr lang="tr-TR" smtClean="0"/>
              <a:pPr/>
              <a:t>‹#›</a:t>
            </a:fld>
            <a:endParaRPr lang="tr-TR"/>
          </a:p>
        </p:txBody>
      </p:sp>
      <p:cxnSp>
        <p:nvCxnSpPr>
          <p:cNvPr id="8" name="Straight Connector 7"/>
          <p:cNvCxnSpPr/>
          <p:nvPr/>
        </p:nvCxnSpPr>
        <p:spPr>
          <a:xfrm>
            <a:off x="914400" y="3398520"/>
            <a:ext cx="104648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3897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26E7D-D58A-4692-93FF-E37617B97DB1}" type="datetime1">
              <a:rPr lang="tr-TR" smtClean="0"/>
              <a:t>14.11.2020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4C500-2EF8-4748-A341-8D028D14A2F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319530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73352"/>
            <a:ext cx="53848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73352"/>
            <a:ext cx="53848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9EDE1-9E52-40A2-9C65-65E8B6B96A70}" type="datetime1">
              <a:rPr lang="tr-TR" smtClean="0"/>
              <a:t>14.11.2020</a:t>
            </a:fld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4C500-2EF8-4748-A341-8D028D14A2F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104518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76400"/>
            <a:ext cx="524256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438400"/>
            <a:ext cx="524256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9840" y="1676400"/>
            <a:ext cx="524256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9840" y="2438400"/>
            <a:ext cx="524256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3CFA0-5DE1-4493-B72F-73535543B98E}" type="datetime1">
              <a:rPr lang="tr-TR" smtClean="0"/>
              <a:t>14.11.2020</a:t>
            </a:fld>
            <a:endParaRPr lang="tr-T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4C500-2EF8-4748-A341-8D028D14A2FE}" type="slidenum">
              <a:rPr lang="tr-TR" smtClean="0"/>
              <a:pPr/>
              <a:t>‹#›</a:t>
            </a:fld>
            <a:endParaRPr lang="tr-TR"/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3741949" y="4045691"/>
            <a:ext cx="4709160" cy="1059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22682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B07DDD-D720-42CE-A7C0-31A97553650A}" type="datetime1">
              <a:rPr lang="tr-TR" smtClean="0"/>
              <a:t>14.11.2020</a:t>
            </a:fld>
            <a:endParaRPr lang="tr-T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4C500-2EF8-4748-A341-8D028D14A2F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511323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A42891-485B-45C7-B29C-81D68D353C58}" type="datetime1">
              <a:rPr lang="tr-TR" smtClean="0"/>
              <a:t>14.11.2020</a:t>
            </a:fld>
            <a:endParaRPr lang="tr-T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4C500-2EF8-4748-A341-8D028D14A2F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841015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92080"/>
            <a:ext cx="2852928" cy="1261872"/>
          </a:xfrm>
        </p:spPr>
        <p:txBody>
          <a:bodyPr anchor="b">
            <a:no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62400" y="792080"/>
            <a:ext cx="7620000" cy="55778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2130553"/>
            <a:ext cx="2852928" cy="42436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27DBBC-E7F0-4165-9443-1D512EB1823E}" type="datetime1">
              <a:rPr lang="tr-TR" smtClean="0"/>
              <a:t>14.11.2020</a:t>
            </a:fld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4C500-2EF8-4748-A341-8D028D14A2FE}" type="slidenum">
              <a:rPr lang="tr-TR" smtClean="0"/>
              <a:pPr/>
              <a:t>‹#›</a:t>
            </a:fld>
            <a:endParaRPr lang="tr-TR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912152" y="3579942"/>
            <a:ext cx="5577840" cy="2117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9579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92480"/>
            <a:ext cx="2856907" cy="126492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11480" y="838201"/>
            <a:ext cx="7872520" cy="5500456"/>
          </a:xfrm>
          <a:solidFill>
            <a:schemeClr val="bg2"/>
          </a:solidFill>
          <a:ln w="76200">
            <a:solidFill>
              <a:srgbClr val="FFFFFF"/>
            </a:solidFill>
            <a:miter lim="800000"/>
          </a:ln>
          <a:effectLst>
            <a:outerShdw blurRad="50800" dist="12700" dir="5400000" algn="t" rotWithShape="0">
              <a:prstClr val="black">
                <a:alpha val="59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2133600"/>
            <a:ext cx="2852928" cy="42428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8F419-B44F-40E3-B8E2-E499DC8A2BB2}" type="datetime1">
              <a:rPr lang="tr-TR" smtClean="0"/>
              <a:t>14.11.2020</a:t>
            </a:fld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4C500-2EF8-4748-A341-8D028D14A2F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4145871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6EE73C-6027-41F6-8C3E-0506EC30FDD6}" type="datetime1">
              <a:rPr lang="tr-TR" smtClean="0"/>
              <a:t>14.11.2020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4C500-2EF8-4748-A341-8D028D14A2F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2109193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609600"/>
            <a:ext cx="2743200" cy="5867400"/>
          </a:xfrm>
        </p:spPr>
        <p:txBody>
          <a:bodyPr vert="eaVert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609600"/>
            <a:ext cx="8026400" cy="5867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F0C11F-C7ED-4A5E-BE49-CBCD78DA3EC0}" type="datetime1">
              <a:rPr lang="tr-TR" smtClean="0"/>
              <a:t>14.11.2020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4C500-2EF8-4748-A341-8D028D14A2FE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274814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C8C4716-86ED-4078-9A3A-3838E5453C7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95C431D-2B36-496A-86AB-B80A40A05AF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D4FBC6-C8DB-422D-A285-5DBDE0AC5479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09D75D-247B-49AD-9356-63B18507E8CF}" type="slidenum">
              <a:rPr lang="tr-TR" altLang="tr-TR"/>
              <a:pPr>
                <a:defRPr/>
              </a:pPr>
              <a:t>‹#›</a:t>
            </a:fld>
            <a:endParaRPr lang="tr-TR" altLang="tr-TR"/>
          </a:p>
        </p:txBody>
      </p:sp>
    </p:spTree>
    <p:extLst>
      <p:ext uri="{BB962C8B-B14F-4D97-AF65-F5344CB8AC3E}">
        <p14:creationId xmlns:p14="http://schemas.microsoft.com/office/powerpoint/2010/main" val="394944557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19673" y="6413223"/>
            <a:ext cx="8640233" cy="153888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1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719667" y="1484324"/>
            <a:ext cx="11040533" cy="162352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3617925"/>
      </p:ext>
    </p:extLst>
  </p:cSld>
  <p:clrMapOvr>
    <a:masterClrMapping/>
  </p:clrMapOvr>
  <p:transition spd="med"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232" y="1370014"/>
            <a:ext cx="10674651" cy="43584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74B922-4159-4EBC-81E2-A207B012432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-22168" y="6573668"/>
            <a:ext cx="9522987" cy="284333"/>
          </a:xfrm>
        </p:spPr>
        <p:txBody>
          <a:bodyPr lIns="90000" tIns="46800" rIns="90000" bIns="4680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20755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232" y="1370014"/>
            <a:ext cx="10674651" cy="43584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74B922-4159-4EBC-81E2-A207B012432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-22168" y="6573668"/>
            <a:ext cx="9522987" cy="284333"/>
          </a:xfrm>
        </p:spPr>
        <p:txBody>
          <a:bodyPr lIns="90000" tIns="46800" rIns="90000" bIns="4680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84055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232" y="1370014"/>
            <a:ext cx="10674651" cy="43584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74B922-4159-4EBC-81E2-A207B012432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-22168" y="6573668"/>
            <a:ext cx="9522987" cy="284333"/>
          </a:xfrm>
        </p:spPr>
        <p:txBody>
          <a:bodyPr lIns="90000" tIns="46800" rIns="90000" bIns="4680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91070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232" y="757184"/>
            <a:ext cx="10674651" cy="418576"/>
          </a:xfrm>
        </p:spPr>
        <p:txBody>
          <a:bodyPr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232" y="1370014"/>
            <a:ext cx="10674651" cy="43584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-22168" y="6573668"/>
            <a:ext cx="9830359" cy="284333"/>
          </a:xfrm>
        </p:spPr>
        <p:txBody>
          <a:bodyPr lIns="90000" tIns="46800" rIns="90000" bIns="46800" anchor="b">
            <a:no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A6DC4D34-08AF-4C61-9FCF-4F6CB36C6E49}" type="slidenum">
              <a:rPr lang="en-GB" altLang="tr-TR"/>
              <a:pPr/>
              <a:t>‹#›</a:t>
            </a:fld>
            <a:endParaRPr lang="en-GB" altLang="tr-TR"/>
          </a:p>
        </p:txBody>
      </p:sp>
    </p:spTree>
    <p:extLst>
      <p:ext uri="{BB962C8B-B14F-4D97-AF65-F5344CB8AC3E}">
        <p14:creationId xmlns:p14="http://schemas.microsoft.com/office/powerpoint/2010/main" val="18022422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232" y="1370014"/>
            <a:ext cx="10674651" cy="43584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74B922-4159-4EBC-81E2-A207B012432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-22168" y="6573668"/>
            <a:ext cx="9830359" cy="284333"/>
          </a:xfrm>
        </p:spPr>
        <p:txBody>
          <a:bodyPr lIns="90000" tIns="46800" rIns="90000" bIns="4680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10328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232" y="1370014"/>
            <a:ext cx="10674651" cy="43584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74B922-4159-4EBC-81E2-A207B012432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-22168" y="6573668"/>
            <a:ext cx="9830359" cy="284333"/>
          </a:xfrm>
        </p:spPr>
        <p:txBody>
          <a:bodyPr lIns="90000" tIns="46800" rIns="90000" bIns="4680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00189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232" y="1370014"/>
            <a:ext cx="10674651" cy="43584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74B922-4159-4EBC-81E2-A207B012432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-22168" y="6573668"/>
            <a:ext cx="9830359" cy="284333"/>
          </a:xfrm>
        </p:spPr>
        <p:txBody>
          <a:bodyPr lIns="90000" tIns="46800" rIns="90000" bIns="4680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40076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232" y="1370014"/>
            <a:ext cx="10674651" cy="43584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74B922-4159-4EBC-81E2-A207B012432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-22168" y="6573668"/>
            <a:ext cx="9830359" cy="284333"/>
          </a:xfrm>
        </p:spPr>
        <p:txBody>
          <a:bodyPr lIns="90000" tIns="46800" rIns="90000" bIns="4680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16696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D930D-54C4-447B-8B4D-9D756AD6A666}" type="datetime1">
              <a:rPr lang="tr-TR" smtClean="0"/>
              <a:t>14.11.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65ABA9-FDBC-404A-8885-A9833F77867B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4" y="6100908"/>
            <a:ext cx="11523133" cy="246221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342900" indent="0">
              <a:buNone/>
              <a:defRPr sz="1050"/>
            </a:lvl2pPr>
            <a:lvl3pPr marL="685800" indent="0">
              <a:buNone/>
              <a:defRPr sz="1000"/>
            </a:lvl3pPr>
            <a:lvl4pPr marL="1028700" indent="0">
              <a:buNone/>
              <a:defRPr sz="1000"/>
            </a:lvl4pPr>
            <a:lvl5pPr marL="1371600" indent="0">
              <a:buNone/>
              <a:defRPr sz="1000"/>
            </a:lvl5pPr>
          </a:lstStyle>
          <a:p>
            <a:pPr lvl="0"/>
            <a:r>
              <a:rPr lang="en-US" dirty="0"/>
              <a:t>Click to add reference</a:t>
            </a:r>
          </a:p>
        </p:txBody>
      </p:sp>
    </p:spTree>
    <p:extLst>
      <p:ext uri="{BB962C8B-B14F-4D97-AF65-F5344CB8AC3E}">
        <p14:creationId xmlns:p14="http://schemas.microsoft.com/office/powerpoint/2010/main" val="29307976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10" name="Başlık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1268413"/>
          </a:xfrm>
        </p:spPr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0F3FF51F-83FF-4A35-88BD-FA4F4B30D67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D4AD1B8B-57D9-4C55-9540-6F865ACC545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2CD2F44-D08B-4E81-957F-862CF4B0FE5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8FAF5D-CAA8-4F85-AC9B-1F61C4C13C79}" type="slidenum">
              <a:rPr lang="tr-TR" altLang="tr-TR"/>
              <a:pPr>
                <a:defRPr/>
              </a:pPr>
              <a:t>‹#›</a:t>
            </a:fld>
            <a:endParaRPr lang="tr-TR" altLang="tr-TR"/>
          </a:p>
        </p:txBody>
      </p:sp>
    </p:spTree>
    <p:extLst>
      <p:ext uri="{BB962C8B-B14F-4D97-AF65-F5344CB8AC3E}">
        <p14:creationId xmlns:p14="http://schemas.microsoft.com/office/powerpoint/2010/main" val="28909890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F4C38AEB-6CF6-4273-8629-021C0A534C4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D921C620-8276-47CE-9BDB-C901C0632FF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E0AF1F81-F602-4A47-B3A0-0ECBEA78C5F9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F0726E-950B-416D-97BF-A2C434F97488}" type="slidenum">
              <a:rPr lang="tr-TR" altLang="tr-TR"/>
              <a:pPr>
                <a:defRPr/>
              </a:pPr>
              <a:t>‹#›</a:t>
            </a:fld>
            <a:endParaRPr lang="tr-TR" altLang="tr-TR"/>
          </a:p>
        </p:txBody>
      </p:sp>
    </p:spTree>
    <p:extLst>
      <p:ext uri="{BB962C8B-B14F-4D97-AF65-F5344CB8AC3E}">
        <p14:creationId xmlns:p14="http://schemas.microsoft.com/office/powerpoint/2010/main" val="24905103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BE5CB57E-7B46-4990-9F0B-1DE41DEFFCE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352FDF4E-BD44-4938-A5FC-E2AA7719384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77C42D98-5726-4A6B-A66E-D2169F6A319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EEE8B9-A43A-4343-A29B-8EC4504898FB}" type="slidenum">
              <a:rPr lang="tr-TR" altLang="tr-TR"/>
              <a:pPr>
                <a:defRPr/>
              </a:pPr>
              <a:t>‹#›</a:t>
            </a:fld>
            <a:endParaRPr lang="tr-TR" altLang="tr-TR"/>
          </a:p>
        </p:txBody>
      </p:sp>
    </p:spTree>
    <p:extLst>
      <p:ext uri="{BB962C8B-B14F-4D97-AF65-F5344CB8AC3E}">
        <p14:creationId xmlns:p14="http://schemas.microsoft.com/office/powerpoint/2010/main" val="2300987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1A3FA6E-35AD-4719-8A90-E3B3562F040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4E03C54-9CBA-470B-8EF6-7F5DC079232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52C35AF-7FC9-4B6C-9AC4-44EAF876AF4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169BC-A111-467D-B079-76FE14C95CC1}" type="slidenum">
              <a:rPr lang="tr-TR" altLang="tr-TR"/>
              <a:pPr>
                <a:defRPr/>
              </a:pPr>
              <a:t>‹#›</a:t>
            </a:fld>
            <a:endParaRPr lang="tr-TR" altLang="tr-TR"/>
          </a:p>
        </p:txBody>
      </p:sp>
    </p:spTree>
    <p:extLst>
      <p:ext uri="{BB962C8B-B14F-4D97-AF65-F5344CB8AC3E}">
        <p14:creationId xmlns:p14="http://schemas.microsoft.com/office/powerpoint/2010/main" val="13809450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tr-TR" noProof="0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59520D0-C613-436B-A35A-16F4AE09011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2AF40A-220F-48B2-924D-52B216D9631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2764908-4969-41CF-ADFC-7DB297B9C63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F5503F-1355-466B-BE97-C4634D2D7CC9}" type="slidenum">
              <a:rPr lang="tr-TR" altLang="tr-TR"/>
              <a:pPr>
                <a:defRPr/>
              </a:pPr>
              <a:t>‹#›</a:t>
            </a:fld>
            <a:endParaRPr lang="tr-TR" altLang="tr-TR"/>
          </a:p>
        </p:txBody>
      </p:sp>
    </p:spTree>
    <p:extLst>
      <p:ext uri="{BB962C8B-B14F-4D97-AF65-F5344CB8AC3E}">
        <p14:creationId xmlns:p14="http://schemas.microsoft.com/office/powerpoint/2010/main" val="1041554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66A60018-4D7C-4553-9387-79F2A014DD9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54934DF0-0AB6-40CE-AA10-1A367E7ABEB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524275F6-D4AD-4F8C-87D1-8322C9582F6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8552F5-8BAC-4A4C-AE6D-1C8B88C3B58D}" type="slidenum">
              <a:rPr lang="tr-TR" altLang="tr-TR"/>
              <a:pPr>
                <a:defRPr/>
              </a:pPr>
              <a:t>‹#›</a:t>
            </a:fld>
            <a:endParaRPr lang="tr-TR" altLang="tr-TR"/>
          </a:p>
        </p:txBody>
      </p:sp>
    </p:spTree>
    <p:extLst>
      <p:ext uri="{BB962C8B-B14F-4D97-AF65-F5344CB8AC3E}">
        <p14:creationId xmlns:p14="http://schemas.microsoft.com/office/powerpoint/2010/main" val="23799004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86AA1917-FD3F-4D22-8CF7-3444E7EFE8E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12192000" cy="126841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r-TR" altLang="tr-TR"/>
              <a:t>Asıl başlık stili için tıklatın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D5D1A718-84AF-4DFE-8D0D-8472DCE40E4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 altLang="tr-TR"/>
              <a:t>Asıl metin stillerini düzenlemek için tıklatın</a:t>
            </a:r>
          </a:p>
          <a:p>
            <a:pPr lvl="1"/>
            <a:r>
              <a:rPr lang="tr-TR" altLang="tr-TR"/>
              <a:t>İkinci düzey</a:t>
            </a:r>
          </a:p>
          <a:p>
            <a:pPr lvl="2"/>
            <a:r>
              <a:rPr lang="tr-TR" altLang="tr-TR"/>
              <a:t>Üçüncü düzey</a:t>
            </a:r>
          </a:p>
          <a:p>
            <a:pPr lvl="3"/>
            <a:r>
              <a:rPr lang="tr-TR" altLang="tr-TR"/>
              <a:t>Dördüncü düzey</a:t>
            </a:r>
          </a:p>
          <a:p>
            <a:pPr lvl="4"/>
            <a:r>
              <a:rPr lang="tr-TR" altLang="tr-TR"/>
              <a:t>Beşinci düzey</a:t>
            </a:r>
          </a:p>
        </p:txBody>
      </p:sp>
      <p:sp>
        <p:nvSpPr>
          <p:cNvPr id="1028" name="Rectangle 4">
            <a:extLst>
              <a:ext uri="{FF2B5EF4-FFF2-40B4-BE49-F238E27FC236}">
                <a16:creationId xmlns:a16="http://schemas.microsoft.com/office/drawing/2014/main" id="{98A81844-F11D-4FA7-A66F-7B132E07B79E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1029" name="Rectangle 5">
            <a:extLst>
              <a:ext uri="{FF2B5EF4-FFF2-40B4-BE49-F238E27FC236}">
                <a16:creationId xmlns:a16="http://schemas.microsoft.com/office/drawing/2014/main" id="{AC10EAF2-53F3-42CD-B801-3A5E1965C77B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tr-TR" altLang="tr-TR"/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3DC71675-B04B-4D2C-A1B0-E4B4AD8359ED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b="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8F0BA924-AE37-48BE-903C-811F1B390D4C}" type="slidenum">
              <a:rPr lang="tr-TR" altLang="tr-TR"/>
              <a:pPr>
                <a:defRPr/>
              </a:pPr>
              <a:t>‹#›</a:t>
            </a:fld>
            <a:endParaRPr lang="tr-TR" altLang="tr-T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Century Gothic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Century Gothic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Century Gothic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Century Gothic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Century Gothic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Century Gothic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Century Gothic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bg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bg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bg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bg1"/>
          </a:solidFill>
          <a:latin typeface="+mn-lt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>
            <a:extLst>
              <a:ext uri="{FF2B5EF4-FFF2-40B4-BE49-F238E27FC236}">
                <a16:creationId xmlns:a16="http://schemas.microsoft.com/office/drawing/2014/main" id="{1FBA405B-91D7-455B-838E-7390C471CA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>
            <a:extLst>
              <a:ext uri="{FF2B5EF4-FFF2-40B4-BE49-F238E27FC236}">
                <a16:creationId xmlns:a16="http://schemas.microsoft.com/office/drawing/2014/main" id="{5E3FA78F-9815-470C-AAC7-65118010A9A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28AFCB-3188-4961-AAEE-DB4C7846ECE6}"/>
              </a:ext>
            </a:extLst>
          </p:cNvPr>
          <p:cNvSpPr/>
          <p:nvPr/>
        </p:nvSpPr>
        <p:spPr>
          <a:xfrm>
            <a:off x="1" y="2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D43CC73-466D-4F58-8CB4-E7D562EE94BD}"/>
              </a:ext>
            </a:extLst>
          </p:cNvPr>
          <p:cNvCxnSpPr/>
          <p:nvPr/>
        </p:nvCxnSpPr>
        <p:spPr>
          <a:xfrm>
            <a:off x="1" y="6745288"/>
            <a:ext cx="12192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507A185B-7FCD-47CF-95BF-44DC96F2E8FE}"/>
              </a:ext>
            </a:extLst>
          </p:cNvPr>
          <p:cNvSpPr/>
          <p:nvPr userDrawn="1"/>
        </p:nvSpPr>
        <p:spPr>
          <a:xfrm>
            <a:off x="1" y="2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578623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9pPr>
    </p:titleStyle>
    <p:bodyStyle>
      <a:lvl1pPr marL="342891" indent="-342891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742932" indent="-285744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pitchFamily="34" charset="0"/>
        </a:defRPr>
      </a:lvl2pPr>
      <a:lvl3pPr marL="1142971" indent="-228594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pitchFamily="34" charset="0"/>
        </a:defRPr>
      </a:lvl3pPr>
      <a:lvl4pPr marL="1600160" indent="-228594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pitchFamily="34" charset="0"/>
        </a:defRPr>
      </a:lvl4pPr>
      <a:lvl5pPr marL="2057349" indent="-228594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pitchFamily="34" charset="0"/>
        </a:defRPr>
      </a:lvl5pPr>
      <a:lvl6pPr marL="2514537" indent="-228594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6pPr>
      <a:lvl7pPr marL="2971726" indent="-228594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7pPr>
      <a:lvl8pPr marL="3428914" indent="-228594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8pPr>
      <a:lvl9pPr marL="3886103" indent="-228594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12192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533400"/>
            <a:ext cx="109728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18288"/>
            <a:ext cx="3860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E70B39D7-0D24-46B9-82B4-20980EC18C81}" type="datetime1">
              <a:rPr lang="tr-TR" smtClean="0"/>
              <a:t>14.11.2020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18288"/>
            <a:ext cx="54864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endParaRPr lang="tr-T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88555" y="6528816"/>
            <a:ext cx="14224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 b="1">
                <a:solidFill>
                  <a:schemeClr val="tx1"/>
                </a:solidFill>
              </a:defRPr>
            </a:lvl1pPr>
          </a:lstStyle>
          <a:p>
            <a:fld id="{1934C500-2EF8-4748-A341-8D028D14A2FE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30887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  <p:sldLayoutId id="2147483843" r:id="rId16"/>
    <p:sldLayoutId id="2147483844" r:id="rId17"/>
    <p:sldLayoutId id="2147483845" r:id="rId18"/>
    <p:sldLayoutId id="2147483846" r:id="rId19"/>
    <p:sldLayoutId id="2147483847" r:id="rId2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30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8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1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2.xml"/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12" Type="http://schemas.microsoft.com/office/2007/relationships/diagramDrawing" Target="../diagrams/drawing12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1.xml"/><Relationship Id="rId11" Type="http://schemas.openxmlformats.org/officeDocument/2006/relationships/diagramColors" Target="../diagrams/colors12.xml"/><Relationship Id="rId5" Type="http://schemas.openxmlformats.org/officeDocument/2006/relationships/diagramQuickStyle" Target="../diagrams/quickStyle11.xml"/><Relationship Id="rId10" Type="http://schemas.openxmlformats.org/officeDocument/2006/relationships/diagramQuickStyle" Target="../diagrams/quickStyle12.xml"/><Relationship Id="rId4" Type="http://schemas.openxmlformats.org/officeDocument/2006/relationships/diagramLayout" Target="../diagrams/layout11.xml"/><Relationship Id="rId9" Type="http://schemas.openxmlformats.org/officeDocument/2006/relationships/diagramLayout" Target="../diagrams/layout1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5.xml"/><Relationship Id="rId3" Type="http://schemas.openxmlformats.org/officeDocument/2006/relationships/diagramData" Target="../diagrams/data14.xml"/><Relationship Id="rId7" Type="http://schemas.microsoft.com/office/2007/relationships/diagramDrawing" Target="../diagrams/drawing14.xml"/><Relationship Id="rId12" Type="http://schemas.microsoft.com/office/2007/relationships/diagramDrawing" Target="../diagrams/drawing15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4.xml"/><Relationship Id="rId11" Type="http://schemas.openxmlformats.org/officeDocument/2006/relationships/diagramColors" Target="../diagrams/colors15.xml"/><Relationship Id="rId5" Type="http://schemas.openxmlformats.org/officeDocument/2006/relationships/diagramQuickStyle" Target="../diagrams/quickStyle14.xml"/><Relationship Id="rId10" Type="http://schemas.openxmlformats.org/officeDocument/2006/relationships/diagramQuickStyle" Target="../diagrams/quickStyle15.xml"/><Relationship Id="rId4" Type="http://schemas.openxmlformats.org/officeDocument/2006/relationships/diagramLayout" Target="../diagrams/layout14.xml"/><Relationship Id="rId9" Type="http://schemas.openxmlformats.org/officeDocument/2006/relationships/diagramLayout" Target="../diagrams/layout15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Metin kutusu 8">
            <a:extLst>
              <a:ext uri="{FF2B5EF4-FFF2-40B4-BE49-F238E27FC236}">
                <a16:creationId xmlns:a16="http://schemas.microsoft.com/office/drawing/2014/main" id="{EBC83A6D-870B-4F15-B672-D91EB58E02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8525" y="44450"/>
            <a:ext cx="3481388" cy="1831975"/>
          </a:xfrm>
          <a:prstGeom prst="rect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defTabSz="6858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defTabSz="685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defTabSz="685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defTabSz="6858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en-GB" altLang="tr-TR" sz="1600">
              <a:solidFill>
                <a:srgbClr val="FFFFFF"/>
              </a:solidFill>
              <a:latin typeface="Arial Black" panose="020B0A04020102020204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tr-TR" altLang="tr-TR" sz="1600">
              <a:solidFill>
                <a:srgbClr val="FFFFFF"/>
              </a:solidFill>
              <a:latin typeface="Arial Black" panose="020B0A04020102020204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tr-TR" altLang="tr-TR" sz="2000">
                <a:solidFill>
                  <a:srgbClr val="FFFFFF"/>
                </a:solidFill>
                <a:latin typeface="Arial Black" panose="020B0A04020102020204" pitchFamily="34" charset="0"/>
              </a:rPr>
              <a:t>Akdeniz Üniversitesi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tr-TR" altLang="tr-TR" sz="2000">
                <a:solidFill>
                  <a:srgbClr val="FFFFFF"/>
                </a:solidFill>
                <a:latin typeface="Arial Black" panose="020B0A04020102020204" pitchFamily="34" charset="0"/>
              </a:rPr>
              <a:t>Tıp Fakültesi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tr-TR" altLang="tr-TR" sz="2000">
                <a:solidFill>
                  <a:srgbClr val="FFFFFF"/>
                </a:solidFill>
                <a:latin typeface="Arial Black" panose="020B0A04020102020204" pitchFamily="34" charset="0"/>
              </a:rPr>
              <a:t>Tıbbi Onkoloji BD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tr-TR" sz="1100">
              <a:solidFill>
                <a:srgbClr val="FFFFFF"/>
              </a:solidFill>
              <a:latin typeface="Arial Black" panose="020B0A04020102020204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tr-TR" sz="1100">
              <a:solidFill>
                <a:srgbClr val="FFFFFF"/>
              </a:solidFill>
              <a:latin typeface="Arial Black" panose="020B0A04020102020204" pitchFamily="34" charset="0"/>
            </a:endParaRPr>
          </a:p>
        </p:txBody>
      </p:sp>
      <p:sp>
        <p:nvSpPr>
          <p:cNvPr id="7" name="Başlık 6">
            <a:extLst>
              <a:ext uri="{FF2B5EF4-FFF2-40B4-BE49-F238E27FC236}">
                <a16:creationId xmlns:a16="http://schemas.microsoft.com/office/drawing/2014/main" id="{04A11E34-B2F9-45A3-B411-E063162773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922463"/>
            <a:ext cx="12192000" cy="2444750"/>
          </a:xfrm>
          <a:solidFill>
            <a:schemeClr val="accent5">
              <a:lumMod val="40000"/>
              <a:lumOff val="60000"/>
            </a:schemeClr>
          </a:solidFill>
        </p:spPr>
        <p:txBody>
          <a:bodyPr anchorCtr="1">
            <a:normAutofit/>
          </a:bodyPr>
          <a:lstStyle/>
          <a:p>
            <a:pPr eaLnBrk="1" hangingPunct="1">
              <a:defRPr/>
            </a:pPr>
            <a:r>
              <a:rPr lang="en-GB" altLang="tr-TR" sz="4000" dirty="0"/>
              <a:t>PROSTAT KANSERİ</a:t>
            </a:r>
            <a:endParaRPr lang="tr-TR" altLang="tr-TR" sz="4000" dirty="0"/>
          </a:p>
        </p:txBody>
      </p:sp>
      <p:sp>
        <p:nvSpPr>
          <p:cNvPr id="19460" name="Alt Başlık 7">
            <a:extLst>
              <a:ext uri="{FF2B5EF4-FFF2-40B4-BE49-F238E27FC236}">
                <a16:creationId xmlns:a16="http://schemas.microsoft.com/office/drawing/2014/main" id="{F76462BB-7742-4BF5-B40F-61F91605119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0" y="4386263"/>
            <a:ext cx="9285288" cy="1312862"/>
          </a:xfrm>
          <a:solidFill>
            <a:srgbClr val="66CCFF"/>
          </a:solidFill>
        </p:spPr>
        <p:txBody>
          <a:bodyPr anchor="ctr"/>
          <a:lstStyle/>
          <a:p>
            <a:r>
              <a:rPr lang="tr-TR" altLang="en-US" sz="2000" b="1" dirty="0">
                <a:latin typeface="+mj-lt"/>
              </a:rPr>
              <a:t>Dr. Hasan Şenol COŞKUN</a:t>
            </a:r>
          </a:p>
        </p:txBody>
      </p:sp>
      <p:sp>
        <p:nvSpPr>
          <p:cNvPr id="19461" name="Dikdörtgen 1">
            <a:extLst>
              <a:ext uri="{FF2B5EF4-FFF2-40B4-BE49-F238E27FC236}">
                <a16:creationId xmlns:a16="http://schemas.microsoft.com/office/drawing/2014/main" id="{3925A0DE-982F-4D1D-89B7-F169178F54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2463" y="5718175"/>
            <a:ext cx="2282825" cy="1133475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 anchorCtr="1"/>
          <a:lstStyle>
            <a:lvl1pPr defTabSz="6858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defTabSz="6858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defTabSz="685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defTabSz="685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defTabSz="6858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rgbClr val="6699FF"/>
              </a:buClr>
              <a:buFontTx/>
              <a:buNone/>
            </a:pPr>
            <a:r>
              <a:rPr lang="en-GB" altLang="en-US" sz="3600">
                <a:solidFill>
                  <a:srgbClr val="00004D"/>
                </a:solidFill>
                <a:latin typeface="Arial" panose="020B0604020202020204" pitchFamily="34" charset="0"/>
              </a:rPr>
              <a:t>2020</a:t>
            </a:r>
            <a:endParaRPr lang="tr-TR" altLang="en-US" sz="3600">
              <a:solidFill>
                <a:srgbClr val="00004D"/>
              </a:solidFill>
              <a:latin typeface="Arial" panose="020B0604020202020204" pitchFamily="34" charset="0"/>
            </a:endParaRPr>
          </a:p>
        </p:txBody>
      </p:sp>
      <p:pic>
        <p:nvPicPr>
          <p:cNvPr id="19462" name="Picture 2" descr="Related image">
            <a:extLst>
              <a:ext uri="{FF2B5EF4-FFF2-40B4-BE49-F238E27FC236}">
                <a16:creationId xmlns:a16="http://schemas.microsoft.com/office/drawing/2014/main" id="{CF21D3A2-8B94-4EEF-8779-C454D2F743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5288" y="4386262"/>
            <a:ext cx="2903537" cy="2471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3" name="Picture 4" descr="Related image">
            <a:extLst>
              <a:ext uri="{FF2B5EF4-FFF2-40B4-BE49-F238E27FC236}">
                <a16:creationId xmlns:a16="http://schemas.microsoft.com/office/drawing/2014/main" id="{7F572F84-1EF9-4B31-A308-F257BA28B8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718175"/>
            <a:ext cx="7002463" cy="1133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4" name="Picture 2">
            <a:extLst>
              <a:ext uri="{FF2B5EF4-FFF2-40B4-BE49-F238E27FC236}">
                <a16:creationId xmlns:a16="http://schemas.microsoft.com/office/drawing/2014/main" id="{671C68FD-62D5-4CB2-91D1-B58ACF8962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50813"/>
            <a:ext cx="1687512" cy="168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5C73FD-0AB7-4F46-9512-AABB5217F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HSPK</a:t>
            </a:r>
            <a:br>
              <a:rPr lang="en-GB" dirty="0"/>
            </a:br>
            <a:r>
              <a:rPr lang="en-GB" sz="2800" dirty="0" err="1"/>
              <a:t>Genel</a:t>
            </a:r>
            <a:r>
              <a:rPr lang="en-GB" sz="2800" dirty="0"/>
              <a:t> </a:t>
            </a:r>
            <a:r>
              <a:rPr lang="en-GB" sz="2800" dirty="0" err="1"/>
              <a:t>Bakış</a:t>
            </a:r>
            <a:r>
              <a:rPr lang="en-GB" sz="2800" dirty="0"/>
              <a:t> </a:t>
            </a:r>
            <a:endParaRPr lang="en-GB" dirty="0"/>
          </a:p>
        </p:txBody>
      </p:sp>
      <p:graphicFrame>
        <p:nvGraphicFramePr>
          <p:cNvPr id="4" name="Group 155">
            <a:extLst>
              <a:ext uri="{FF2B5EF4-FFF2-40B4-BE49-F238E27FC236}">
                <a16:creationId xmlns:a16="http://schemas.microsoft.com/office/drawing/2014/main" id="{7B20FEFA-751A-4948-9809-B8A03D0A7B3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9098496"/>
              </p:ext>
            </p:extLst>
          </p:nvPr>
        </p:nvGraphicFramePr>
        <p:xfrm>
          <a:off x="728471" y="1340938"/>
          <a:ext cx="10735058" cy="5256411"/>
        </p:xfrm>
        <a:graphic>
          <a:graphicData uri="http://schemas.openxmlformats.org/drawingml/2006/table">
            <a:tbl>
              <a:tblPr/>
              <a:tblGrid>
                <a:gridCol w="20236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1335">
                  <a:extLst>
                    <a:ext uri="{9D8B030D-6E8A-4147-A177-3AD203B41FA5}">
                      <a16:colId xmlns:a16="http://schemas.microsoft.com/office/drawing/2014/main" val="1865538485"/>
                    </a:ext>
                  </a:extLst>
                </a:gridCol>
                <a:gridCol w="2231335">
                  <a:extLst>
                    <a:ext uri="{9D8B030D-6E8A-4147-A177-3AD203B41FA5}">
                      <a16:colId xmlns:a16="http://schemas.microsoft.com/office/drawing/2014/main" val="3033123294"/>
                    </a:ext>
                  </a:extLst>
                </a:gridCol>
                <a:gridCol w="8647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920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920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0780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rial</a:t>
                      </a:r>
                      <a:r>
                        <a:rPr kumimoji="0" lang="en-US" sz="14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[1]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82E7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parator Arm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82E7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rol Arm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82E7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82E7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 for PFS (or Other Endpoint)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82E7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 for OS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82E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Docetaxel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7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84163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HAARTED</a:t>
                      </a:r>
                      <a:r>
                        <a:rPr kumimoji="0" lang="en-US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[2]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DT + Doc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DT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58 (time to CRPC)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63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7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84163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ETUG-15</a:t>
                      </a:r>
                      <a:r>
                        <a:rPr kumimoji="0" lang="en-US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[3]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DT + Doc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DT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78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1415971"/>
                  </a:ext>
                </a:extLst>
              </a:tr>
              <a:tr h="357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84163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AMPEDE Arm C</a:t>
                      </a:r>
                      <a:r>
                        <a:rPr kumimoji="0" lang="en-US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[4]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DT + Doc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DT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81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502176"/>
                  </a:ext>
                </a:extLst>
              </a:tr>
              <a:tr h="357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R Pathway Inhibitors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558502"/>
                  </a:ext>
                </a:extLst>
              </a:tr>
              <a:tr h="357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84163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ATITUDE</a:t>
                      </a:r>
                      <a:r>
                        <a:rPr kumimoji="0" lang="en-US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[5]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T + ABI + Pred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T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55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62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8257760"/>
                  </a:ext>
                </a:extLst>
              </a:tr>
              <a:tr h="357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84163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AMPEDE Arm G</a:t>
                      </a:r>
                      <a:r>
                        <a:rPr kumimoji="0" lang="en-US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[6]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T + ABI + Pred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T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73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31 (FFS)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54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5281518"/>
                  </a:ext>
                </a:extLst>
              </a:tr>
              <a:tr h="357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84163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NZAMET</a:t>
                      </a:r>
                      <a:r>
                        <a:rPr kumimoji="0" lang="en-US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[7]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T + ENZA (± 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Doc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T + NSAA (± 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Doc</a:t>
                      </a: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88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45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80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2763259"/>
                  </a:ext>
                </a:extLst>
              </a:tr>
              <a:tr h="357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84163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CHES</a:t>
                      </a:r>
                      <a:r>
                        <a:rPr kumimoji="0" lang="en-US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[8]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T + ENZA*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T*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27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43 (rPFS)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TBD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197429"/>
                  </a:ext>
                </a:extLst>
              </a:tr>
              <a:tr h="357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84163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ITAN</a:t>
                      </a:r>
                      <a:r>
                        <a:rPr kumimoji="0" lang="en-US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[9]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T + APA*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T*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60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53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68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7333218"/>
                  </a:ext>
                </a:extLst>
              </a:tr>
              <a:tr h="357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463324"/>
                  </a:ext>
                </a:extLst>
              </a:tr>
              <a:tr h="357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84163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AMPEDE Arm H</a:t>
                      </a:r>
                      <a:r>
                        <a:rPr kumimoji="0" lang="en-US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[10]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T + RT to prostate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T (+ DOC possible)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20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.07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2350036"/>
                  </a:ext>
                </a:extLst>
              </a:tr>
              <a:tr h="3575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84163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ORRAD</a:t>
                      </a:r>
                      <a:r>
                        <a:rPr kumimoji="0" lang="en-US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[11]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T + RT to prostate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T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.06</a:t>
                      </a:r>
                    </a:p>
                  </a:txBody>
                  <a:tcPr marL="121881" marR="121881" marT="45774" marB="4577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05088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21670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Title 10">
            <a:extLst>
              <a:ext uri="{FF2B5EF4-FFF2-40B4-BE49-F238E27FC236}">
                <a16:creationId xmlns:a16="http://schemas.microsoft.com/office/drawing/2014/main" id="{D8D1E7D9-6F6E-4AE1-B0A1-C3C5EDF72F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4000" dirty="0"/>
              <a:t>CHAARTED: </a:t>
            </a:r>
            <a:br>
              <a:rPr lang="en-US" altLang="en-US" dirty="0"/>
            </a:br>
            <a:r>
              <a:rPr lang="en-US" altLang="en-US" sz="3200" dirty="0"/>
              <a:t>Docetaxel + ADT </a:t>
            </a:r>
            <a:r>
              <a:rPr lang="en-US" altLang="en-US" sz="3200" dirty="0" err="1"/>
              <a:t>ya</a:t>
            </a:r>
            <a:r>
              <a:rPr lang="en-US" altLang="en-US" sz="3200" dirty="0"/>
              <a:t> da ADT</a:t>
            </a:r>
            <a:endParaRPr lang="en-US" alt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20FA7A5-B087-459B-9D50-22800B6981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2511" y="1484784"/>
            <a:ext cx="7766977" cy="26337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82BF91B-789C-4201-902C-2E0066B24E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63552" y="3728834"/>
            <a:ext cx="8950909" cy="328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6672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7E2A888-DA2E-4FD0-BD2E-7D0FB7737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2420888"/>
          </a:xfrm>
        </p:spPr>
        <p:txBody>
          <a:bodyPr/>
          <a:lstStyle/>
          <a:p>
            <a:r>
              <a:rPr lang="en-US" sz="3600" dirty="0" err="1"/>
              <a:t>Dosetaksel</a:t>
            </a:r>
            <a:r>
              <a:rPr lang="en-US" sz="3600" dirty="0"/>
              <a:t> Meta-</a:t>
            </a:r>
            <a:r>
              <a:rPr lang="en-US" sz="3600" dirty="0" err="1"/>
              <a:t>Analiz</a:t>
            </a:r>
            <a:r>
              <a:rPr lang="en-US" sz="3600" dirty="0"/>
              <a:t>: </a:t>
            </a:r>
            <a:br>
              <a:rPr lang="en-US" sz="3200" dirty="0"/>
            </a:br>
            <a:r>
              <a:rPr lang="en-US" sz="3200" dirty="0"/>
              <a:t>2992 hasta </a:t>
            </a:r>
            <a:r>
              <a:rPr lang="en-US" sz="3200" dirty="0" err="1"/>
              <a:t>ve</a:t>
            </a:r>
            <a:r>
              <a:rPr lang="en-US" sz="3200" dirty="0"/>
              <a:t> 1271 </a:t>
            </a:r>
            <a:r>
              <a:rPr lang="en-US" sz="3200" dirty="0" err="1"/>
              <a:t>olay</a:t>
            </a:r>
            <a:r>
              <a:rPr lang="en-US" sz="3200" dirty="0"/>
              <a:t> </a:t>
            </a:r>
            <a:r>
              <a:rPr lang="en-US" sz="3200" dirty="0" err="1"/>
              <a:t>içeriyor</a:t>
            </a:r>
            <a:r>
              <a:rPr lang="en-US" sz="3200" dirty="0"/>
              <a:t>. </a:t>
            </a:r>
            <a:br>
              <a:rPr lang="en-US" sz="3200" dirty="0"/>
            </a:br>
            <a:r>
              <a:rPr lang="en-US" sz="3200" dirty="0"/>
              <a:t>4 </a:t>
            </a:r>
            <a:r>
              <a:rPr lang="en-US" sz="3200" dirty="0" err="1"/>
              <a:t>yılda</a:t>
            </a:r>
            <a:r>
              <a:rPr lang="en-US" sz="3200" dirty="0"/>
              <a:t> 9% absolute </a:t>
            </a:r>
            <a:r>
              <a:rPr lang="en-US" sz="3200" dirty="0" err="1"/>
              <a:t>iyileşme</a:t>
            </a:r>
            <a:endParaRPr lang="en-GB" sz="3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BABAF7-F1DD-4ABA-B5D0-F2B13B17DC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6669" y="2636912"/>
            <a:ext cx="10778662" cy="3615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1355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69B017A-1284-4104-BDEB-B88E0530A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2380537"/>
          </a:xfrm>
        </p:spPr>
        <p:txBody>
          <a:bodyPr/>
          <a:lstStyle/>
          <a:p>
            <a:r>
              <a:rPr lang="it-IT" sz="3600" dirty="0"/>
              <a:t>LATITUDE: </a:t>
            </a:r>
            <a:br>
              <a:rPr lang="it-IT" sz="3600" dirty="0"/>
            </a:br>
            <a:r>
              <a:rPr lang="it-IT" sz="3200" dirty="0"/>
              <a:t>Abiraterone Acetate + ADT ya da  Placebo + ADT</a:t>
            </a:r>
            <a:br>
              <a:rPr lang="it-IT" dirty="0"/>
            </a:br>
            <a:r>
              <a:rPr lang="en-US" sz="2400" dirty="0"/>
              <a:t>Randomized, double-blind phase III (N = 1199)</a:t>
            </a:r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7B6EF5F-6065-445C-855C-57E239D9995A}"/>
              </a:ext>
            </a:extLst>
          </p:cNvPr>
          <p:cNvGrpSpPr/>
          <p:nvPr/>
        </p:nvGrpSpPr>
        <p:grpSpPr>
          <a:xfrm>
            <a:off x="602521" y="2476720"/>
            <a:ext cx="10840494" cy="3823860"/>
            <a:chOff x="602521" y="2476720"/>
            <a:chExt cx="10840494" cy="382386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1B3D731-CD0B-4DFF-BBA5-283895B4D30E}"/>
                </a:ext>
              </a:extLst>
            </p:cNvPr>
            <p:cNvSpPr txBox="1"/>
            <p:nvPr/>
          </p:nvSpPr>
          <p:spPr bwMode="auto">
            <a:xfrm>
              <a:off x="1526874" y="5900470"/>
              <a:ext cx="4147143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Mo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4BB2E72-3D30-49AD-B4AD-47A8064A64A0}"/>
                </a:ext>
              </a:extLst>
            </p:cNvPr>
            <p:cNvSpPr txBox="1"/>
            <p:nvPr/>
          </p:nvSpPr>
          <p:spPr bwMode="auto">
            <a:xfrm>
              <a:off x="7056275" y="2487111"/>
              <a:ext cx="4028670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O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63A9F66-A4E4-416F-B61F-A20E8B32DE8A}"/>
                </a:ext>
              </a:extLst>
            </p:cNvPr>
            <p:cNvSpPr txBox="1"/>
            <p:nvPr/>
          </p:nvSpPr>
          <p:spPr bwMode="auto">
            <a:xfrm>
              <a:off x="1539008" y="2476720"/>
              <a:ext cx="4109132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rPF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B96B311-9311-4E9C-BFE9-2B27F769F8DF}"/>
                </a:ext>
              </a:extLst>
            </p:cNvPr>
            <p:cNvSpPr txBox="1"/>
            <p:nvPr/>
          </p:nvSpPr>
          <p:spPr bwMode="auto">
            <a:xfrm>
              <a:off x="7111422" y="5203047"/>
              <a:ext cx="3371436" cy="33855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HR: 0.62 (95% CI: 0.51-0.76; </a:t>
              </a:r>
              <a:r>
                <a:rPr kumimoji="0" lang="en-US" sz="16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P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 &lt; .001)  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9BD9913-FEC1-4BD5-BB55-D547FE2CF39A}"/>
                </a:ext>
              </a:extLst>
            </p:cNvPr>
            <p:cNvSpPr txBox="1"/>
            <p:nvPr/>
          </p:nvSpPr>
          <p:spPr bwMode="auto">
            <a:xfrm>
              <a:off x="1555074" y="5203047"/>
              <a:ext cx="3371436" cy="33855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HR: 0.47 (95% CI: 0.39-0.55; </a:t>
              </a:r>
              <a:r>
                <a:rPr kumimoji="0" lang="en-US" sz="16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P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 &lt; .001)  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8CD8FBA-AB62-4367-B52F-4ED9114A9A82}"/>
                </a:ext>
              </a:extLst>
            </p:cNvPr>
            <p:cNvSpPr txBox="1"/>
            <p:nvPr/>
          </p:nvSpPr>
          <p:spPr bwMode="auto">
            <a:xfrm>
              <a:off x="4336878" y="3669113"/>
              <a:ext cx="1203984" cy="33855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15873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biraterone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BCE2B16-6337-4A06-A141-FFDBA0E73876}"/>
                </a:ext>
              </a:extLst>
            </p:cNvPr>
            <p:cNvSpPr txBox="1"/>
            <p:nvPr/>
          </p:nvSpPr>
          <p:spPr bwMode="auto">
            <a:xfrm>
              <a:off x="9826579" y="3346351"/>
              <a:ext cx="1203984" cy="33855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15873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biraterone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B0E557B-D39B-4381-808A-F6C245D3C3AB}"/>
                </a:ext>
              </a:extLst>
            </p:cNvPr>
            <p:cNvSpPr/>
            <p:nvPr/>
          </p:nvSpPr>
          <p:spPr bwMode="auto">
            <a:xfrm>
              <a:off x="10428571" y="3620529"/>
              <a:ext cx="906693" cy="173391"/>
            </a:xfrm>
            <a:prstGeom prst="rect">
              <a:avLst/>
            </a:prstGeom>
            <a:solidFill>
              <a:srgbClr val="FFFFFF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DEB091F-0A19-413E-8EEA-D5A32D2D4EF1}"/>
                </a:ext>
              </a:extLst>
            </p:cNvPr>
            <p:cNvSpPr txBox="1"/>
            <p:nvPr/>
          </p:nvSpPr>
          <p:spPr bwMode="auto">
            <a:xfrm>
              <a:off x="2306933" y="4424766"/>
              <a:ext cx="980003" cy="33855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1471D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Placebo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E2605FE-9505-4068-9D25-7C1CBEB2EDF5}"/>
                </a:ext>
              </a:extLst>
            </p:cNvPr>
            <p:cNvSpPr txBox="1"/>
            <p:nvPr/>
          </p:nvSpPr>
          <p:spPr bwMode="auto">
            <a:xfrm>
              <a:off x="9703589" y="4395462"/>
              <a:ext cx="854721" cy="33855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1471D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Placebo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60B93731-D42A-4658-A6BA-9196E135AE51}"/>
                </a:ext>
              </a:extLst>
            </p:cNvPr>
            <p:cNvCxnSpPr/>
            <p:nvPr/>
          </p:nvCxnSpPr>
          <p:spPr bwMode="auto">
            <a:xfrm>
              <a:off x="1518248" y="5572664"/>
              <a:ext cx="4147144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DB3495AD-D3EC-42BD-8DA8-66390C8A4184}"/>
                </a:ext>
              </a:extLst>
            </p:cNvPr>
            <p:cNvCxnSpPr/>
            <p:nvPr/>
          </p:nvCxnSpPr>
          <p:spPr bwMode="auto">
            <a:xfrm flipV="1">
              <a:off x="1526874" y="3001992"/>
              <a:ext cx="0" cy="2579299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019D40BE-4955-4671-9888-1B234B65B793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449236" y="3010619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9CEFD84-616E-40B9-8D2D-FB241FF7BFDE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449236" y="3266824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5244337-1301-400E-88A2-2640D96F2FC9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449236" y="3523029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3DB2D312-877E-482F-8F80-7710EC08EC54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449236" y="3779234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5107551-A68F-4123-9829-DFB748BBE79A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449236" y="4035439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00A2C89-EF7C-4E83-8AEE-70C43858AE4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449236" y="4291644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061C8EA-CE37-4B66-996B-59C96F6E41A5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449236" y="4547849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053C84F-117D-4951-BF0D-F07CAD02B1DD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449236" y="4804054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7B4F786-13F2-48D6-BE35-04A218FC5FAB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449236" y="5060259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FDB803B-7CB8-4284-A0C7-5AE38942A3C3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449236" y="5316464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8E15173F-02A0-416A-A3B2-A6D5E8BCE746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449236" y="5572664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89AC369-FFE5-48E4-A927-F6C529414C3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526874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5B21B5A5-0508-46BE-9E13-F00613AB1D5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940726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DF336DF0-6C92-4A01-ABDF-5D1D8D9CF26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354578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86BEE02-CAC3-45F0-9F85-632DB3B5408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768430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DD6CD77C-B810-4BBA-BF4B-0859F56B3FE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182282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12D30C78-7497-497C-86F8-2C3F64D7287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96134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F3889F91-DEF3-46B4-96FB-954E5755E95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009986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FCB1386C-A225-450C-9782-82474F75C23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423838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6A14CE04-2FAA-4EB8-868C-1D41C3FDC6C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837690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7E7519EE-CEDB-4DB6-AC79-2EE016D5F67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251542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AC6F35A4-33F6-4AFF-BE07-322991DA745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665392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D9FBAE8F-EB79-47DC-9D24-B9758C87F816}"/>
                </a:ext>
              </a:extLst>
            </p:cNvPr>
            <p:cNvSpPr txBox="1"/>
            <p:nvPr/>
          </p:nvSpPr>
          <p:spPr bwMode="auto">
            <a:xfrm>
              <a:off x="958830" y="2820840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100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315124C9-3568-4613-99A1-4E364077C441}"/>
                </a:ext>
              </a:extLst>
            </p:cNvPr>
            <p:cNvSpPr txBox="1"/>
            <p:nvPr/>
          </p:nvSpPr>
          <p:spPr bwMode="auto">
            <a:xfrm>
              <a:off x="958830" y="3075833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90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4A6ED0DC-E817-4641-8427-4171FBBF506A}"/>
                </a:ext>
              </a:extLst>
            </p:cNvPr>
            <p:cNvSpPr txBox="1"/>
            <p:nvPr/>
          </p:nvSpPr>
          <p:spPr bwMode="auto">
            <a:xfrm>
              <a:off x="958830" y="3330826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80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8A21089-4449-4B8D-A261-B3951DABFE54}"/>
                </a:ext>
              </a:extLst>
            </p:cNvPr>
            <p:cNvSpPr txBox="1"/>
            <p:nvPr/>
          </p:nvSpPr>
          <p:spPr bwMode="auto">
            <a:xfrm>
              <a:off x="958830" y="3585819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70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44676BC-B3C1-476B-8FD2-12223A9A4A3A}"/>
                </a:ext>
              </a:extLst>
            </p:cNvPr>
            <p:cNvSpPr txBox="1"/>
            <p:nvPr/>
          </p:nvSpPr>
          <p:spPr bwMode="auto">
            <a:xfrm>
              <a:off x="958830" y="3840812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60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5800F57-D291-4C33-ABDF-E6D9F802A507}"/>
                </a:ext>
              </a:extLst>
            </p:cNvPr>
            <p:cNvSpPr txBox="1"/>
            <p:nvPr/>
          </p:nvSpPr>
          <p:spPr bwMode="auto">
            <a:xfrm>
              <a:off x="958830" y="4095805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50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368DE161-80BD-42D5-8929-071A33134EE9}"/>
                </a:ext>
              </a:extLst>
            </p:cNvPr>
            <p:cNvSpPr txBox="1"/>
            <p:nvPr/>
          </p:nvSpPr>
          <p:spPr bwMode="auto">
            <a:xfrm>
              <a:off x="958830" y="4350798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40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043E9C2-A87D-43B2-ADC7-B5DA1D6E4923}"/>
                </a:ext>
              </a:extLst>
            </p:cNvPr>
            <p:cNvSpPr txBox="1"/>
            <p:nvPr/>
          </p:nvSpPr>
          <p:spPr bwMode="auto">
            <a:xfrm>
              <a:off x="958830" y="4605791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30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81E269A5-C076-4907-A734-8909956B3984}"/>
                </a:ext>
              </a:extLst>
            </p:cNvPr>
            <p:cNvSpPr txBox="1"/>
            <p:nvPr/>
          </p:nvSpPr>
          <p:spPr bwMode="auto">
            <a:xfrm>
              <a:off x="958830" y="4860784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20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B534F73-04EE-4F99-8BC6-400DF4E0032C}"/>
                </a:ext>
              </a:extLst>
            </p:cNvPr>
            <p:cNvSpPr txBox="1"/>
            <p:nvPr/>
          </p:nvSpPr>
          <p:spPr bwMode="auto">
            <a:xfrm>
              <a:off x="958830" y="5115777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10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96EFE5E-70F3-4E64-A2AC-7E590D520A3F}"/>
                </a:ext>
              </a:extLst>
            </p:cNvPr>
            <p:cNvSpPr txBox="1"/>
            <p:nvPr/>
          </p:nvSpPr>
          <p:spPr bwMode="auto">
            <a:xfrm>
              <a:off x="958830" y="5370767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0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EC139A7C-BA4C-40F4-A79A-30885B8DB9D0}"/>
                </a:ext>
              </a:extLst>
            </p:cNvPr>
            <p:cNvSpPr txBox="1"/>
            <p:nvPr/>
          </p:nvSpPr>
          <p:spPr bwMode="auto">
            <a:xfrm>
              <a:off x="5406973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40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676FB96A-C2FE-4C49-807A-040FCDD12778}"/>
                </a:ext>
              </a:extLst>
            </p:cNvPr>
            <p:cNvSpPr txBox="1"/>
            <p:nvPr/>
          </p:nvSpPr>
          <p:spPr bwMode="auto">
            <a:xfrm>
              <a:off x="1272573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0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18CDE40-4A06-436A-8498-C942F841A6AF}"/>
                </a:ext>
              </a:extLst>
            </p:cNvPr>
            <p:cNvSpPr txBox="1"/>
            <p:nvPr/>
          </p:nvSpPr>
          <p:spPr bwMode="auto">
            <a:xfrm>
              <a:off x="1686013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4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13A11BE6-1E9A-4DA7-932E-A2B53AC2CB78}"/>
                </a:ext>
              </a:extLst>
            </p:cNvPr>
            <p:cNvSpPr txBox="1"/>
            <p:nvPr/>
          </p:nvSpPr>
          <p:spPr bwMode="auto">
            <a:xfrm>
              <a:off x="2099453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8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B9DC3EE4-B1BB-41AB-AC33-15D95E54513F}"/>
                </a:ext>
              </a:extLst>
            </p:cNvPr>
            <p:cNvSpPr txBox="1"/>
            <p:nvPr/>
          </p:nvSpPr>
          <p:spPr bwMode="auto">
            <a:xfrm>
              <a:off x="2512893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12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3B1B7214-BC58-405B-AF0B-4FC3C92FD8DE}"/>
                </a:ext>
              </a:extLst>
            </p:cNvPr>
            <p:cNvSpPr txBox="1"/>
            <p:nvPr/>
          </p:nvSpPr>
          <p:spPr bwMode="auto">
            <a:xfrm>
              <a:off x="2926333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16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538190CB-9F54-4056-A7C0-E8FE4CB9EDE9}"/>
                </a:ext>
              </a:extLst>
            </p:cNvPr>
            <p:cNvSpPr txBox="1"/>
            <p:nvPr/>
          </p:nvSpPr>
          <p:spPr bwMode="auto">
            <a:xfrm>
              <a:off x="3339773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20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BDF8BA78-719F-4790-85EC-CF9EF4B1EBCB}"/>
                </a:ext>
              </a:extLst>
            </p:cNvPr>
            <p:cNvSpPr txBox="1"/>
            <p:nvPr/>
          </p:nvSpPr>
          <p:spPr bwMode="auto">
            <a:xfrm>
              <a:off x="3753213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24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D6B59FF2-EE6F-43A7-9DD5-2CC64AC46BF6}"/>
                </a:ext>
              </a:extLst>
            </p:cNvPr>
            <p:cNvSpPr txBox="1"/>
            <p:nvPr/>
          </p:nvSpPr>
          <p:spPr bwMode="auto">
            <a:xfrm>
              <a:off x="4166653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28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9958B9D6-242A-4E3D-A693-42C78A3293C1}"/>
                </a:ext>
              </a:extLst>
            </p:cNvPr>
            <p:cNvSpPr txBox="1"/>
            <p:nvPr/>
          </p:nvSpPr>
          <p:spPr bwMode="auto">
            <a:xfrm>
              <a:off x="4580093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32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EED82418-1C0B-4BB1-8BB4-06A560B69A93}"/>
                </a:ext>
              </a:extLst>
            </p:cNvPr>
            <p:cNvSpPr txBox="1"/>
            <p:nvPr/>
          </p:nvSpPr>
          <p:spPr bwMode="auto">
            <a:xfrm>
              <a:off x="4993533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36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A2D44054-D77B-4C9A-9928-939EBFA8D97F}"/>
                </a:ext>
              </a:extLst>
            </p:cNvPr>
            <p:cNvSpPr txBox="1"/>
            <p:nvPr/>
          </p:nvSpPr>
          <p:spPr bwMode="auto">
            <a:xfrm rot="16200000">
              <a:off x="-1009051" y="4118774"/>
              <a:ext cx="3623254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PFS (%)</a:t>
              </a: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A52172E-23C6-40B0-B9A0-C57978CB5E7F}"/>
                </a:ext>
              </a:extLst>
            </p:cNvPr>
            <p:cNvCxnSpPr/>
            <p:nvPr/>
          </p:nvCxnSpPr>
          <p:spPr bwMode="auto">
            <a:xfrm>
              <a:off x="1539008" y="4291641"/>
              <a:ext cx="4130362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EB003D7B-B467-4160-A059-0913D235BB5B}"/>
                </a:ext>
              </a:extLst>
            </p:cNvPr>
            <p:cNvCxnSpPr/>
            <p:nvPr/>
          </p:nvCxnSpPr>
          <p:spPr bwMode="auto">
            <a:xfrm>
              <a:off x="7037452" y="5572664"/>
              <a:ext cx="4147144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7F5A44B-62CF-4C95-9747-925CC51A4A93}"/>
                </a:ext>
              </a:extLst>
            </p:cNvPr>
            <p:cNvCxnSpPr/>
            <p:nvPr/>
          </p:nvCxnSpPr>
          <p:spPr bwMode="auto">
            <a:xfrm flipV="1">
              <a:off x="7046078" y="3001992"/>
              <a:ext cx="0" cy="2579299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062C6020-71A9-42CD-AD25-5B2BAD5BECBC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968440" y="3010619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5EEEFB76-80AE-4B73-8F7C-E465052D0635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968440" y="3266824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EC6FDDDF-264F-43D3-BC9F-354985AAFC45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968440" y="3523029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85EE9A6C-DD42-4F6D-8906-934551DAE100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968440" y="3779234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B19D9292-1923-4FFC-B95E-40E6C515F57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968440" y="4035439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CCB4EDAC-B20B-4B06-8D95-25A224D39ABD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968440" y="4291644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3AE9999B-A6C6-4C92-A4EB-4801BE4B7714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968440" y="4547849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CFCAAF08-773F-47E1-B266-CDA7972F35F1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968440" y="4804054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48104D18-BDA7-4318-99D8-8DE26B4BAE09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968440" y="5060259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BA64BA9E-D791-4415-B364-4008F3873FC4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968440" y="5316464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3B225F5F-EED0-4237-8E47-1EC58B65940D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968440" y="5572664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8923DC8E-671F-4229-A69B-72CF7890777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046078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4EF45AA4-7EA2-4E02-8CF8-EE1473CD4E5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637295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33861AB1-9556-445C-9C2B-94452DE786B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228512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78790D2-59ED-44DF-84E3-0F91BE5B072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819729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376AFA78-D899-45AA-B399-CA96504A061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410946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CA07D665-BE24-43E7-A763-86734D64599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002163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F0301E6C-91C8-4EC3-BE14-CD4940654FB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593380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3735E3E1-3865-45BD-AB21-EFAB159BBAB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184596" y="5572664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520E060-E583-4652-A2FD-639E0CD705D5}"/>
                </a:ext>
              </a:extLst>
            </p:cNvPr>
            <p:cNvSpPr txBox="1"/>
            <p:nvPr/>
          </p:nvSpPr>
          <p:spPr bwMode="auto">
            <a:xfrm>
              <a:off x="7180012" y="5900470"/>
              <a:ext cx="4147143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Mos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4D7E11D9-48C2-41C2-A46C-13942288973C}"/>
                </a:ext>
              </a:extLst>
            </p:cNvPr>
            <p:cNvSpPr txBox="1"/>
            <p:nvPr/>
          </p:nvSpPr>
          <p:spPr bwMode="auto">
            <a:xfrm>
              <a:off x="6478034" y="2820840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100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84D59681-1451-497A-AB43-697DB77C29F2}"/>
                </a:ext>
              </a:extLst>
            </p:cNvPr>
            <p:cNvSpPr txBox="1"/>
            <p:nvPr/>
          </p:nvSpPr>
          <p:spPr bwMode="auto">
            <a:xfrm>
              <a:off x="6478034" y="3075833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90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42EE86CC-9154-4969-9157-5C2F89F22F9F}"/>
                </a:ext>
              </a:extLst>
            </p:cNvPr>
            <p:cNvSpPr txBox="1"/>
            <p:nvPr/>
          </p:nvSpPr>
          <p:spPr bwMode="auto">
            <a:xfrm>
              <a:off x="6478034" y="3330826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80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E22F2B62-B6E8-47DC-A499-4C61F15B11A0}"/>
                </a:ext>
              </a:extLst>
            </p:cNvPr>
            <p:cNvSpPr txBox="1"/>
            <p:nvPr/>
          </p:nvSpPr>
          <p:spPr bwMode="auto">
            <a:xfrm>
              <a:off x="6478034" y="3585819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70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385F4214-BD58-4669-83E8-637436093E91}"/>
                </a:ext>
              </a:extLst>
            </p:cNvPr>
            <p:cNvSpPr txBox="1"/>
            <p:nvPr/>
          </p:nvSpPr>
          <p:spPr bwMode="auto">
            <a:xfrm>
              <a:off x="6478034" y="3840812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60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395D0D1F-5ADD-480C-8B01-B7BD3F4C11E6}"/>
                </a:ext>
              </a:extLst>
            </p:cNvPr>
            <p:cNvSpPr txBox="1"/>
            <p:nvPr/>
          </p:nvSpPr>
          <p:spPr bwMode="auto">
            <a:xfrm>
              <a:off x="6478034" y="4095805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50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1BCAD071-EE17-4CBA-A6C7-E061B1B8AAC4}"/>
                </a:ext>
              </a:extLst>
            </p:cNvPr>
            <p:cNvSpPr txBox="1"/>
            <p:nvPr/>
          </p:nvSpPr>
          <p:spPr bwMode="auto">
            <a:xfrm>
              <a:off x="6478034" y="4350798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40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6D26D59-6B21-42D4-8DCE-5B857C3FC379}"/>
                </a:ext>
              </a:extLst>
            </p:cNvPr>
            <p:cNvSpPr txBox="1"/>
            <p:nvPr/>
          </p:nvSpPr>
          <p:spPr bwMode="auto">
            <a:xfrm>
              <a:off x="6478034" y="4605791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30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4D7D3D73-973B-4D40-8438-D8709C858E60}"/>
                </a:ext>
              </a:extLst>
            </p:cNvPr>
            <p:cNvSpPr txBox="1"/>
            <p:nvPr/>
          </p:nvSpPr>
          <p:spPr bwMode="auto">
            <a:xfrm>
              <a:off x="6478034" y="4860784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20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9EBBBA56-7041-4904-8E79-B4948A40F83E}"/>
                </a:ext>
              </a:extLst>
            </p:cNvPr>
            <p:cNvSpPr txBox="1"/>
            <p:nvPr/>
          </p:nvSpPr>
          <p:spPr bwMode="auto">
            <a:xfrm>
              <a:off x="6478034" y="5115777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10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B8CE2981-04C3-48CC-92D5-20054CD96DF8}"/>
                </a:ext>
              </a:extLst>
            </p:cNvPr>
            <p:cNvSpPr txBox="1"/>
            <p:nvPr/>
          </p:nvSpPr>
          <p:spPr bwMode="auto">
            <a:xfrm>
              <a:off x="6478034" y="5370767"/>
              <a:ext cx="55079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0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ABA9B739-9F97-4375-9F6A-8C0D01CCC8D3}"/>
                </a:ext>
              </a:extLst>
            </p:cNvPr>
            <p:cNvSpPr txBox="1"/>
            <p:nvPr/>
          </p:nvSpPr>
          <p:spPr bwMode="auto">
            <a:xfrm>
              <a:off x="10926177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42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8957B639-6417-46F4-AE05-384C59E4DCF7}"/>
                </a:ext>
              </a:extLst>
            </p:cNvPr>
            <p:cNvSpPr txBox="1"/>
            <p:nvPr/>
          </p:nvSpPr>
          <p:spPr bwMode="auto">
            <a:xfrm>
              <a:off x="6791777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0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A472A070-E68D-4439-97B3-80A64D5E29F6}"/>
                </a:ext>
              </a:extLst>
            </p:cNvPr>
            <p:cNvSpPr txBox="1"/>
            <p:nvPr/>
          </p:nvSpPr>
          <p:spPr bwMode="auto">
            <a:xfrm>
              <a:off x="7382406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6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5768D2BC-D552-488D-B23A-32EF24819BCC}"/>
                </a:ext>
              </a:extLst>
            </p:cNvPr>
            <p:cNvSpPr txBox="1"/>
            <p:nvPr/>
          </p:nvSpPr>
          <p:spPr bwMode="auto">
            <a:xfrm>
              <a:off x="7973035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12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C26754CC-FCFD-4BC7-B64A-9733B8D55982}"/>
                </a:ext>
              </a:extLst>
            </p:cNvPr>
            <p:cNvSpPr txBox="1"/>
            <p:nvPr/>
          </p:nvSpPr>
          <p:spPr bwMode="auto">
            <a:xfrm>
              <a:off x="8563664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18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828ACDD0-809D-4EFD-9676-0F2C2B9DE24F}"/>
                </a:ext>
              </a:extLst>
            </p:cNvPr>
            <p:cNvSpPr txBox="1"/>
            <p:nvPr/>
          </p:nvSpPr>
          <p:spPr bwMode="auto">
            <a:xfrm>
              <a:off x="9154293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24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020AA5CC-FDBB-4668-A017-F76434B09C03}"/>
                </a:ext>
              </a:extLst>
            </p:cNvPr>
            <p:cNvSpPr txBox="1"/>
            <p:nvPr/>
          </p:nvSpPr>
          <p:spPr bwMode="auto">
            <a:xfrm>
              <a:off x="9744922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30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72C5311E-3D7B-4FB2-9485-04703C765DE7}"/>
                </a:ext>
              </a:extLst>
            </p:cNvPr>
            <p:cNvSpPr txBox="1"/>
            <p:nvPr/>
          </p:nvSpPr>
          <p:spPr bwMode="auto">
            <a:xfrm>
              <a:off x="10335551" y="5570836"/>
              <a:ext cx="5168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36</a:t>
              </a:r>
            </a:p>
          </p:txBody>
        </p: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179DF46E-97E9-468F-A615-E3496A9D5937}"/>
                </a:ext>
              </a:extLst>
            </p:cNvPr>
            <p:cNvCxnSpPr/>
            <p:nvPr/>
          </p:nvCxnSpPr>
          <p:spPr bwMode="auto">
            <a:xfrm>
              <a:off x="7058212" y="4291641"/>
              <a:ext cx="4130362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A6F36337-CEFB-4D24-9B96-516412B6E8C9}"/>
                </a:ext>
              </a:extLst>
            </p:cNvPr>
            <p:cNvSpPr txBox="1"/>
            <p:nvPr/>
          </p:nvSpPr>
          <p:spPr bwMode="auto">
            <a:xfrm rot="16200000">
              <a:off x="5116938" y="4099185"/>
              <a:ext cx="2564103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OS (%)</a:t>
              </a: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482ADCE2-7FC2-42EE-BC33-64490A4B0A6C}"/>
                </a:ext>
              </a:extLst>
            </p:cNvPr>
            <p:cNvSpPr/>
            <p:nvPr/>
          </p:nvSpPr>
          <p:spPr bwMode="auto">
            <a:xfrm>
              <a:off x="1533525" y="3005138"/>
              <a:ext cx="4200525" cy="1419225"/>
            </a:xfrm>
            <a:custGeom>
              <a:avLst/>
              <a:gdLst>
                <a:gd name="connsiteX0" fmla="*/ 4200525 w 4200525"/>
                <a:gd name="connsiteY0" fmla="*/ 1419225 h 1419225"/>
                <a:gd name="connsiteX1" fmla="*/ 3790950 w 4200525"/>
                <a:gd name="connsiteY1" fmla="*/ 1419225 h 1419225"/>
                <a:gd name="connsiteX2" fmla="*/ 3790950 w 4200525"/>
                <a:gd name="connsiteY2" fmla="*/ 1376362 h 1419225"/>
                <a:gd name="connsiteX3" fmla="*/ 3638550 w 4200525"/>
                <a:gd name="connsiteY3" fmla="*/ 1376362 h 1419225"/>
                <a:gd name="connsiteX4" fmla="*/ 3638550 w 4200525"/>
                <a:gd name="connsiteY4" fmla="*/ 1376362 h 1419225"/>
                <a:gd name="connsiteX5" fmla="*/ 3638550 w 4200525"/>
                <a:gd name="connsiteY5" fmla="*/ 1347787 h 1419225"/>
                <a:gd name="connsiteX6" fmla="*/ 3562350 w 4200525"/>
                <a:gd name="connsiteY6" fmla="*/ 1347787 h 1419225"/>
                <a:gd name="connsiteX7" fmla="*/ 3562350 w 4200525"/>
                <a:gd name="connsiteY7" fmla="*/ 1347787 h 1419225"/>
                <a:gd name="connsiteX8" fmla="*/ 3562350 w 4200525"/>
                <a:gd name="connsiteY8" fmla="*/ 1319212 h 1419225"/>
                <a:gd name="connsiteX9" fmla="*/ 3409950 w 4200525"/>
                <a:gd name="connsiteY9" fmla="*/ 1319212 h 1419225"/>
                <a:gd name="connsiteX10" fmla="*/ 3409950 w 4200525"/>
                <a:gd name="connsiteY10" fmla="*/ 1252537 h 1419225"/>
                <a:gd name="connsiteX11" fmla="*/ 3367088 w 4200525"/>
                <a:gd name="connsiteY11" fmla="*/ 1252537 h 1419225"/>
                <a:gd name="connsiteX12" fmla="*/ 3376613 w 4200525"/>
                <a:gd name="connsiteY12" fmla="*/ 1243012 h 1419225"/>
                <a:gd name="connsiteX13" fmla="*/ 3171825 w 4200525"/>
                <a:gd name="connsiteY13" fmla="*/ 1243012 h 1419225"/>
                <a:gd name="connsiteX14" fmla="*/ 3171825 w 4200525"/>
                <a:gd name="connsiteY14" fmla="*/ 1214437 h 1419225"/>
                <a:gd name="connsiteX15" fmla="*/ 3071813 w 4200525"/>
                <a:gd name="connsiteY15" fmla="*/ 1214437 h 1419225"/>
                <a:gd name="connsiteX16" fmla="*/ 3071813 w 4200525"/>
                <a:gd name="connsiteY16" fmla="*/ 1162050 h 1419225"/>
                <a:gd name="connsiteX17" fmla="*/ 2995613 w 4200525"/>
                <a:gd name="connsiteY17" fmla="*/ 1162050 h 1419225"/>
                <a:gd name="connsiteX18" fmla="*/ 2995613 w 4200525"/>
                <a:gd name="connsiteY18" fmla="*/ 1114425 h 1419225"/>
                <a:gd name="connsiteX19" fmla="*/ 2786063 w 4200525"/>
                <a:gd name="connsiteY19" fmla="*/ 1114425 h 1419225"/>
                <a:gd name="connsiteX20" fmla="*/ 2786063 w 4200525"/>
                <a:gd name="connsiteY20" fmla="*/ 1114425 h 1419225"/>
                <a:gd name="connsiteX21" fmla="*/ 2676525 w 4200525"/>
                <a:gd name="connsiteY21" fmla="*/ 1114425 h 1419225"/>
                <a:gd name="connsiteX22" fmla="*/ 2652713 w 4200525"/>
                <a:gd name="connsiteY22" fmla="*/ 1033462 h 1419225"/>
                <a:gd name="connsiteX23" fmla="*/ 2576513 w 4200525"/>
                <a:gd name="connsiteY23" fmla="*/ 1033462 h 1419225"/>
                <a:gd name="connsiteX24" fmla="*/ 2576513 w 4200525"/>
                <a:gd name="connsiteY24" fmla="*/ 1000125 h 1419225"/>
                <a:gd name="connsiteX25" fmla="*/ 2271713 w 4200525"/>
                <a:gd name="connsiteY25" fmla="*/ 1000125 h 1419225"/>
                <a:gd name="connsiteX26" fmla="*/ 2271713 w 4200525"/>
                <a:gd name="connsiteY26" fmla="*/ 885825 h 1419225"/>
                <a:gd name="connsiteX27" fmla="*/ 2081213 w 4200525"/>
                <a:gd name="connsiteY27" fmla="*/ 885825 h 1419225"/>
                <a:gd name="connsiteX28" fmla="*/ 2066925 w 4200525"/>
                <a:gd name="connsiteY28" fmla="*/ 871537 h 1419225"/>
                <a:gd name="connsiteX29" fmla="*/ 1909763 w 4200525"/>
                <a:gd name="connsiteY29" fmla="*/ 871537 h 1419225"/>
                <a:gd name="connsiteX30" fmla="*/ 1852613 w 4200525"/>
                <a:gd name="connsiteY30" fmla="*/ 766762 h 1419225"/>
                <a:gd name="connsiteX31" fmla="*/ 1766888 w 4200525"/>
                <a:gd name="connsiteY31" fmla="*/ 766762 h 1419225"/>
                <a:gd name="connsiteX32" fmla="*/ 1762125 w 4200525"/>
                <a:gd name="connsiteY32" fmla="*/ 747712 h 1419225"/>
                <a:gd name="connsiteX33" fmla="*/ 1543050 w 4200525"/>
                <a:gd name="connsiteY33" fmla="*/ 733425 h 1419225"/>
                <a:gd name="connsiteX34" fmla="*/ 1504950 w 4200525"/>
                <a:gd name="connsiteY34" fmla="*/ 671512 h 1419225"/>
                <a:gd name="connsiteX35" fmla="*/ 1490663 w 4200525"/>
                <a:gd name="connsiteY35" fmla="*/ 595312 h 1419225"/>
                <a:gd name="connsiteX36" fmla="*/ 1223963 w 4200525"/>
                <a:gd name="connsiteY36" fmla="*/ 576262 h 1419225"/>
                <a:gd name="connsiteX37" fmla="*/ 1143000 w 4200525"/>
                <a:gd name="connsiteY37" fmla="*/ 538162 h 1419225"/>
                <a:gd name="connsiteX38" fmla="*/ 1143000 w 4200525"/>
                <a:gd name="connsiteY38" fmla="*/ 461962 h 1419225"/>
                <a:gd name="connsiteX39" fmla="*/ 1123950 w 4200525"/>
                <a:gd name="connsiteY39" fmla="*/ 457200 h 1419225"/>
                <a:gd name="connsiteX40" fmla="*/ 1119188 w 4200525"/>
                <a:gd name="connsiteY40" fmla="*/ 371475 h 1419225"/>
                <a:gd name="connsiteX41" fmla="*/ 785813 w 4200525"/>
                <a:gd name="connsiteY41" fmla="*/ 361950 h 1419225"/>
                <a:gd name="connsiteX42" fmla="*/ 752475 w 4200525"/>
                <a:gd name="connsiteY42" fmla="*/ 352425 h 1419225"/>
                <a:gd name="connsiteX43" fmla="*/ 757238 w 4200525"/>
                <a:gd name="connsiteY43" fmla="*/ 271462 h 1419225"/>
                <a:gd name="connsiteX44" fmla="*/ 757238 w 4200525"/>
                <a:gd name="connsiteY44" fmla="*/ 271462 h 1419225"/>
                <a:gd name="connsiteX45" fmla="*/ 728663 w 4200525"/>
                <a:gd name="connsiteY45" fmla="*/ 185737 h 1419225"/>
                <a:gd name="connsiteX46" fmla="*/ 647700 w 4200525"/>
                <a:gd name="connsiteY46" fmla="*/ 185737 h 1419225"/>
                <a:gd name="connsiteX47" fmla="*/ 628650 w 4200525"/>
                <a:gd name="connsiteY47" fmla="*/ 152400 h 1419225"/>
                <a:gd name="connsiteX48" fmla="*/ 500063 w 4200525"/>
                <a:gd name="connsiteY48" fmla="*/ 138112 h 1419225"/>
                <a:gd name="connsiteX49" fmla="*/ 385763 w 4200525"/>
                <a:gd name="connsiteY49" fmla="*/ 152400 h 1419225"/>
                <a:gd name="connsiteX50" fmla="*/ 333375 w 4200525"/>
                <a:gd name="connsiteY50" fmla="*/ 61912 h 1419225"/>
                <a:gd name="connsiteX51" fmla="*/ 190500 w 4200525"/>
                <a:gd name="connsiteY51" fmla="*/ 52387 h 1419225"/>
                <a:gd name="connsiteX52" fmla="*/ 152400 w 4200525"/>
                <a:gd name="connsiteY52" fmla="*/ 28575 h 1419225"/>
                <a:gd name="connsiteX53" fmla="*/ 52388 w 4200525"/>
                <a:gd name="connsiteY53" fmla="*/ 19050 h 1419225"/>
                <a:gd name="connsiteX54" fmla="*/ 23813 w 4200525"/>
                <a:gd name="connsiteY54" fmla="*/ 0 h 1419225"/>
                <a:gd name="connsiteX55" fmla="*/ 0 w 4200525"/>
                <a:gd name="connsiteY55" fmla="*/ 0 h 1419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4200525" h="1419225">
                  <a:moveTo>
                    <a:pt x="4200525" y="1419225"/>
                  </a:moveTo>
                  <a:lnTo>
                    <a:pt x="3790950" y="1419225"/>
                  </a:lnTo>
                  <a:lnTo>
                    <a:pt x="3790950" y="1376362"/>
                  </a:lnTo>
                  <a:lnTo>
                    <a:pt x="3638550" y="1376362"/>
                  </a:lnTo>
                  <a:lnTo>
                    <a:pt x="3638550" y="1376362"/>
                  </a:lnTo>
                  <a:lnTo>
                    <a:pt x="3638550" y="1347787"/>
                  </a:lnTo>
                  <a:lnTo>
                    <a:pt x="3562350" y="1347787"/>
                  </a:lnTo>
                  <a:lnTo>
                    <a:pt x="3562350" y="1347787"/>
                  </a:lnTo>
                  <a:lnTo>
                    <a:pt x="3562350" y="1319212"/>
                  </a:lnTo>
                  <a:lnTo>
                    <a:pt x="3409950" y="1319212"/>
                  </a:lnTo>
                  <a:lnTo>
                    <a:pt x="3409950" y="1252537"/>
                  </a:lnTo>
                  <a:lnTo>
                    <a:pt x="3367088" y="1252537"/>
                  </a:lnTo>
                  <a:lnTo>
                    <a:pt x="3376613" y="1243012"/>
                  </a:lnTo>
                  <a:lnTo>
                    <a:pt x="3171825" y="1243012"/>
                  </a:lnTo>
                  <a:lnTo>
                    <a:pt x="3171825" y="1214437"/>
                  </a:lnTo>
                  <a:lnTo>
                    <a:pt x="3071813" y="1214437"/>
                  </a:lnTo>
                  <a:lnTo>
                    <a:pt x="3071813" y="1162050"/>
                  </a:lnTo>
                  <a:lnTo>
                    <a:pt x="2995613" y="1162050"/>
                  </a:lnTo>
                  <a:lnTo>
                    <a:pt x="2995613" y="1114425"/>
                  </a:lnTo>
                  <a:lnTo>
                    <a:pt x="2786063" y="1114425"/>
                  </a:lnTo>
                  <a:lnTo>
                    <a:pt x="2786063" y="1114425"/>
                  </a:lnTo>
                  <a:lnTo>
                    <a:pt x="2676525" y="1114425"/>
                  </a:lnTo>
                  <a:lnTo>
                    <a:pt x="2652713" y="1033462"/>
                  </a:lnTo>
                  <a:lnTo>
                    <a:pt x="2576513" y="1033462"/>
                  </a:lnTo>
                  <a:lnTo>
                    <a:pt x="2576513" y="1000125"/>
                  </a:lnTo>
                  <a:lnTo>
                    <a:pt x="2271713" y="1000125"/>
                  </a:lnTo>
                  <a:lnTo>
                    <a:pt x="2271713" y="885825"/>
                  </a:lnTo>
                  <a:lnTo>
                    <a:pt x="2081213" y="885825"/>
                  </a:lnTo>
                  <a:lnTo>
                    <a:pt x="2066925" y="871537"/>
                  </a:lnTo>
                  <a:lnTo>
                    <a:pt x="1909763" y="871537"/>
                  </a:lnTo>
                  <a:lnTo>
                    <a:pt x="1852613" y="766762"/>
                  </a:lnTo>
                  <a:lnTo>
                    <a:pt x="1766888" y="766762"/>
                  </a:lnTo>
                  <a:lnTo>
                    <a:pt x="1762125" y="747712"/>
                  </a:lnTo>
                  <a:lnTo>
                    <a:pt x="1543050" y="733425"/>
                  </a:lnTo>
                  <a:lnTo>
                    <a:pt x="1504950" y="671512"/>
                  </a:lnTo>
                  <a:lnTo>
                    <a:pt x="1490663" y="595312"/>
                  </a:lnTo>
                  <a:lnTo>
                    <a:pt x="1223963" y="576262"/>
                  </a:lnTo>
                  <a:lnTo>
                    <a:pt x="1143000" y="538162"/>
                  </a:lnTo>
                  <a:lnTo>
                    <a:pt x="1143000" y="461962"/>
                  </a:lnTo>
                  <a:lnTo>
                    <a:pt x="1123950" y="457200"/>
                  </a:lnTo>
                  <a:lnTo>
                    <a:pt x="1119188" y="371475"/>
                  </a:lnTo>
                  <a:lnTo>
                    <a:pt x="785813" y="361950"/>
                  </a:lnTo>
                  <a:lnTo>
                    <a:pt x="752475" y="352425"/>
                  </a:lnTo>
                  <a:lnTo>
                    <a:pt x="757238" y="271462"/>
                  </a:lnTo>
                  <a:lnTo>
                    <a:pt x="757238" y="271462"/>
                  </a:lnTo>
                  <a:lnTo>
                    <a:pt x="728663" y="185737"/>
                  </a:lnTo>
                  <a:lnTo>
                    <a:pt x="647700" y="185737"/>
                  </a:lnTo>
                  <a:lnTo>
                    <a:pt x="628650" y="152400"/>
                  </a:lnTo>
                  <a:lnTo>
                    <a:pt x="500063" y="138112"/>
                  </a:lnTo>
                  <a:lnTo>
                    <a:pt x="385763" y="152400"/>
                  </a:lnTo>
                  <a:lnTo>
                    <a:pt x="333375" y="61912"/>
                  </a:lnTo>
                  <a:lnTo>
                    <a:pt x="190500" y="52387"/>
                  </a:lnTo>
                  <a:lnTo>
                    <a:pt x="152400" y="28575"/>
                  </a:lnTo>
                  <a:lnTo>
                    <a:pt x="52388" y="19050"/>
                  </a:lnTo>
                  <a:lnTo>
                    <a:pt x="23813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015873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59830AB7-E444-4A39-AE1F-F3F643ED9522}"/>
                </a:ext>
              </a:extLst>
            </p:cNvPr>
            <p:cNvSpPr/>
            <p:nvPr/>
          </p:nvSpPr>
          <p:spPr bwMode="auto">
            <a:xfrm>
              <a:off x="1543050" y="3009900"/>
              <a:ext cx="4167188" cy="2286000"/>
            </a:xfrm>
            <a:custGeom>
              <a:avLst/>
              <a:gdLst>
                <a:gd name="connsiteX0" fmla="*/ 4167188 w 4167188"/>
                <a:gd name="connsiteY0" fmla="*/ 2286000 h 2286000"/>
                <a:gd name="connsiteX1" fmla="*/ 4167188 w 4167188"/>
                <a:gd name="connsiteY1" fmla="*/ 2133600 h 2286000"/>
                <a:gd name="connsiteX2" fmla="*/ 4114800 w 4167188"/>
                <a:gd name="connsiteY2" fmla="*/ 2133600 h 2286000"/>
                <a:gd name="connsiteX3" fmla="*/ 4114800 w 4167188"/>
                <a:gd name="connsiteY3" fmla="*/ 2062163 h 2286000"/>
                <a:gd name="connsiteX4" fmla="*/ 3790950 w 4167188"/>
                <a:gd name="connsiteY4" fmla="*/ 2062163 h 2286000"/>
                <a:gd name="connsiteX5" fmla="*/ 3790950 w 4167188"/>
                <a:gd name="connsiteY5" fmla="*/ 2024063 h 2286000"/>
                <a:gd name="connsiteX6" fmla="*/ 3429000 w 4167188"/>
                <a:gd name="connsiteY6" fmla="*/ 2024063 h 2286000"/>
                <a:gd name="connsiteX7" fmla="*/ 3429000 w 4167188"/>
                <a:gd name="connsiteY7" fmla="*/ 1995488 h 2286000"/>
                <a:gd name="connsiteX8" fmla="*/ 3400425 w 4167188"/>
                <a:gd name="connsiteY8" fmla="*/ 1995488 h 2286000"/>
                <a:gd name="connsiteX9" fmla="*/ 3400425 w 4167188"/>
                <a:gd name="connsiteY9" fmla="*/ 1957388 h 2286000"/>
                <a:gd name="connsiteX10" fmla="*/ 3200400 w 4167188"/>
                <a:gd name="connsiteY10" fmla="*/ 1957388 h 2286000"/>
                <a:gd name="connsiteX11" fmla="*/ 3200400 w 4167188"/>
                <a:gd name="connsiteY11" fmla="*/ 1957388 h 2286000"/>
                <a:gd name="connsiteX12" fmla="*/ 3200400 w 4167188"/>
                <a:gd name="connsiteY12" fmla="*/ 1933575 h 2286000"/>
                <a:gd name="connsiteX13" fmla="*/ 3100388 w 4167188"/>
                <a:gd name="connsiteY13" fmla="*/ 1933575 h 2286000"/>
                <a:gd name="connsiteX14" fmla="*/ 3100388 w 4167188"/>
                <a:gd name="connsiteY14" fmla="*/ 1909763 h 2286000"/>
                <a:gd name="connsiteX15" fmla="*/ 3033713 w 4167188"/>
                <a:gd name="connsiteY15" fmla="*/ 1909763 h 2286000"/>
                <a:gd name="connsiteX16" fmla="*/ 3033713 w 4167188"/>
                <a:gd name="connsiteY16" fmla="*/ 1814513 h 2286000"/>
                <a:gd name="connsiteX17" fmla="*/ 2943225 w 4167188"/>
                <a:gd name="connsiteY17" fmla="*/ 1814513 h 2286000"/>
                <a:gd name="connsiteX18" fmla="*/ 2943225 w 4167188"/>
                <a:gd name="connsiteY18" fmla="*/ 1781175 h 2286000"/>
                <a:gd name="connsiteX19" fmla="*/ 2667000 w 4167188"/>
                <a:gd name="connsiteY19" fmla="*/ 1781175 h 2286000"/>
                <a:gd name="connsiteX20" fmla="*/ 2667000 w 4167188"/>
                <a:gd name="connsiteY20" fmla="*/ 1738313 h 2286000"/>
                <a:gd name="connsiteX21" fmla="*/ 2667000 w 4167188"/>
                <a:gd name="connsiteY21" fmla="*/ 1738313 h 2286000"/>
                <a:gd name="connsiteX22" fmla="*/ 2638425 w 4167188"/>
                <a:gd name="connsiteY22" fmla="*/ 1709738 h 2286000"/>
                <a:gd name="connsiteX23" fmla="*/ 2624137 w 4167188"/>
                <a:gd name="connsiteY23" fmla="*/ 1695450 h 2286000"/>
                <a:gd name="connsiteX24" fmla="*/ 2609850 w 4167188"/>
                <a:gd name="connsiteY24" fmla="*/ 1681163 h 2286000"/>
                <a:gd name="connsiteX25" fmla="*/ 2386013 w 4167188"/>
                <a:gd name="connsiteY25" fmla="*/ 1681163 h 2286000"/>
                <a:gd name="connsiteX26" fmla="*/ 2371725 w 4167188"/>
                <a:gd name="connsiteY26" fmla="*/ 1666875 h 2286000"/>
                <a:gd name="connsiteX27" fmla="*/ 2295525 w 4167188"/>
                <a:gd name="connsiteY27" fmla="*/ 1666875 h 2286000"/>
                <a:gd name="connsiteX28" fmla="*/ 2295525 w 4167188"/>
                <a:gd name="connsiteY28" fmla="*/ 1604963 h 2286000"/>
                <a:gd name="connsiteX29" fmla="*/ 2247900 w 4167188"/>
                <a:gd name="connsiteY29" fmla="*/ 1604963 h 2286000"/>
                <a:gd name="connsiteX30" fmla="*/ 2247900 w 4167188"/>
                <a:gd name="connsiteY30" fmla="*/ 1528763 h 2286000"/>
                <a:gd name="connsiteX31" fmla="*/ 1890713 w 4167188"/>
                <a:gd name="connsiteY31" fmla="*/ 1528763 h 2286000"/>
                <a:gd name="connsiteX32" fmla="*/ 1890713 w 4167188"/>
                <a:gd name="connsiteY32" fmla="*/ 1419225 h 2286000"/>
                <a:gd name="connsiteX33" fmla="*/ 1890713 w 4167188"/>
                <a:gd name="connsiteY33" fmla="*/ 1419225 h 2286000"/>
                <a:gd name="connsiteX34" fmla="*/ 1890713 w 4167188"/>
                <a:gd name="connsiteY34" fmla="*/ 1419225 h 2286000"/>
                <a:gd name="connsiteX35" fmla="*/ 1890713 w 4167188"/>
                <a:gd name="connsiteY35" fmla="*/ 1419225 h 2286000"/>
                <a:gd name="connsiteX36" fmla="*/ 1890713 w 4167188"/>
                <a:gd name="connsiteY36" fmla="*/ 1347788 h 2286000"/>
                <a:gd name="connsiteX37" fmla="*/ 1757363 w 4167188"/>
                <a:gd name="connsiteY37" fmla="*/ 1347788 h 2286000"/>
                <a:gd name="connsiteX38" fmla="*/ 1757363 w 4167188"/>
                <a:gd name="connsiteY38" fmla="*/ 1309688 h 2286000"/>
                <a:gd name="connsiteX39" fmla="*/ 1504950 w 4167188"/>
                <a:gd name="connsiteY39" fmla="*/ 1309688 h 2286000"/>
                <a:gd name="connsiteX40" fmla="*/ 1504950 w 4167188"/>
                <a:gd name="connsiteY40" fmla="*/ 1114425 h 2286000"/>
                <a:gd name="connsiteX41" fmla="*/ 1490663 w 4167188"/>
                <a:gd name="connsiteY41" fmla="*/ 1100138 h 2286000"/>
                <a:gd name="connsiteX42" fmla="*/ 1490663 w 4167188"/>
                <a:gd name="connsiteY42" fmla="*/ 1038225 h 2286000"/>
                <a:gd name="connsiteX43" fmla="*/ 1243013 w 4167188"/>
                <a:gd name="connsiteY43" fmla="*/ 1038225 h 2286000"/>
                <a:gd name="connsiteX44" fmla="*/ 1243013 w 4167188"/>
                <a:gd name="connsiteY44" fmla="*/ 995363 h 2286000"/>
                <a:gd name="connsiteX45" fmla="*/ 1133475 w 4167188"/>
                <a:gd name="connsiteY45" fmla="*/ 995363 h 2286000"/>
                <a:gd name="connsiteX46" fmla="*/ 1133475 w 4167188"/>
                <a:gd name="connsiteY46" fmla="*/ 942975 h 2286000"/>
                <a:gd name="connsiteX47" fmla="*/ 1133475 w 4167188"/>
                <a:gd name="connsiteY47" fmla="*/ 781050 h 2286000"/>
                <a:gd name="connsiteX48" fmla="*/ 1047750 w 4167188"/>
                <a:gd name="connsiteY48" fmla="*/ 704850 h 2286000"/>
                <a:gd name="connsiteX49" fmla="*/ 814388 w 4167188"/>
                <a:gd name="connsiteY49" fmla="*/ 690563 h 2286000"/>
                <a:gd name="connsiteX50" fmla="*/ 757238 w 4167188"/>
                <a:gd name="connsiteY50" fmla="*/ 642938 h 2286000"/>
                <a:gd name="connsiteX51" fmla="*/ 742950 w 4167188"/>
                <a:gd name="connsiteY51" fmla="*/ 485775 h 2286000"/>
                <a:gd name="connsiteX52" fmla="*/ 714375 w 4167188"/>
                <a:gd name="connsiteY52" fmla="*/ 476250 h 2286000"/>
                <a:gd name="connsiteX53" fmla="*/ 704850 w 4167188"/>
                <a:gd name="connsiteY53" fmla="*/ 381000 h 2286000"/>
                <a:gd name="connsiteX54" fmla="*/ 647700 w 4167188"/>
                <a:gd name="connsiteY54" fmla="*/ 371475 h 2286000"/>
                <a:gd name="connsiteX55" fmla="*/ 642938 w 4167188"/>
                <a:gd name="connsiteY55" fmla="*/ 352425 h 2286000"/>
                <a:gd name="connsiteX56" fmla="*/ 595313 w 4167188"/>
                <a:gd name="connsiteY56" fmla="*/ 352425 h 2286000"/>
                <a:gd name="connsiteX57" fmla="*/ 581025 w 4167188"/>
                <a:gd name="connsiteY57" fmla="*/ 333375 h 2286000"/>
                <a:gd name="connsiteX58" fmla="*/ 452438 w 4167188"/>
                <a:gd name="connsiteY58" fmla="*/ 323850 h 2286000"/>
                <a:gd name="connsiteX59" fmla="*/ 447675 w 4167188"/>
                <a:gd name="connsiteY59" fmla="*/ 276225 h 2286000"/>
                <a:gd name="connsiteX60" fmla="*/ 376238 w 4167188"/>
                <a:gd name="connsiteY60" fmla="*/ 266700 h 2286000"/>
                <a:gd name="connsiteX61" fmla="*/ 381000 w 4167188"/>
                <a:gd name="connsiteY61" fmla="*/ 180975 h 2286000"/>
                <a:gd name="connsiteX62" fmla="*/ 352425 w 4167188"/>
                <a:gd name="connsiteY62" fmla="*/ 171450 h 2286000"/>
                <a:gd name="connsiteX63" fmla="*/ 333375 w 4167188"/>
                <a:gd name="connsiteY63" fmla="*/ 57150 h 2286000"/>
                <a:gd name="connsiteX64" fmla="*/ 204788 w 4167188"/>
                <a:gd name="connsiteY64" fmla="*/ 38100 h 2286000"/>
                <a:gd name="connsiteX65" fmla="*/ 214313 w 4167188"/>
                <a:gd name="connsiteY65" fmla="*/ 0 h 2286000"/>
                <a:gd name="connsiteX66" fmla="*/ 0 w 4167188"/>
                <a:gd name="connsiteY66" fmla="*/ 0 h 2286000"/>
                <a:gd name="connsiteX0" fmla="*/ 4167188 w 4167188"/>
                <a:gd name="connsiteY0" fmla="*/ 2286000 h 2286000"/>
                <a:gd name="connsiteX1" fmla="*/ 4167188 w 4167188"/>
                <a:gd name="connsiteY1" fmla="*/ 2133600 h 2286000"/>
                <a:gd name="connsiteX2" fmla="*/ 4114800 w 4167188"/>
                <a:gd name="connsiteY2" fmla="*/ 2133600 h 2286000"/>
                <a:gd name="connsiteX3" fmla="*/ 4114800 w 4167188"/>
                <a:gd name="connsiteY3" fmla="*/ 2062163 h 2286000"/>
                <a:gd name="connsiteX4" fmla="*/ 3790950 w 4167188"/>
                <a:gd name="connsiteY4" fmla="*/ 2062163 h 2286000"/>
                <a:gd name="connsiteX5" fmla="*/ 3790950 w 4167188"/>
                <a:gd name="connsiteY5" fmla="*/ 2024063 h 2286000"/>
                <a:gd name="connsiteX6" fmla="*/ 3429000 w 4167188"/>
                <a:gd name="connsiteY6" fmla="*/ 2024063 h 2286000"/>
                <a:gd name="connsiteX7" fmla="*/ 3429000 w 4167188"/>
                <a:gd name="connsiteY7" fmla="*/ 1995488 h 2286000"/>
                <a:gd name="connsiteX8" fmla="*/ 3400425 w 4167188"/>
                <a:gd name="connsiteY8" fmla="*/ 1995488 h 2286000"/>
                <a:gd name="connsiteX9" fmla="*/ 3400425 w 4167188"/>
                <a:gd name="connsiteY9" fmla="*/ 1957388 h 2286000"/>
                <a:gd name="connsiteX10" fmla="*/ 3200400 w 4167188"/>
                <a:gd name="connsiteY10" fmla="*/ 1957388 h 2286000"/>
                <a:gd name="connsiteX11" fmla="*/ 3200400 w 4167188"/>
                <a:gd name="connsiteY11" fmla="*/ 1957388 h 2286000"/>
                <a:gd name="connsiteX12" fmla="*/ 3200400 w 4167188"/>
                <a:gd name="connsiteY12" fmla="*/ 1933575 h 2286000"/>
                <a:gd name="connsiteX13" fmla="*/ 3100388 w 4167188"/>
                <a:gd name="connsiteY13" fmla="*/ 1933575 h 2286000"/>
                <a:gd name="connsiteX14" fmla="*/ 3100388 w 4167188"/>
                <a:gd name="connsiteY14" fmla="*/ 1909763 h 2286000"/>
                <a:gd name="connsiteX15" fmla="*/ 3033713 w 4167188"/>
                <a:gd name="connsiteY15" fmla="*/ 1909763 h 2286000"/>
                <a:gd name="connsiteX16" fmla="*/ 3033713 w 4167188"/>
                <a:gd name="connsiteY16" fmla="*/ 1814513 h 2286000"/>
                <a:gd name="connsiteX17" fmla="*/ 2943225 w 4167188"/>
                <a:gd name="connsiteY17" fmla="*/ 1814513 h 2286000"/>
                <a:gd name="connsiteX18" fmla="*/ 2943225 w 4167188"/>
                <a:gd name="connsiteY18" fmla="*/ 1781175 h 2286000"/>
                <a:gd name="connsiteX19" fmla="*/ 2667000 w 4167188"/>
                <a:gd name="connsiteY19" fmla="*/ 1781175 h 2286000"/>
                <a:gd name="connsiteX20" fmla="*/ 2667000 w 4167188"/>
                <a:gd name="connsiteY20" fmla="*/ 1738313 h 2286000"/>
                <a:gd name="connsiteX21" fmla="*/ 2667000 w 4167188"/>
                <a:gd name="connsiteY21" fmla="*/ 1738313 h 2286000"/>
                <a:gd name="connsiteX22" fmla="*/ 2638425 w 4167188"/>
                <a:gd name="connsiteY22" fmla="*/ 1709738 h 2286000"/>
                <a:gd name="connsiteX23" fmla="*/ 2624137 w 4167188"/>
                <a:gd name="connsiteY23" fmla="*/ 1695450 h 2286000"/>
                <a:gd name="connsiteX24" fmla="*/ 2609850 w 4167188"/>
                <a:gd name="connsiteY24" fmla="*/ 1681163 h 2286000"/>
                <a:gd name="connsiteX25" fmla="*/ 2386013 w 4167188"/>
                <a:gd name="connsiteY25" fmla="*/ 1681163 h 2286000"/>
                <a:gd name="connsiteX26" fmla="*/ 2371725 w 4167188"/>
                <a:gd name="connsiteY26" fmla="*/ 1666875 h 2286000"/>
                <a:gd name="connsiteX27" fmla="*/ 2295525 w 4167188"/>
                <a:gd name="connsiteY27" fmla="*/ 1666875 h 2286000"/>
                <a:gd name="connsiteX28" fmla="*/ 2295525 w 4167188"/>
                <a:gd name="connsiteY28" fmla="*/ 1604963 h 2286000"/>
                <a:gd name="connsiteX29" fmla="*/ 2247900 w 4167188"/>
                <a:gd name="connsiteY29" fmla="*/ 1604963 h 2286000"/>
                <a:gd name="connsiteX30" fmla="*/ 2247900 w 4167188"/>
                <a:gd name="connsiteY30" fmla="*/ 1528763 h 2286000"/>
                <a:gd name="connsiteX31" fmla="*/ 1890713 w 4167188"/>
                <a:gd name="connsiteY31" fmla="*/ 1528763 h 2286000"/>
                <a:gd name="connsiteX32" fmla="*/ 1890713 w 4167188"/>
                <a:gd name="connsiteY32" fmla="*/ 1419225 h 2286000"/>
                <a:gd name="connsiteX33" fmla="*/ 1890713 w 4167188"/>
                <a:gd name="connsiteY33" fmla="*/ 1419225 h 2286000"/>
                <a:gd name="connsiteX34" fmla="*/ 1890713 w 4167188"/>
                <a:gd name="connsiteY34" fmla="*/ 1419225 h 2286000"/>
                <a:gd name="connsiteX35" fmla="*/ 1890713 w 4167188"/>
                <a:gd name="connsiteY35" fmla="*/ 1419225 h 2286000"/>
                <a:gd name="connsiteX36" fmla="*/ 1890713 w 4167188"/>
                <a:gd name="connsiteY36" fmla="*/ 1347788 h 2286000"/>
                <a:gd name="connsiteX37" fmla="*/ 1757363 w 4167188"/>
                <a:gd name="connsiteY37" fmla="*/ 1347788 h 2286000"/>
                <a:gd name="connsiteX38" fmla="*/ 1757363 w 4167188"/>
                <a:gd name="connsiteY38" fmla="*/ 1309688 h 2286000"/>
                <a:gd name="connsiteX39" fmla="*/ 1504950 w 4167188"/>
                <a:gd name="connsiteY39" fmla="*/ 1309688 h 2286000"/>
                <a:gd name="connsiteX40" fmla="*/ 1504950 w 4167188"/>
                <a:gd name="connsiteY40" fmla="*/ 1114425 h 2286000"/>
                <a:gd name="connsiteX41" fmla="*/ 1490663 w 4167188"/>
                <a:gd name="connsiteY41" fmla="*/ 1100138 h 2286000"/>
                <a:gd name="connsiteX42" fmla="*/ 1490663 w 4167188"/>
                <a:gd name="connsiteY42" fmla="*/ 1038225 h 2286000"/>
                <a:gd name="connsiteX43" fmla="*/ 1243013 w 4167188"/>
                <a:gd name="connsiteY43" fmla="*/ 1038225 h 2286000"/>
                <a:gd name="connsiteX44" fmla="*/ 1219201 w 4167188"/>
                <a:gd name="connsiteY44" fmla="*/ 976313 h 2286000"/>
                <a:gd name="connsiteX45" fmla="*/ 1133475 w 4167188"/>
                <a:gd name="connsiteY45" fmla="*/ 995363 h 2286000"/>
                <a:gd name="connsiteX46" fmla="*/ 1133475 w 4167188"/>
                <a:gd name="connsiteY46" fmla="*/ 942975 h 2286000"/>
                <a:gd name="connsiteX47" fmla="*/ 1133475 w 4167188"/>
                <a:gd name="connsiteY47" fmla="*/ 781050 h 2286000"/>
                <a:gd name="connsiteX48" fmla="*/ 1047750 w 4167188"/>
                <a:gd name="connsiteY48" fmla="*/ 704850 h 2286000"/>
                <a:gd name="connsiteX49" fmla="*/ 814388 w 4167188"/>
                <a:gd name="connsiteY49" fmla="*/ 690563 h 2286000"/>
                <a:gd name="connsiteX50" fmla="*/ 757238 w 4167188"/>
                <a:gd name="connsiteY50" fmla="*/ 642938 h 2286000"/>
                <a:gd name="connsiteX51" fmla="*/ 742950 w 4167188"/>
                <a:gd name="connsiteY51" fmla="*/ 485775 h 2286000"/>
                <a:gd name="connsiteX52" fmla="*/ 714375 w 4167188"/>
                <a:gd name="connsiteY52" fmla="*/ 476250 h 2286000"/>
                <a:gd name="connsiteX53" fmla="*/ 704850 w 4167188"/>
                <a:gd name="connsiteY53" fmla="*/ 381000 h 2286000"/>
                <a:gd name="connsiteX54" fmla="*/ 647700 w 4167188"/>
                <a:gd name="connsiteY54" fmla="*/ 371475 h 2286000"/>
                <a:gd name="connsiteX55" fmla="*/ 642938 w 4167188"/>
                <a:gd name="connsiteY55" fmla="*/ 352425 h 2286000"/>
                <a:gd name="connsiteX56" fmla="*/ 595313 w 4167188"/>
                <a:gd name="connsiteY56" fmla="*/ 352425 h 2286000"/>
                <a:gd name="connsiteX57" fmla="*/ 581025 w 4167188"/>
                <a:gd name="connsiteY57" fmla="*/ 333375 h 2286000"/>
                <a:gd name="connsiteX58" fmla="*/ 452438 w 4167188"/>
                <a:gd name="connsiteY58" fmla="*/ 323850 h 2286000"/>
                <a:gd name="connsiteX59" fmla="*/ 447675 w 4167188"/>
                <a:gd name="connsiteY59" fmla="*/ 276225 h 2286000"/>
                <a:gd name="connsiteX60" fmla="*/ 376238 w 4167188"/>
                <a:gd name="connsiteY60" fmla="*/ 266700 h 2286000"/>
                <a:gd name="connsiteX61" fmla="*/ 381000 w 4167188"/>
                <a:gd name="connsiteY61" fmla="*/ 180975 h 2286000"/>
                <a:gd name="connsiteX62" fmla="*/ 352425 w 4167188"/>
                <a:gd name="connsiteY62" fmla="*/ 171450 h 2286000"/>
                <a:gd name="connsiteX63" fmla="*/ 333375 w 4167188"/>
                <a:gd name="connsiteY63" fmla="*/ 57150 h 2286000"/>
                <a:gd name="connsiteX64" fmla="*/ 204788 w 4167188"/>
                <a:gd name="connsiteY64" fmla="*/ 38100 h 2286000"/>
                <a:gd name="connsiteX65" fmla="*/ 214313 w 4167188"/>
                <a:gd name="connsiteY65" fmla="*/ 0 h 2286000"/>
                <a:gd name="connsiteX66" fmla="*/ 0 w 4167188"/>
                <a:gd name="connsiteY66" fmla="*/ 0 h 2286000"/>
                <a:gd name="connsiteX0" fmla="*/ 4167188 w 4167188"/>
                <a:gd name="connsiteY0" fmla="*/ 2286000 h 2286000"/>
                <a:gd name="connsiteX1" fmla="*/ 4167188 w 4167188"/>
                <a:gd name="connsiteY1" fmla="*/ 2133600 h 2286000"/>
                <a:gd name="connsiteX2" fmla="*/ 4114800 w 4167188"/>
                <a:gd name="connsiteY2" fmla="*/ 2133600 h 2286000"/>
                <a:gd name="connsiteX3" fmla="*/ 4114800 w 4167188"/>
                <a:gd name="connsiteY3" fmla="*/ 2062163 h 2286000"/>
                <a:gd name="connsiteX4" fmla="*/ 3790950 w 4167188"/>
                <a:gd name="connsiteY4" fmla="*/ 2062163 h 2286000"/>
                <a:gd name="connsiteX5" fmla="*/ 3790950 w 4167188"/>
                <a:gd name="connsiteY5" fmla="*/ 2024063 h 2286000"/>
                <a:gd name="connsiteX6" fmla="*/ 3429000 w 4167188"/>
                <a:gd name="connsiteY6" fmla="*/ 2024063 h 2286000"/>
                <a:gd name="connsiteX7" fmla="*/ 3429000 w 4167188"/>
                <a:gd name="connsiteY7" fmla="*/ 1995488 h 2286000"/>
                <a:gd name="connsiteX8" fmla="*/ 3400425 w 4167188"/>
                <a:gd name="connsiteY8" fmla="*/ 1995488 h 2286000"/>
                <a:gd name="connsiteX9" fmla="*/ 3400425 w 4167188"/>
                <a:gd name="connsiteY9" fmla="*/ 1957388 h 2286000"/>
                <a:gd name="connsiteX10" fmla="*/ 3200400 w 4167188"/>
                <a:gd name="connsiteY10" fmla="*/ 1957388 h 2286000"/>
                <a:gd name="connsiteX11" fmla="*/ 3200400 w 4167188"/>
                <a:gd name="connsiteY11" fmla="*/ 1957388 h 2286000"/>
                <a:gd name="connsiteX12" fmla="*/ 3200400 w 4167188"/>
                <a:gd name="connsiteY12" fmla="*/ 1933575 h 2286000"/>
                <a:gd name="connsiteX13" fmla="*/ 3100388 w 4167188"/>
                <a:gd name="connsiteY13" fmla="*/ 1933575 h 2286000"/>
                <a:gd name="connsiteX14" fmla="*/ 3100388 w 4167188"/>
                <a:gd name="connsiteY14" fmla="*/ 1909763 h 2286000"/>
                <a:gd name="connsiteX15" fmla="*/ 3033713 w 4167188"/>
                <a:gd name="connsiteY15" fmla="*/ 1909763 h 2286000"/>
                <a:gd name="connsiteX16" fmla="*/ 3033713 w 4167188"/>
                <a:gd name="connsiteY16" fmla="*/ 1814513 h 2286000"/>
                <a:gd name="connsiteX17" fmla="*/ 2943225 w 4167188"/>
                <a:gd name="connsiteY17" fmla="*/ 1814513 h 2286000"/>
                <a:gd name="connsiteX18" fmla="*/ 2943225 w 4167188"/>
                <a:gd name="connsiteY18" fmla="*/ 1781175 h 2286000"/>
                <a:gd name="connsiteX19" fmla="*/ 2667000 w 4167188"/>
                <a:gd name="connsiteY19" fmla="*/ 1781175 h 2286000"/>
                <a:gd name="connsiteX20" fmla="*/ 2667000 w 4167188"/>
                <a:gd name="connsiteY20" fmla="*/ 1738313 h 2286000"/>
                <a:gd name="connsiteX21" fmla="*/ 2667000 w 4167188"/>
                <a:gd name="connsiteY21" fmla="*/ 1738313 h 2286000"/>
                <a:gd name="connsiteX22" fmla="*/ 2638425 w 4167188"/>
                <a:gd name="connsiteY22" fmla="*/ 1709738 h 2286000"/>
                <a:gd name="connsiteX23" fmla="*/ 2624137 w 4167188"/>
                <a:gd name="connsiteY23" fmla="*/ 1695450 h 2286000"/>
                <a:gd name="connsiteX24" fmla="*/ 2609850 w 4167188"/>
                <a:gd name="connsiteY24" fmla="*/ 1681163 h 2286000"/>
                <a:gd name="connsiteX25" fmla="*/ 2386013 w 4167188"/>
                <a:gd name="connsiteY25" fmla="*/ 1681163 h 2286000"/>
                <a:gd name="connsiteX26" fmla="*/ 2371725 w 4167188"/>
                <a:gd name="connsiteY26" fmla="*/ 1666875 h 2286000"/>
                <a:gd name="connsiteX27" fmla="*/ 2295525 w 4167188"/>
                <a:gd name="connsiteY27" fmla="*/ 1666875 h 2286000"/>
                <a:gd name="connsiteX28" fmla="*/ 2295525 w 4167188"/>
                <a:gd name="connsiteY28" fmla="*/ 1604963 h 2286000"/>
                <a:gd name="connsiteX29" fmla="*/ 2247900 w 4167188"/>
                <a:gd name="connsiteY29" fmla="*/ 1604963 h 2286000"/>
                <a:gd name="connsiteX30" fmla="*/ 2247900 w 4167188"/>
                <a:gd name="connsiteY30" fmla="*/ 1528763 h 2286000"/>
                <a:gd name="connsiteX31" fmla="*/ 1890713 w 4167188"/>
                <a:gd name="connsiteY31" fmla="*/ 1528763 h 2286000"/>
                <a:gd name="connsiteX32" fmla="*/ 1890713 w 4167188"/>
                <a:gd name="connsiteY32" fmla="*/ 1419225 h 2286000"/>
                <a:gd name="connsiteX33" fmla="*/ 1890713 w 4167188"/>
                <a:gd name="connsiteY33" fmla="*/ 1419225 h 2286000"/>
                <a:gd name="connsiteX34" fmla="*/ 1890713 w 4167188"/>
                <a:gd name="connsiteY34" fmla="*/ 1419225 h 2286000"/>
                <a:gd name="connsiteX35" fmla="*/ 1890713 w 4167188"/>
                <a:gd name="connsiteY35" fmla="*/ 1419225 h 2286000"/>
                <a:gd name="connsiteX36" fmla="*/ 1890713 w 4167188"/>
                <a:gd name="connsiteY36" fmla="*/ 1347788 h 2286000"/>
                <a:gd name="connsiteX37" fmla="*/ 1757363 w 4167188"/>
                <a:gd name="connsiteY37" fmla="*/ 1347788 h 2286000"/>
                <a:gd name="connsiteX38" fmla="*/ 1757363 w 4167188"/>
                <a:gd name="connsiteY38" fmla="*/ 1309688 h 2286000"/>
                <a:gd name="connsiteX39" fmla="*/ 1504950 w 4167188"/>
                <a:gd name="connsiteY39" fmla="*/ 1309688 h 2286000"/>
                <a:gd name="connsiteX40" fmla="*/ 1504950 w 4167188"/>
                <a:gd name="connsiteY40" fmla="*/ 1114425 h 2286000"/>
                <a:gd name="connsiteX41" fmla="*/ 1490663 w 4167188"/>
                <a:gd name="connsiteY41" fmla="*/ 1100138 h 2286000"/>
                <a:gd name="connsiteX42" fmla="*/ 1490663 w 4167188"/>
                <a:gd name="connsiteY42" fmla="*/ 1038225 h 2286000"/>
                <a:gd name="connsiteX43" fmla="*/ 1271588 w 4167188"/>
                <a:gd name="connsiteY43" fmla="*/ 1014412 h 2286000"/>
                <a:gd name="connsiteX44" fmla="*/ 1219201 w 4167188"/>
                <a:gd name="connsiteY44" fmla="*/ 976313 h 2286000"/>
                <a:gd name="connsiteX45" fmla="*/ 1133475 w 4167188"/>
                <a:gd name="connsiteY45" fmla="*/ 995363 h 2286000"/>
                <a:gd name="connsiteX46" fmla="*/ 1133475 w 4167188"/>
                <a:gd name="connsiteY46" fmla="*/ 942975 h 2286000"/>
                <a:gd name="connsiteX47" fmla="*/ 1133475 w 4167188"/>
                <a:gd name="connsiteY47" fmla="*/ 781050 h 2286000"/>
                <a:gd name="connsiteX48" fmla="*/ 1047750 w 4167188"/>
                <a:gd name="connsiteY48" fmla="*/ 704850 h 2286000"/>
                <a:gd name="connsiteX49" fmla="*/ 814388 w 4167188"/>
                <a:gd name="connsiteY49" fmla="*/ 690563 h 2286000"/>
                <a:gd name="connsiteX50" fmla="*/ 757238 w 4167188"/>
                <a:gd name="connsiteY50" fmla="*/ 642938 h 2286000"/>
                <a:gd name="connsiteX51" fmla="*/ 742950 w 4167188"/>
                <a:gd name="connsiteY51" fmla="*/ 485775 h 2286000"/>
                <a:gd name="connsiteX52" fmla="*/ 714375 w 4167188"/>
                <a:gd name="connsiteY52" fmla="*/ 476250 h 2286000"/>
                <a:gd name="connsiteX53" fmla="*/ 704850 w 4167188"/>
                <a:gd name="connsiteY53" fmla="*/ 381000 h 2286000"/>
                <a:gd name="connsiteX54" fmla="*/ 647700 w 4167188"/>
                <a:gd name="connsiteY54" fmla="*/ 371475 h 2286000"/>
                <a:gd name="connsiteX55" fmla="*/ 642938 w 4167188"/>
                <a:gd name="connsiteY55" fmla="*/ 352425 h 2286000"/>
                <a:gd name="connsiteX56" fmla="*/ 595313 w 4167188"/>
                <a:gd name="connsiteY56" fmla="*/ 352425 h 2286000"/>
                <a:gd name="connsiteX57" fmla="*/ 581025 w 4167188"/>
                <a:gd name="connsiteY57" fmla="*/ 333375 h 2286000"/>
                <a:gd name="connsiteX58" fmla="*/ 452438 w 4167188"/>
                <a:gd name="connsiteY58" fmla="*/ 323850 h 2286000"/>
                <a:gd name="connsiteX59" fmla="*/ 447675 w 4167188"/>
                <a:gd name="connsiteY59" fmla="*/ 276225 h 2286000"/>
                <a:gd name="connsiteX60" fmla="*/ 376238 w 4167188"/>
                <a:gd name="connsiteY60" fmla="*/ 266700 h 2286000"/>
                <a:gd name="connsiteX61" fmla="*/ 381000 w 4167188"/>
                <a:gd name="connsiteY61" fmla="*/ 180975 h 2286000"/>
                <a:gd name="connsiteX62" fmla="*/ 352425 w 4167188"/>
                <a:gd name="connsiteY62" fmla="*/ 171450 h 2286000"/>
                <a:gd name="connsiteX63" fmla="*/ 333375 w 4167188"/>
                <a:gd name="connsiteY63" fmla="*/ 57150 h 2286000"/>
                <a:gd name="connsiteX64" fmla="*/ 204788 w 4167188"/>
                <a:gd name="connsiteY64" fmla="*/ 38100 h 2286000"/>
                <a:gd name="connsiteX65" fmla="*/ 214313 w 4167188"/>
                <a:gd name="connsiteY65" fmla="*/ 0 h 2286000"/>
                <a:gd name="connsiteX66" fmla="*/ 0 w 4167188"/>
                <a:gd name="connsiteY66" fmla="*/ 0 h 2286000"/>
                <a:gd name="connsiteX0" fmla="*/ 4167188 w 4167188"/>
                <a:gd name="connsiteY0" fmla="*/ 2286000 h 2286000"/>
                <a:gd name="connsiteX1" fmla="*/ 4167188 w 4167188"/>
                <a:gd name="connsiteY1" fmla="*/ 2133600 h 2286000"/>
                <a:gd name="connsiteX2" fmla="*/ 4114800 w 4167188"/>
                <a:gd name="connsiteY2" fmla="*/ 2133600 h 2286000"/>
                <a:gd name="connsiteX3" fmla="*/ 4114800 w 4167188"/>
                <a:gd name="connsiteY3" fmla="*/ 2062163 h 2286000"/>
                <a:gd name="connsiteX4" fmla="*/ 3790950 w 4167188"/>
                <a:gd name="connsiteY4" fmla="*/ 2062163 h 2286000"/>
                <a:gd name="connsiteX5" fmla="*/ 3790950 w 4167188"/>
                <a:gd name="connsiteY5" fmla="*/ 2024063 h 2286000"/>
                <a:gd name="connsiteX6" fmla="*/ 3429000 w 4167188"/>
                <a:gd name="connsiteY6" fmla="*/ 2024063 h 2286000"/>
                <a:gd name="connsiteX7" fmla="*/ 3429000 w 4167188"/>
                <a:gd name="connsiteY7" fmla="*/ 1995488 h 2286000"/>
                <a:gd name="connsiteX8" fmla="*/ 3400425 w 4167188"/>
                <a:gd name="connsiteY8" fmla="*/ 1995488 h 2286000"/>
                <a:gd name="connsiteX9" fmla="*/ 3400425 w 4167188"/>
                <a:gd name="connsiteY9" fmla="*/ 1957388 h 2286000"/>
                <a:gd name="connsiteX10" fmla="*/ 3200400 w 4167188"/>
                <a:gd name="connsiteY10" fmla="*/ 1957388 h 2286000"/>
                <a:gd name="connsiteX11" fmla="*/ 3200400 w 4167188"/>
                <a:gd name="connsiteY11" fmla="*/ 1957388 h 2286000"/>
                <a:gd name="connsiteX12" fmla="*/ 3200400 w 4167188"/>
                <a:gd name="connsiteY12" fmla="*/ 1933575 h 2286000"/>
                <a:gd name="connsiteX13" fmla="*/ 3100388 w 4167188"/>
                <a:gd name="connsiteY13" fmla="*/ 1933575 h 2286000"/>
                <a:gd name="connsiteX14" fmla="*/ 3100388 w 4167188"/>
                <a:gd name="connsiteY14" fmla="*/ 1909763 h 2286000"/>
                <a:gd name="connsiteX15" fmla="*/ 3033713 w 4167188"/>
                <a:gd name="connsiteY15" fmla="*/ 1909763 h 2286000"/>
                <a:gd name="connsiteX16" fmla="*/ 3033713 w 4167188"/>
                <a:gd name="connsiteY16" fmla="*/ 1814513 h 2286000"/>
                <a:gd name="connsiteX17" fmla="*/ 2943225 w 4167188"/>
                <a:gd name="connsiteY17" fmla="*/ 1814513 h 2286000"/>
                <a:gd name="connsiteX18" fmla="*/ 2943225 w 4167188"/>
                <a:gd name="connsiteY18" fmla="*/ 1781175 h 2286000"/>
                <a:gd name="connsiteX19" fmla="*/ 2667000 w 4167188"/>
                <a:gd name="connsiteY19" fmla="*/ 1781175 h 2286000"/>
                <a:gd name="connsiteX20" fmla="*/ 2667000 w 4167188"/>
                <a:gd name="connsiteY20" fmla="*/ 1738313 h 2286000"/>
                <a:gd name="connsiteX21" fmla="*/ 2667000 w 4167188"/>
                <a:gd name="connsiteY21" fmla="*/ 1738313 h 2286000"/>
                <a:gd name="connsiteX22" fmla="*/ 2638425 w 4167188"/>
                <a:gd name="connsiteY22" fmla="*/ 1709738 h 2286000"/>
                <a:gd name="connsiteX23" fmla="*/ 2624137 w 4167188"/>
                <a:gd name="connsiteY23" fmla="*/ 1695450 h 2286000"/>
                <a:gd name="connsiteX24" fmla="*/ 2609850 w 4167188"/>
                <a:gd name="connsiteY24" fmla="*/ 1681163 h 2286000"/>
                <a:gd name="connsiteX25" fmla="*/ 2386013 w 4167188"/>
                <a:gd name="connsiteY25" fmla="*/ 1681163 h 2286000"/>
                <a:gd name="connsiteX26" fmla="*/ 2371725 w 4167188"/>
                <a:gd name="connsiteY26" fmla="*/ 1666875 h 2286000"/>
                <a:gd name="connsiteX27" fmla="*/ 2295525 w 4167188"/>
                <a:gd name="connsiteY27" fmla="*/ 1666875 h 2286000"/>
                <a:gd name="connsiteX28" fmla="*/ 2295525 w 4167188"/>
                <a:gd name="connsiteY28" fmla="*/ 1604963 h 2286000"/>
                <a:gd name="connsiteX29" fmla="*/ 2247900 w 4167188"/>
                <a:gd name="connsiteY29" fmla="*/ 1604963 h 2286000"/>
                <a:gd name="connsiteX30" fmla="*/ 2247900 w 4167188"/>
                <a:gd name="connsiteY30" fmla="*/ 1528763 h 2286000"/>
                <a:gd name="connsiteX31" fmla="*/ 1890713 w 4167188"/>
                <a:gd name="connsiteY31" fmla="*/ 1528763 h 2286000"/>
                <a:gd name="connsiteX32" fmla="*/ 1890713 w 4167188"/>
                <a:gd name="connsiteY32" fmla="*/ 1419225 h 2286000"/>
                <a:gd name="connsiteX33" fmla="*/ 1890713 w 4167188"/>
                <a:gd name="connsiteY33" fmla="*/ 1419225 h 2286000"/>
                <a:gd name="connsiteX34" fmla="*/ 1890713 w 4167188"/>
                <a:gd name="connsiteY34" fmla="*/ 1419225 h 2286000"/>
                <a:gd name="connsiteX35" fmla="*/ 1890713 w 4167188"/>
                <a:gd name="connsiteY35" fmla="*/ 1419225 h 2286000"/>
                <a:gd name="connsiteX36" fmla="*/ 1890713 w 4167188"/>
                <a:gd name="connsiteY36" fmla="*/ 1347788 h 2286000"/>
                <a:gd name="connsiteX37" fmla="*/ 1757363 w 4167188"/>
                <a:gd name="connsiteY37" fmla="*/ 1347788 h 2286000"/>
                <a:gd name="connsiteX38" fmla="*/ 1757363 w 4167188"/>
                <a:gd name="connsiteY38" fmla="*/ 1309688 h 2286000"/>
                <a:gd name="connsiteX39" fmla="*/ 1504950 w 4167188"/>
                <a:gd name="connsiteY39" fmla="*/ 1309688 h 2286000"/>
                <a:gd name="connsiteX40" fmla="*/ 1504950 w 4167188"/>
                <a:gd name="connsiteY40" fmla="*/ 1114425 h 2286000"/>
                <a:gd name="connsiteX41" fmla="*/ 1490663 w 4167188"/>
                <a:gd name="connsiteY41" fmla="*/ 1100138 h 2286000"/>
                <a:gd name="connsiteX42" fmla="*/ 1490663 w 4167188"/>
                <a:gd name="connsiteY42" fmla="*/ 1038225 h 2286000"/>
                <a:gd name="connsiteX43" fmla="*/ 1271588 w 4167188"/>
                <a:gd name="connsiteY43" fmla="*/ 1014412 h 2286000"/>
                <a:gd name="connsiteX44" fmla="*/ 1214439 w 4167188"/>
                <a:gd name="connsiteY44" fmla="*/ 1000125 h 2286000"/>
                <a:gd name="connsiteX45" fmla="*/ 1133475 w 4167188"/>
                <a:gd name="connsiteY45" fmla="*/ 995363 h 2286000"/>
                <a:gd name="connsiteX46" fmla="*/ 1133475 w 4167188"/>
                <a:gd name="connsiteY46" fmla="*/ 942975 h 2286000"/>
                <a:gd name="connsiteX47" fmla="*/ 1133475 w 4167188"/>
                <a:gd name="connsiteY47" fmla="*/ 781050 h 2286000"/>
                <a:gd name="connsiteX48" fmla="*/ 1047750 w 4167188"/>
                <a:gd name="connsiteY48" fmla="*/ 704850 h 2286000"/>
                <a:gd name="connsiteX49" fmla="*/ 814388 w 4167188"/>
                <a:gd name="connsiteY49" fmla="*/ 690563 h 2286000"/>
                <a:gd name="connsiteX50" fmla="*/ 757238 w 4167188"/>
                <a:gd name="connsiteY50" fmla="*/ 642938 h 2286000"/>
                <a:gd name="connsiteX51" fmla="*/ 742950 w 4167188"/>
                <a:gd name="connsiteY51" fmla="*/ 485775 h 2286000"/>
                <a:gd name="connsiteX52" fmla="*/ 714375 w 4167188"/>
                <a:gd name="connsiteY52" fmla="*/ 476250 h 2286000"/>
                <a:gd name="connsiteX53" fmla="*/ 704850 w 4167188"/>
                <a:gd name="connsiteY53" fmla="*/ 381000 h 2286000"/>
                <a:gd name="connsiteX54" fmla="*/ 647700 w 4167188"/>
                <a:gd name="connsiteY54" fmla="*/ 371475 h 2286000"/>
                <a:gd name="connsiteX55" fmla="*/ 642938 w 4167188"/>
                <a:gd name="connsiteY55" fmla="*/ 352425 h 2286000"/>
                <a:gd name="connsiteX56" fmla="*/ 595313 w 4167188"/>
                <a:gd name="connsiteY56" fmla="*/ 352425 h 2286000"/>
                <a:gd name="connsiteX57" fmla="*/ 581025 w 4167188"/>
                <a:gd name="connsiteY57" fmla="*/ 333375 h 2286000"/>
                <a:gd name="connsiteX58" fmla="*/ 452438 w 4167188"/>
                <a:gd name="connsiteY58" fmla="*/ 323850 h 2286000"/>
                <a:gd name="connsiteX59" fmla="*/ 447675 w 4167188"/>
                <a:gd name="connsiteY59" fmla="*/ 276225 h 2286000"/>
                <a:gd name="connsiteX60" fmla="*/ 376238 w 4167188"/>
                <a:gd name="connsiteY60" fmla="*/ 266700 h 2286000"/>
                <a:gd name="connsiteX61" fmla="*/ 381000 w 4167188"/>
                <a:gd name="connsiteY61" fmla="*/ 180975 h 2286000"/>
                <a:gd name="connsiteX62" fmla="*/ 352425 w 4167188"/>
                <a:gd name="connsiteY62" fmla="*/ 171450 h 2286000"/>
                <a:gd name="connsiteX63" fmla="*/ 333375 w 4167188"/>
                <a:gd name="connsiteY63" fmla="*/ 57150 h 2286000"/>
                <a:gd name="connsiteX64" fmla="*/ 204788 w 4167188"/>
                <a:gd name="connsiteY64" fmla="*/ 38100 h 2286000"/>
                <a:gd name="connsiteX65" fmla="*/ 214313 w 4167188"/>
                <a:gd name="connsiteY65" fmla="*/ 0 h 2286000"/>
                <a:gd name="connsiteX66" fmla="*/ 0 w 4167188"/>
                <a:gd name="connsiteY66" fmla="*/ 0 h 228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4167188" h="2286000">
                  <a:moveTo>
                    <a:pt x="4167188" y="2286000"/>
                  </a:moveTo>
                  <a:lnTo>
                    <a:pt x="4167188" y="2133600"/>
                  </a:lnTo>
                  <a:lnTo>
                    <a:pt x="4114800" y="2133600"/>
                  </a:lnTo>
                  <a:lnTo>
                    <a:pt x="4114800" y="2062163"/>
                  </a:lnTo>
                  <a:lnTo>
                    <a:pt x="3790950" y="2062163"/>
                  </a:lnTo>
                  <a:lnTo>
                    <a:pt x="3790950" y="2024063"/>
                  </a:lnTo>
                  <a:lnTo>
                    <a:pt x="3429000" y="2024063"/>
                  </a:lnTo>
                  <a:lnTo>
                    <a:pt x="3429000" y="1995488"/>
                  </a:lnTo>
                  <a:lnTo>
                    <a:pt x="3400425" y="1995488"/>
                  </a:lnTo>
                  <a:lnTo>
                    <a:pt x="3400425" y="1957388"/>
                  </a:lnTo>
                  <a:lnTo>
                    <a:pt x="3200400" y="1957388"/>
                  </a:lnTo>
                  <a:lnTo>
                    <a:pt x="3200400" y="1957388"/>
                  </a:lnTo>
                  <a:lnTo>
                    <a:pt x="3200400" y="1933575"/>
                  </a:lnTo>
                  <a:lnTo>
                    <a:pt x="3100388" y="1933575"/>
                  </a:lnTo>
                  <a:lnTo>
                    <a:pt x="3100388" y="1909763"/>
                  </a:lnTo>
                  <a:lnTo>
                    <a:pt x="3033713" y="1909763"/>
                  </a:lnTo>
                  <a:lnTo>
                    <a:pt x="3033713" y="1814513"/>
                  </a:lnTo>
                  <a:lnTo>
                    <a:pt x="2943225" y="1814513"/>
                  </a:lnTo>
                  <a:lnTo>
                    <a:pt x="2943225" y="1781175"/>
                  </a:lnTo>
                  <a:lnTo>
                    <a:pt x="2667000" y="1781175"/>
                  </a:lnTo>
                  <a:lnTo>
                    <a:pt x="2667000" y="1738313"/>
                  </a:lnTo>
                  <a:lnTo>
                    <a:pt x="2667000" y="1738313"/>
                  </a:lnTo>
                  <a:lnTo>
                    <a:pt x="2638425" y="1709738"/>
                  </a:lnTo>
                  <a:lnTo>
                    <a:pt x="2624137" y="1695450"/>
                  </a:lnTo>
                  <a:lnTo>
                    <a:pt x="2609850" y="1681163"/>
                  </a:lnTo>
                  <a:lnTo>
                    <a:pt x="2386013" y="1681163"/>
                  </a:lnTo>
                  <a:lnTo>
                    <a:pt x="2371725" y="1666875"/>
                  </a:lnTo>
                  <a:lnTo>
                    <a:pt x="2295525" y="1666875"/>
                  </a:lnTo>
                  <a:lnTo>
                    <a:pt x="2295525" y="1604963"/>
                  </a:lnTo>
                  <a:lnTo>
                    <a:pt x="2247900" y="1604963"/>
                  </a:lnTo>
                  <a:lnTo>
                    <a:pt x="2247900" y="1528763"/>
                  </a:lnTo>
                  <a:lnTo>
                    <a:pt x="1890713" y="1528763"/>
                  </a:lnTo>
                  <a:lnTo>
                    <a:pt x="1890713" y="1419225"/>
                  </a:lnTo>
                  <a:lnTo>
                    <a:pt x="1890713" y="1419225"/>
                  </a:lnTo>
                  <a:lnTo>
                    <a:pt x="1890713" y="1419225"/>
                  </a:lnTo>
                  <a:lnTo>
                    <a:pt x="1890713" y="1419225"/>
                  </a:lnTo>
                  <a:lnTo>
                    <a:pt x="1890713" y="1347788"/>
                  </a:lnTo>
                  <a:lnTo>
                    <a:pt x="1757363" y="1347788"/>
                  </a:lnTo>
                  <a:lnTo>
                    <a:pt x="1757363" y="1309688"/>
                  </a:lnTo>
                  <a:lnTo>
                    <a:pt x="1504950" y="1309688"/>
                  </a:lnTo>
                  <a:lnTo>
                    <a:pt x="1504950" y="1114425"/>
                  </a:lnTo>
                  <a:lnTo>
                    <a:pt x="1490663" y="1100138"/>
                  </a:lnTo>
                  <a:lnTo>
                    <a:pt x="1490663" y="1038225"/>
                  </a:lnTo>
                  <a:lnTo>
                    <a:pt x="1271588" y="1014412"/>
                  </a:lnTo>
                  <a:lnTo>
                    <a:pt x="1214439" y="1000125"/>
                  </a:lnTo>
                  <a:lnTo>
                    <a:pt x="1133475" y="995363"/>
                  </a:lnTo>
                  <a:lnTo>
                    <a:pt x="1133475" y="942975"/>
                  </a:lnTo>
                  <a:lnTo>
                    <a:pt x="1133475" y="781050"/>
                  </a:lnTo>
                  <a:lnTo>
                    <a:pt x="1047750" y="704850"/>
                  </a:lnTo>
                  <a:lnTo>
                    <a:pt x="814388" y="690563"/>
                  </a:lnTo>
                  <a:lnTo>
                    <a:pt x="757238" y="642938"/>
                  </a:lnTo>
                  <a:lnTo>
                    <a:pt x="742950" y="485775"/>
                  </a:lnTo>
                  <a:lnTo>
                    <a:pt x="714375" y="476250"/>
                  </a:lnTo>
                  <a:lnTo>
                    <a:pt x="704850" y="381000"/>
                  </a:lnTo>
                  <a:lnTo>
                    <a:pt x="647700" y="371475"/>
                  </a:lnTo>
                  <a:lnTo>
                    <a:pt x="642938" y="352425"/>
                  </a:lnTo>
                  <a:lnTo>
                    <a:pt x="595313" y="352425"/>
                  </a:lnTo>
                  <a:lnTo>
                    <a:pt x="581025" y="333375"/>
                  </a:lnTo>
                  <a:lnTo>
                    <a:pt x="452438" y="323850"/>
                  </a:lnTo>
                  <a:lnTo>
                    <a:pt x="447675" y="276225"/>
                  </a:lnTo>
                  <a:lnTo>
                    <a:pt x="376238" y="266700"/>
                  </a:lnTo>
                  <a:lnTo>
                    <a:pt x="381000" y="180975"/>
                  </a:lnTo>
                  <a:lnTo>
                    <a:pt x="352425" y="171450"/>
                  </a:lnTo>
                  <a:lnTo>
                    <a:pt x="333375" y="57150"/>
                  </a:lnTo>
                  <a:lnTo>
                    <a:pt x="204788" y="38100"/>
                  </a:lnTo>
                  <a:lnTo>
                    <a:pt x="214313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E1471D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DCD59754-36CA-42F9-A65D-D712BE9A3EE1}"/>
                </a:ext>
              </a:extLst>
            </p:cNvPr>
            <p:cNvSpPr/>
            <p:nvPr/>
          </p:nvSpPr>
          <p:spPr bwMode="auto">
            <a:xfrm>
              <a:off x="7094220" y="3017520"/>
              <a:ext cx="4095750" cy="1455420"/>
            </a:xfrm>
            <a:custGeom>
              <a:avLst/>
              <a:gdLst>
                <a:gd name="connsiteX0" fmla="*/ 4095750 w 4095750"/>
                <a:gd name="connsiteY0" fmla="*/ 1455420 h 1455420"/>
                <a:gd name="connsiteX1" fmla="*/ 4095750 w 4095750"/>
                <a:gd name="connsiteY1" fmla="*/ 1455420 h 1455420"/>
                <a:gd name="connsiteX2" fmla="*/ 3707130 w 4095750"/>
                <a:gd name="connsiteY2" fmla="*/ 1455420 h 1455420"/>
                <a:gd name="connsiteX3" fmla="*/ 3707130 w 4095750"/>
                <a:gd name="connsiteY3" fmla="*/ 1390650 h 1455420"/>
                <a:gd name="connsiteX4" fmla="*/ 3615690 w 4095750"/>
                <a:gd name="connsiteY4" fmla="*/ 1390650 h 1455420"/>
                <a:gd name="connsiteX5" fmla="*/ 3615690 w 4095750"/>
                <a:gd name="connsiteY5" fmla="*/ 1333500 h 1455420"/>
                <a:gd name="connsiteX6" fmla="*/ 3573780 w 4095750"/>
                <a:gd name="connsiteY6" fmla="*/ 1333500 h 1455420"/>
                <a:gd name="connsiteX7" fmla="*/ 3562350 w 4095750"/>
                <a:gd name="connsiteY7" fmla="*/ 1322070 h 1455420"/>
                <a:gd name="connsiteX8" fmla="*/ 3509010 w 4095750"/>
                <a:gd name="connsiteY8" fmla="*/ 1322070 h 1455420"/>
                <a:gd name="connsiteX9" fmla="*/ 3486150 w 4095750"/>
                <a:gd name="connsiteY9" fmla="*/ 1299210 h 1455420"/>
                <a:gd name="connsiteX10" fmla="*/ 3417570 w 4095750"/>
                <a:gd name="connsiteY10" fmla="*/ 1299210 h 1455420"/>
                <a:gd name="connsiteX11" fmla="*/ 3417570 w 4095750"/>
                <a:gd name="connsiteY11" fmla="*/ 1268730 h 1455420"/>
                <a:gd name="connsiteX12" fmla="*/ 3314700 w 4095750"/>
                <a:gd name="connsiteY12" fmla="*/ 1268730 h 1455420"/>
                <a:gd name="connsiteX13" fmla="*/ 3314700 w 4095750"/>
                <a:gd name="connsiteY13" fmla="*/ 1268730 h 1455420"/>
                <a:gd name="connsiteX14" fmla="*/ 3288030 w 4095750"/>
                <a:gd name="connsiteY14" fmla="*/ 1242060 h 1455420"/>
                <a:gd name="connsiteX15" fmla="*/ 3288030 w 4095750"/>
                <a:gd name="connsiteY15" fmla="*/ 1203960 h 1455420"/>
                <a:gd name="connsiteX16" fmla="*/ 3253740 w 4095750"/>
                <a:gd name="connsiteY16" fmla="*/ 1203960 h 1455420"/>
                <a:gd name="connsiteX17" fmla="*/ 3253740 w 4095750"/>
                <a:gd name="connsiteY17" fmla="*/ 1177290 h 1455420"/>
                <a:gd name="connsiteX18" fmla="*/ 3215640 w 4095750"/>
                <a:gd name="connsiteY18" fmla="*/ 1177290 h 1455420"/>
                <a:gd name="connsiteX19" fmla="*/ 3215640 w 4095750"/>
                <a:gd name="connsiteY19" fmla="*/ 1150620 h 1455420"/>
                <a:gd name="connsiteX20" fmla="*/ 3158490 w 4095750"/>
                <a:gd name="connsiteY20" fmla="*/ 1150620 h 1455420"/>
                <a:gd name="connsiteX21" fmla="*/ 3158490 w 4095750"/>
                <a:gd name="connsiteY21" fmla="*/ 1108710 h 1455420"/>
                <a:gd name="connsiteX22" fmla="*/ 3074670 w 4095750"/>
                <a:gd name="connsiteY22" fmla="*/ 1108710 h 1455420"/>
                <a:gd name="connsiteX23" fmla="*/ 3074670 w 4095750"/>
                <a:gd name="connsiteY23" fmla="*/ 1089660 h 1455420"/>
                <a:gd name="connsiteX24" fmla="*/ 3074670 w 4095750"/>
                <a:gd name="connsiteY24" fmla="*/ 1089660 h 1455420"/>
                <a:gd name="connsiteX25" fmla="*/ 3044190 w 4095750"/>
                <a:gd name="connsiteY25" fmla="*/ 1059180 h 1455420"/>
                <a:gd name="connsiteX26" fmla="*/ 2952750 w 4095750"/>
                <a:gd name="connsiteY26" fmla="*/ 1059180 h 1455420"/>
                <a:gd name="connsiteX27" fmla="*/ 2952750 w 4095750"/>
                <a:gd name="connsiteY27" fmla="*/ 1059180 h 1455420"/>
                <a:gd name="connsiteX28" fmla="*/ 2926080 w 4095750"/>
                <a:gd name="connsiteY28" fmla="*/ 1032510 h 1455420"/>
                <a:gd name="connsiteX29" fmla="*/ 2910840 w 4095750"/>
                <a:gd name="connsiteY29" fmla="*/ 1017270 h 1455420"/>
                <a:gd name="connsiteX30" fmla="*/ 2857500 w 4095750"/>
                <a:gd name="connsiteY30" fmla="*/ 1017270 h 1455420"/>
                <a:gd name="connsiteX31" fmla="*/ 2857500 w 4095750"/>
                <a:gd name="connsiteY31" fmla="*/ 990600 h 1455420"/>
                <a:gd name="connsiteX32" fmla="*/ 2815590 w 4095750"/>
                <a:gd name="connsiteY32" fmla="*/ 990600 h 1455420"/>
                <a:gd name="connsiteX33" fmla="*/ 2815590 w 4095750"/>
                <a:gd name="connsiteY33" fmla="*/ 967740 h 1455420"/>
                <a:gd name="connsiteX34" fmla="*/ 2758440 w 4095750"/>
                <a:gd name="connsiteY34" fmla="*/ 967740 h 1455420"/>
                <a:gd name="connsiteX35" fmla="*/ 2758440 w 4095750"/>
                <a:gd name="connsiteY35" fmla="*/ 967740 h 1455420"/>
                <a:gd name="connsiteX36" fmla="*/ 2674620 w 4095750"/>
                <a:gd name="connsiteY36" fmla="*/ 967740 h 1455420"/>
                <a:gd name="connsiteX37" fmla="*/ 2674620 w 4095750"/>
                <a:gd name="connsiteY37" fmla="*/ 922020 h 1455420"/>
                <a:gd name="connsiteX38" fmla="*/ 2613660 w 4095750"/>
                <a:gd name="connsiteY38" fmla="*/ 922020 h 1455420"/>
                <a:gd name="connsiteX39" fmla="*/ 2613660 w 4095750"/>
                <a:gd name="connsiteY39" fmla="*/ 899160 h 1455420"/>
                <a:gd name="connsiteX40" fmla="*/ 2556510 w 4095750"/>
                <a:gd name="connsiteY40" fmla="*/ 899160 h 1455420"/>
                <a:gd name="connsiteX41" fmla="*/ 2556510 w 4095750"/>
                <a:gd name="connsiteY41" fmla="*/ 880110 h 1455420"/>
                <a:gd name="connsiteX42" fmla="*/ 2476500 w 4095750"/>
                <a:gd name="connsiteY42" fmla="*/ 880110 h 1455420"/>
                <a:gd name="connsiteX43" fmla="*/ 2476500 w 4095750"/>
                <a:gd name="connsiteY43" fmla="*/ 857250 h 1455420"/>
                <a:gd name="connsiteX44" fmla="*/ 2446020 w 4095750"/>
                <a:gd name="connsiteY44" fmla="*/ 857250 h 1455420"/>
                <a:gd name="connsiteX45" fmla="*/ 2446020 w 4095750"/>
                <a:gd name="connsiteY45" fmla="*/ 857250 h 1455420"/>
                <a:gd name="connsiteX46" fmla="*/ 2415540 w 4095750"/>
                <a:gd name="connsiteY46" fmla="*/ 826770 h 1455420"/>
                <a:gd name="connsiteX47" fmla="*/ 2388870 w 4095750"/>
                <a:gd name="connsiteY47" fmla="*/ 800100 h 1455420"/>
                <a:gd name="connsiteX48" fmla="*/ 2270760 w 4095750"/>
                <a:gd name="connsiteY48" fmla="*/ 800100 h 1455420"/>
                <a:gd name="connsiteX49" fmla="*/ 2270760 w 4095750"/>
                <a:gd name="connsiteY49" fmla="*/ 777240 h 1455420"/>
                <a:gd name="connsiteX50" fmla="*/ 2179320 w 4095750"/>
                <a:gd name="connsiteY50" fmla="*/ 777240 h 1455420"/>
                <a:gd name="connsiteX51" fmla="*/ 2179320 w 4095750"/>
                <a:gd name="connsiteY51" fmla="*/ 742950 h 1455420"/>
                <a:gd name="connsiteX52" fmla="*/ 2118360 w 4095750"/>
                <a:gd name="connsiteY52" fmla="*/ 742950 h 1455420"/>
                <a:gd name="connsiteX53" fmla="*/ 2118360 w 4095750"/>
                <a:gd name="connsiteY53" fmla="*/ 712470 h 1455420"/>
                <a:gd name="connsiteX54" fmla="*/ 2034540 w 4095750"/>
                <a:gd name="connsiteY54" fmla="*/ 712470 h 1455420"/>
                <a:gd name="connsiteX55" fmla="*/ 2034540 w 4095750"/>
                <a:gd name="connsiteY55" fmla="*/ 697230 h 1455420"/>
                <a:gd name="connsiteX56" fmla="*/ 2000250 w 4095750"/>
                <a:gd name="connsiteY56" fmla="*/ 697230 h 1455420"/>
                <a:gd name="connsiteX57" fmla="*/ 2000250 w 4095750"/>
                <a:gd name="connsiteY57" fmla="*/ 666750 h 1455420"/>
                <a:gd name="connsiteX58" fmla="*/ 1950720 w 4095750"/>
                <a:gd name="connsiteY58" fmla="*/ 666750 h 1455420"/>
                <a:gd name="connsiteX59" fmla="*/ 1950720 w 4095750"/>
                <a:gd name="connsiteY59" fmla="*/ 643890 h 1455420"/>
                <a:gd name="connsiteX60" fmla="*/ 1916430 w 4095750"/>
                <a:gd name="connsiteY60" fmla="*/ 643890 h 1455420"/>
                <a:gd name="connsiteX61" fmla="*/ 1916430 w 4095750"/>
                <a:gd name="connsiteY61" fmla="*/ 643890 h 1455420"/>
                <a:gd name="connsiteX62" fmla="*/ 1885950 w 4095750"/>
                <a:gd name="connsiteY62" fmla="*/ 613410 h 1455420"/>
                <a:gd name="connsiteX63" fmla="*/ 1866900 w 4095750"/>
                <a:gd name="connsiteY63" fmla="*/ 594360 h 1455420"/>
                <a:gd name="connsiteX64" fmla="*/ 1813560 w 4095750"/>
                <a:gd name="connsiteY64" fmla="*/ 594360 h 1455420"/>
                <a:gd name="connsiteX65" fmla="*/ 1813560 w 4095750"/>
                <a:gd name="connsiteY65" fmla="*/ 575310 h 1455420"/>
                <a:gd name="connsiteX66" fmla="*/ 1752600 w 4095750"/>
                <a:gd name="connsiteY66" fmla="*/ 575310 h 1455420"/>
                <a:gd name="connsiteX67" fmla="*/ 1752600 w 4095750"/>
                <a:gd name="connsiteY67" fmla="*/ 552450 h 1455420"/>
                <a:gd name="connsiteX68" fmla="*/ 1695450 w 4095750"/>
                <a:gd name="connsiteY68" fmla="*/ 552450 h 1455420"/>
                <a:gd name="connsiteX69" fmla="*/ 1695450 w 4095750"/>
                <a:gd name="connsiteY69" fmla="*/ 529590 h 1455420"/>
                <a:gd name="connsiteX70" fmla="*/ 1638300 w 4095750"/>
                <a:gd name="connsiteY70" fmla="*/ 529590 h 1455420"/>
                <a:gd name="connsiteX71" fmla="*/ 1638300 w 4095750"/>
                <a:gd name="connsiteY71" fmla="*/ 502920 h 1455420"/>
                <a:gd name="connsiteX72" fmla="*/ 1539240 w 4095750"/>
                <a:gd name="connsiteY72" fmla="*/ 502920 h 1455420"/>
                <a:gd name="connsiteX73" fmla="*/ 1539240 w 4095750"/>
                <a:gd name="connsiteY73" fmla="*/ 453390 h 1455420"/>
                <a:gd name="connsiteX74" fmla="*/ 1470660 w 4095750"/>
                <a:gd name="connsiteY74" fmla="*/ 453390 h 1455420"/>
                <a:gd name="connsiteX75" fmla="*/ 1470660 w 4095750"/>
                <a:gd name="connsiteY75" fmla="*/ 422910 h 1455420"/>
                <a:gd name="connsiteX76" fmla="*/ 1451610 w 4095750"/>
                <a:gd name="connsiteY76" fmla="*/ 422910 h 1455420"/>
                <a:gd name="connsiteX77" fmla="*/ 1451610 w 4095750"/>
                <a:gd name="connsiteY77" fmla="*/ 411480 h 1455420"/>
                <a:gd name="connsiteX78" fmla="*/ 1367790 w 4095750"/>
                <a:gd name="connsiteY78" fmla="*/ 411480 h 1455420"/>
                <a:gd name="connsiteX79" fmla="*/ 1367790 w 4095750"/>
                <a:gd name="connsiteY79" fmla="*/ 373380 h 1455420"/>
                <a:gd name="connsiteX80" fmla="*/ 1337310 w 4095750"/>
                <a:gd name="connsiteY80" fmla="*/ 373380 h 1455420"/>
                <a:gd name="connsiteX81" fmla="*/ 1337310 w 4095750"/>
                <a:gd name="connsiteY81" fmla="*/ 373380 h 1455420"/>
                <a:gd name="connsiteX82" fmla="*/ 1337310 w 4095750"/>
                <a:gd name="connsiteY82" fmla="*/ 373380 h 1455420"/>
                <a:gd name="connsiteX83" fmla="*/ 1337310 w 4095750"/>
                <a:gd name="connsiteY83" fmla="*/ 373380 h 1455420"/>
                <a:gd name="connsiteX84" fmla="*/ 1337310 w 4095750"/>
                <a:gd name="connsiteY84" fmla="*/ 373380 h 1455420"/>
                <a:gd name="connsiteX85" fmla="*/ 1337310 w 4095750"/>
                <a:gd name="connsiteY85" fmla="*/ 354330 h 1455420"/>
                <a:gd name="connsiteX86" fmla="*/ 1264920 w 4095750"/>
                <a:gd name="connsiteY86" fmla="*/ 354330 h 1455420"/>
                <a:gd name="connsiteX87" fmla="*/ 1264920 w 4095750"/>
                <a:gd name="connsiteY87" fmla="*/ 327660 h 1455420"/>
                <a:gd name="connsiteX88" fmla="*/ 1188720 w 4095750"/>
                <a:gd name="connsiteY88" fmla="*/ 327660 h 1455420"/>
                <a:gd name="connsiteX89" fmla="*/ 1188720 w 4095750"/>
                <a:gd name="connsiteY89" fmla="*/ 304800 h 1455420"/>
                <a:gd name="connsiteX90" fmla="*/ 1131570 w 4095750"/>
                <a:gd name="connsiteY90" fmla="*/ 304800 h 1455420"/>
                <a:gd name="connsiteX91" fmla="*/ 1131570 w 4095750"/>
                <a:gd name="connsiteY91" fmla="*/ 274320 h 1455420"/>
                <a:gd name="connsiteX92" fmla="*/ 1043940 w 4095750"/>
                <a:gd name="connsiteY92" fmla="*/ 274320 h 1455420"/>
                <a:gd name="connsiteX93" fmla="*/ 1043940 w 4095750"/>
                <a:gd name="connsiteY93" fmla="*/ 243840 h 1455420"/>
                <a:gd name="connsiteX94" fmla="*/ 975360 w 4095750"/>
                <a:gd name="connsiteY94" fmla="*/ 243840 h 1455420"/>
                <a:gd name="connsiteX95" fmla="*/ 975360 w 4095750"/>
                <a:gd name="connsiteY95" fmla="*/ 224790 h 1455420"/>
                <a:gd name="connsiteX96" fmla="*/ 902970 w 4095750"/>
                <a:gd name="connsiteY96" fmla="*/ 224790 h 1455420"/>
                <a:gd name="connsiteX97" fmla="*/ 902970 w 4095750"/>
                <a:gd name="connsiteY97" fmla="*/ 209550 h 1455420"/>
                <a:gd name="connsiteX98" fmla="*/ 803910 w 4095750"/>
                <a:gd name="connsiteY98" fmla="*/ 209550 h 1455420"/>
                <a:gd name="connsiteX99" fmla="*/ 803910 w 4095750"/>
                <a:gd name="connsiteY99" fmla="*/ 186690 h 1455420"/>
                <a:gd name="connsiteX100" fmla="*/ 742950 w 4095750"/>
                <a:gd name="connsiteY100" fmla="*/ 186690 h 1455420"/>
                <a:gd name="connsiteX101" fmla="*/ 742950 w 4095750"/>
                <a:gd name="connsiteY101" fmla="*/ 186690 h 1455420"/>
                <a:gd name="connsiteX102" fmla="*/ 693420 w 4095750"/>
                <a:gd name="connsiteY102" fmla="*/ 186690 h 1455420"/>
                <a:gd name="connsiteX103" fmla="*/ 693420 w 4095750"/>
                <a:gd name="connsiteY103" fmla="*/ 144780 h 1455420"/>
                <a:gd name="connsiteX104" fmla="*/ 651510 w 4095750"/>
                <a:gd name="connsiteY104" fmla="*/ 144780 h 1455420"/>
                <a:gd name="connsiteX105" fmla="*/ 651510 w 4095750"/>
                <a:gd name="connsiteY105" fmla="*/ 125730 h 1455420"/>
                <a:gd name="connsiteX106" fmla="*/ 613410 w 4095750"/>
                <a:gd name="connsiteY106" fmla="*/ 125730 h 1455420"/>
                <a:gd name="connsiteX107" fmla="*/ 613410 w 4095750"/>
                <a:gd name="connsiteY107" fmla="*/ 99060 h 1455420"/>
                <a:gd name="connsiteX108" fmla="*/ 563880 w 4095750"/>
                <a:gd name="connsiteY108" fmla="*/ 99060 h 1455420"/>
                <a:gd name="connsiteX109" fmla="*/ 563880 w 4095750"/>
                <a:gd name="connsiteY109" fmla="*/ 99060 h 1455420"/>
                <a:gd name="connsiteX110" fmla="*/ 521970 w 4095750"/>
                <a:gd name="connsiteY110" fmla="*/ 99060 h 1455420"/>
                <a:gd name="connsiteX111" fmla="*/ 521970 w 4095750"/>
                <a:gd name="connsiteY111" fmla="*/ 64770 h 1455420"/>
                <a:gd name="connsiteX112" fmla="*/ 403860 w 4095750"/>
                <a:gd name="connsiteY112" fmla="*/ 64770 h 1455420"/>
                <a:gd name="connsiteX113" fmla="*/ 403860 w 4095750"/>
                <a:gd name="connsiteY113" fmla="*/ 30480 h 1455420"/>
                <a:gd name="connsiteX114" fmla="*/ 308610 w 4095750"/>
                <a:gd name="connsiteY114" fmla="*/ 30480 h 1455420"/>
                <a:gd name="connsiteX115" fmla="*/ 308610 w 4095750"/>
                <a:gd name="connsiteY115" fmla="*/ 15240 h 1455420"/>
                <a:gd name="connsiteX116" fmla="*/ 205740 w 4095750"/>
                <a:gd name="connsiteY116" fmla="*/ 15240 h 1455420"/>
                <a:gd name="connsiteX117" fmla="*/ 205740 w 4095750"/>
                <a:gd name="connsiteY117" fmla="*/ 0 h 1455420"/>
                <a:gd name="connsiteX118" fmla="*/ 0 w 4095750"/>
                <a:gd name="connsiteY118" fmla="*/ 0 h 1455420"/>
                <a:gd name="connsiteX0" fmla="*/ 4095750 w 4095750"/>
                <a:gd name="connsiteY0" fmla="*/ 1455420 h 1455420"/>
                <a:gd name="connsiteX1" fmla="*/ 4095750 w 4095750"/>
                <a:gd name="connsiteY1" fmla="*/ 1455420 h 1455420"/>
                <a:gd name="connsiteX2" fmla="*/ 3707130 w 4095750"/>
                <a:gd name="connsiteY2" fmla="*/ 1455420 h 1455420"/>
                <a:gd name="connsiteX3" fmla="*/ 3707130 w 4095750"/>
                <a:gd name="connsiteY3" fmla="*/ 1390650 h 1455420"/>
                <a:gd name="connsiteX4" fmla="*/ 3615690 w 4095750"/>
                <a:gd name="connsiteY4" fmla="*/ 1390650 h 1455420"/>
                <a:gd name="connsiteX5" fmla="*/ 3615690 w 4095750"/>
                <a:gd name="connsiteY5" fmla="*/ 1333500 h 1455420"/>
                <a:gd name="connsiteX6" fmla="*/ 3573780 w 4095750"/>
                <a:gd name="connsiteY6" fmla="*/ 1333500 h 1455420"/>
                <a:gd name="connsiteX7" fmla="*/ 3562350 w 4095750"/>
                <a:gd name="connsiteY7" fmla="*/ 1322070 h 1455420"/>
                <a:gd name="connsiteX8" fmla="*/ 3509010 w 4095750"/>
                <a:gd name="connsiteY8" fmla="*/ 1322070 h 1455420"/>
                <a:gd name="connsiteX9" fmla="*/ 3486150 w 4095750"/>
                <a:gd name="connsiteY9" fmla="*/ 1299210 h 1455420"/>
                <a:gd name="connsiteX10" fmla="*/ 3417570 w 4095750"/>
                <a:gd name="connsiteY10" fmla="*/ 1299210 h 1455420"/>
                <a:gd name="connsiteX11" fmla="*/ 3417570 w 4095750"/>
                <a:gd name="connsiteY11" fmla="*/ 1268730 h 1455420"/>
                <a:gd name="connsiteX12" fmla="*/ 3314700 w 4095750"/>
                <a:gd name="connsiteY12" fmla="*/ 1268730 h 1455420"/>
                <a:gd name="connsiteX13" fmla="*/ 3314700 w 4095750"/>
                <a:gd name="connsiteY13" fmla="*/ 1268730 h 1455420"/>
                <a:gd name="connsiteX14" fmla="*/ 3288030 w 4095750"/>
                <a:gd name="connsiteY14" fmla="*/ 1242060 h 1455420"/>
                <a:gd name="connsiteX15" fmla="*/ 3288030 w 4095750"/>
                <a:gd name="connsiteY15" fmla="*/ 1203960 h 1455420"/>
                <a:gd name="connsiteX16" fmla="*/ 3253740 w 4095750"/>
                <a:gd name="connsiteY16" fmla="*/ 1203960 h 1455420"/>
                <a:gd name="connsiteX17" fmla="*/ 3253740 w 4095750"/>
                <a:gd name="connsiteY17" fmla="*/ 1177290 h 1455420"/>
                <a:gd name="connsiteX18" fmla="*/ 3215640 w 4095750"/>
                <a:gd name="connsiteY18" fmla="*/ 1177290 h 1455420"/>
                <a:gd name="connsiteX19" fmla="*/ 3215640 w 4095750"/>
                <a:gd name="connsiteY19" fmla="*/ 1150620 h 1455420"/>
                <a:gd name="connsiteX20" fmla="*/ 3158490 w 4095750"/>
                <a:gd name="connsiteY20" fmla="*/ 1150620 h 1455420"/>
                <a:gd name="connsiteX21" fmla="*/ 3158490 w 4095750"/>
                <a:gd name="connsiteY21" fmla="*/ 1108710 h 1455420"/>
                <a:gd name="connsiteX22" fmla="*/ 3074670 w 4095750"/>
                <a:gd name="connsiteY22" fmla="*/ 1108710 h 1455420"/>
                <a:gd name="connsiteX23" fmla="*/ 3074670 w 4095750"/>
                <a:gd name="connsiteY23" fmla="*/ 1089660 h 1455420"/>
                <a:gd name="connsiteX24" fmla="*/ 3074670 w 4095750"/>
                <a:gd name="connsiteY24" fmla="*/ 1089660 h 1455420"/>
                <a:gd name="connsiteX25" fmla="*/ 3044190 w 4095750"/>
                <a:gd name="connsiteY25" fmla="*/ 1059180 h 1455420"/>
                <a:gd name="connsiteX26" fmla="*/ 2952750 w 4095750"/>
                <a:gd name="connsiteY26" fmla="*/ 1059180 h 1455420"/>
                <a:gd name="connsiteX27" fmla="*/ 2952750 w 4095750"/>
                <a:gd name="connsiteY27" fmla="*/ 1059180 h 1455420"/>
                <a:gd name="connsiteX28" fmla="*/ 2926080 w 4095750"/>
                <a:gd name="connsiteY28" fmla="*/ 1032510 h 1455420"/>
                <a:gd name="connsiteX29" fmla="*/ 2910840 w 4095750"/>
                <a:gd name="connsiteY29" fmla="*/ 1017270 h 1455420"/>
                <a:gd name="connsiteX30" fmla="*/ 2857500 w 4095750"/>
                <a:gd name="connsiteY30" fmla="*/ 1017270 h 1455420"/>
                <a:gd name="connsiteX31" fmla="*/ 2857500 w 4095750"/>
                <a:gd name="connsiteY31" fmla="*/ 990600 h 1455420"/>
                <a:gd name="connsiteX32" fmla="*/ 2815590 w 4095750"/>
                <a:gd name="connsiteY32" fmla="*/ 990600 h 1455420"/>
                <a:gd name="connsiteX33" fmla="*/ 2815590 w 4095750"/>
                <a:gd name="connsiteY33" fmla="*/ 967740 h 1455420"/>
                <a:gd name="connsiteX34" fmla="*/ 2758440 w 4095750"/>
                <a:gd name="connsiteY34" fmla="*/ 967740 h 1455420"/>
                <a:gd name="connsiteX35" fmla="*/ 2758440 w 4095750"/>
                <a:gd name="connsiteY35" fmla="*/ 967740 h 1455420"/>
                <a:gd name="connsiteX36" fmla="*/ 2674620 w 4095750"/>
                <a:gd name="connsiteY36" fmla="*/ 967740 h 1455420"/>
                <a:gd name="connsiteX37" fmla="*/ 2674620 w 4095750"/>
                <a:gd name="connsiteY37" fmla="*/ 922020 h 1455420"/>
                <a:gd name="connsiteX38" fmla="*/ 2613660 w 4095750"/>
                <a:gd name="connsiteY38" fmla="*/ 922020 h 1455420"/>
                <a:gd name="connsiteX39" fmla="*/ 2613660 w 4095750"/>
                <a:gd name="connsiteY39" fmla="*/ 899160 h 1455420"/>
                <a:gd name="connsiteX40" fmla="*/ 2556510 w 4095750"/>
                <a:gd name="connsiteY40" fmla="*/ 899160 h 1455420"/>
                <a:gd name="connsiteX41" fmla="*/ 2556510 w 4095750"/>
                <a:gd name="connsiteY41" fmla="*/ 880110 h 1455420"/>
                <a:gd name="connsiteX42" fmla="*/ 2476500 w 4095750"/>
                <a:gd name="connsiteY42" fmla="*/ 880110 h 1455420"/>
                <a:gd name="connsiteX43" fmla="*/ 2476500 w 4095750"/>
                <a:gd name="connsiteY43" fmla="*/ 857250 h 1455420"/>
                <a:gd name="connsiteX44" fmla="*/ 2446020 w 4095750"/>
                <a:gd name="connsiteY44" fmla="*/ 857250 h 1455420"/>
                <a:gd name="connsiteX45" fmla="*/ 2446020 w 4095750"/>
                <a:gd name="connsiteY45" fmla="*/ 857250 h 1455420"/>
                <a:gd name="connsiteX46" fmla="*/ 2415540 w 4095750"/>
                <a:gd name="connsiteY46" fmla="*/ 826770 h 1455420"/>
                <a:gd name="connsiteX47" fmla="*/ 2354580 w 4095750"/>
                <a:gd name="connsiteY47" fmla="*/ 811530 h 1455420"/>
                <a:gd name="connsiteX48" fmla="*/ 2270760 w 4095750"/>
                <a:gd name="connsiteY48" fmla="*/ 800100 h 1455420"/>
                <a:gd name="connsiteX49" fmla="*/ 2270760 w 4095750"/>
                <a:gd name="connsiteY49" fmla="*/ 777240 h 1455420"/>
                <a:gd name="connsiteX50" fmla="*/ 2179320 w 4095750"/>
                <a:gd name="connsiteY50" fmla="*/ 777240 h 1455420"/>
                <a:gd name="connsiteX51" fmla="*/ 2179320 w 4095750"/>
                <a:gd name="connsiteY51" fmla="*/ 742950 h 1455420"/>
                <a:gd name="connsiteX52" fmla="*/ 2118360 w 4095750"/>
                <a:gd name="connsiteY52" fmla="*/ 742950 h 1455420"/>
                <a:gd name="connsiteX53" fmla="*/ 2118360 w 4095750"/>
                <a:gd name="connsiteY53" fmla="*/ 712470 h 1455420"/>
                <a:gd name="connsiteX54" fmla="*/ 2034540 w 4095750"/>
                <a:gd name="connsiteY54" fmla="*/ 712470 h 1455420"/>
                <a:gd name="connsiteX55" fmla="*/ 2034540 w 4095750"/>
                <a:gd name="connsiteY55" fmla="*/ 697230 h 1455420"/>
                <a:gd name="connsiteX56" fmla="*/ 2000250 w 4095750"/>
                <a:gd name="connsiteY56" fmla="*/ 697230 h 1455420"/>
                <a:gd name="connsiteX57" fmla="*/ 2000250 w 4095750"/>
                <a:gd name="connsiteY57" fmla="*/ 666750 h 1455420"/>
                <a:gd name="connsiteX58" fmla="*/ 1950720 w 4095750"/>
                <a:gd name="connsiteY58" fmla="*/ 666750 h 1455420"/>
                <a:gd name="connsiteX59" fmla="*/ 1950720 w 4095750"/>
                <a:gd name="connsiteY59" fmla="*/ 643890 h 1455420"/>
                <a:gd name="connsiteX60" fmla="*/ 1916430 w 4095750"/>
                <a:gd name="connsiteY60" fmla="*/ 643890 h 1455420"/>
                <a:gd name="connsiteX61" fmla="*/ 1916430 w 4095750"/>
                <a:gd name="connsiteY61" fmla="*/ 643890 h 1455420"/>
                <a:gd name="connsiteX62" fmla="*/ 1885950 w 4095750"/>
                <a:gd name="connsiteY62" fmla="*/ 613410 h 1455420"/>
                <a:gd name="connsiteX63" fmla="*/ 1866900 w 4095750"/>
                <a:gd name="connsiteY63" fmla="*/ 594360 h 1455420"/>
                <a:gd name="connsiteX64" fmla="*/ 1813560 w 4095750"/>
                <a:gd name="connsiteY64" fmla="*/ 594360 h 1455420"/>
                <a:gd name="connsiteX65" fmla="*/ 1813560 w 4095750"/>
                <a:gd name="connsiteY65" fmla="*/ 575310 h 1455420"/>
                <a:gd name="connsiteX66" fmla="*/ 1752600 w 4095750"/>
                <a:gd name="connsiteY66" fmla="*/ 575310 h 1455420"/>
                <a:gd name="connsiteX67" fmla="*/ 1752600 w 4095750"/>
                <a:gd name="connsiteY67" fmla="*/ 552450 h 1455420"/>
                <a:gd name="connsiteX68" fmla="*/ 1695450 w 4095750"/>
                <a:gd name="connsiteY68" fmla="*/ 552450 h 1455420"/>
                <a:gd name="connsiteX69" fmla="*/ 1695450 w 4095750"/>
                <a:gd name="connsiteY69" fmla="*/ 529590 h 1455420"/>
                <a:gd name="connsiteX70" fmla="*/ 1638300 w 4095750"/>
                <a:gd name="connsiteY70" fmla="*/ 529590 h 1455420"/>
                <a:gd name="connsiteX71" fmla="*/ 1638300 w 4095750"/>
                <a:gd name="connsiteY71" fmla="*/ 502920 h 1455420"/>
                <a:gd name="connsiteX72" fmla="*/ 1539240 w 4095750"/>
                <a:gd name="connsiteY72" fmla="*/ 502920 h 1455420"/>
                <a:gd name="connsiteX73" fmla="*/ 1539240 w 4095750"/>
                <a:gd name="connsiteY73" fmla="*/ 453390 h 1455420"/>
                <a:gd name="connsiteX74" fmla="*/ 1470660 w 4095750"/>
                <a:gd name="connsiteY74" fmla="*/ 453390 h 1455420"/>
                <a:gd name="connsiteX75" fmla="*/ 1470660 w 4095750"/>
                <a:gd name="connsiteY75" fmla="*/ 422910 h 1455420"/>
                <a:gd name="connsiteX76" fmla="*/ 1451610 w 4095750"/>
                <a:gd name="connsiteY76" fmla="*/ 422910 h 1455420"/>
                <a:gd name="connsiteX77" fmla="*/ 1451610 w 4095750"/>
                <a:gd name="connsiteY77" fmla="*/ 411480 h 1455420"/>
                <a:gd name="connsiteX78" fmla="*/ 1367790 w 4095750"/>
                <a:gd name="connsiteY78" fmla="*/ 411480 h 1455420"/>
                <a:gd name="connsiteX79" fmla="*/ 1367790 w 4095750"/>
                <a:gd name="connsiteY79" fmla="*/ 373380 h 1455420"/>
                <a:gd name="connsiteX80" fmla="*/ 1337310 w 4095750"/>
                <a:gd name="connsiteY80" fmla="*/ 373380 h 1455420"/>
                <a:gd name="connsiteX81" fmla="*/ 1337310 w 4095750"/>
                <a:gd name="connsiteY81" fmla="*/ 373380 h 1455420"/>
                <a:gd name="connsiteX82" fmla="*/ 1337310 w 4095750"/>
                <a:gd name="connsiteY82" fmla="*/ 373380 h 1455420"/>
                <a:gd name="connsiteX83" fmla="*/ 1337310 w 4095750"/>
                <a:gd name="connsiteY83" fmla="*/ 373380 h 1455420"/>
                <a:gd name="connsiteX84" fmla="*/ 1337310 w 4095750"/>
                <a:gd name="connsiteY84" fmla="*/ 373380 h 1455420"/>
                <a:gd name="connsiteX85" fmla="*/ 1337310 w 4095750"/>
                <a:gd name="connsiteY85" fmla="*/ 354330 h 1455420"/>
                <a:gd name="connsiteX86" fmla="*/ 1264920 w 4095750"/>
                <a:gd name="connsiteY86" fmla="*/ 354330 h 1455420"/>
                <a:gd name="connsiteX87" fmla="*/ 1264920 w 4095750"/>
                <a:gd name="connsiteY87" fmla="*/ 327660 h 1455420"/>
                <a:gd name="connsiteX88" fmla="*/ 1188720 w 4095750"/>
                <a:gd name="connsiteY88" fmla="*/ 327660 h 1455420"/>
                <a:gd name="connsiteX89" fmla="*/ 1188720 w 4095750"/>
                <a:gd name="connsiteY89" fmla="*/ 304800 h 1455420"/>
                <a:gd name="connsiteX90" fmla="*/ 1131570 w 4095750"/>
                <a:gd name="connsiteY90" fmla="*/ 304800 h 1455420"/>
                <a:gd name="connsiteX91" fmla="*/ 1131570 w 4095750"/>
                <a:gd name="connsiteY91" fmla="*/ 274320 h 1455420"/>
                <a:gd name="connsiteX92" fmla="*/ 1043940 w 4095750"/>
                <a:gd name="connsiteY92" fmla="*/ 274320 h 1455420"/>
                <a:gd name="connsiteX93" fmla="*/ 1043940 w 4095750"/>
                <a:gd name="connsiteY93" fmla="*/ 243840 h 1455420"/>
                <a:gd name="connsiteX94" fmla="*/ 975360 w 4095750"/>
                <a:gd name="connsiteY94" fmla="*/ 243840 h 1455420"/>
                <a:gd name="connsiteX95" fmla="*/ 975360 w 4095750"/>
                <a:gd name="connsiteY95" fmla="*/ 224790 h 1455420"/>
                <a:gd name="connsiteX96" fmla="*/ 902970 w 4095750"/>
                <a:gd name="connsiteY96" fmla="*/ 224790 h 1455420"/>
                <a:gd name="connsiteX97" fmla="*/ 902970 w 4095750"/>
                <a:gd name="connsiteY97" fmla="*/ 209550 h 1455420"/>
                <a:gd name="connsiteX98" fmla="*/ 803910 w 4095750"/>
                <a:gd name="connsiteY98" fmla="*/ 209550 h 1455420"/>
                <a:gd name="connsiteX99" fmla="*/ 803910 w 4095750"/>
                <a:gd name="connsiteY99" fmla="*/ 186690 h 1455420"/>
                <a:gd name="connsiteX100" fmla="*/ 742950 w 4095750"/>
                <a:gd name="connsiteY100" fmla="*/ 186690 h 1455420"/>
                <a:gd name="connsiteX101" fmla="*/ 742950 w 4095750"/>
                <a:gd name="connsiteY101" fmla="*/ 186690 h 1455420"/>
                <a:gd name="connsiteX102" fmla="*/ 693420 w 4095750"/>
                <a:gd name="connsiteY102" fmla="*/ 186690 h 1455420"/>
                <a:gd name="connsiteX103" fmla="*/ 693420 w 4095750"/>
                <a:gd name="connsiteY103" fmla="*/ 144780 h 1455420"/>
                <a:gd name="connsiteX104" fmla="*/ 651510 w 4095750"/>
                <a:gd name="connsiteY104" fmla="*/ 144780 h 1455420"/>
                <a:gd name="connsiteX105" fmla="*/ 651510 w 4095750"/>
                <a:gd name="connsiteY105" fmla="*/ 125730 h 1455420"/>
                <a:gd name="connsiteX106" fmla="*/ 613410 w 4095750"/>
                <a:gd name="connsiteY106" fmla="*/ 125730 h 1455420"/>
                <a:gd name="connsiteX107" fmla="*/ 613410 w 4095750"/>
                <a:gd name="connsiteY107" fmla="*/ 99060 h 1455420"/>
                <a:gd name="connsiteX108" fmla="*/ 563880 w 4095750"/>
                <a:gd name="connsiteY108" fmla="*/ 99060 h 1455420"/>
                <a:gd name="connsiteX109" fmla="*/ 563880 w 4095750"/>
                <a:gd name="connsiteY109" fmla="*/ 99060 h 1455420"/>
                <a:gd name="connsiteX110" fmla="*/ 521970 w 4095750"/>
                <a:gd name="connsiteY110" fmla="*/ 99060 h 1455420"/>
                <a:gd name="connsiteX111" fmla="*/ 521970 w 4095750"/>
                <a:gd name="connsiteY111" fmla="*/ 64770 h 1455420"/>
                <a:gd name="connsiteX112" fmla="*/ 403860 w 4095750"/>
                <a:gd name="connsiteY112" fmla="*/ 64770 h 1455420"/>
                <a:gd name="connsiteX113" fmla="*/ 403860 w 4095750"/>
                <a:gd name="connsiteY113" fmla="*/ 30480 h 1455420"/>
                <a:gd name="connsiteX114" fmla="*/ 308610 w 4095750"/>
                <a:gd name="connsiteY114" fmla="*/ 30480 h 1455420"/>
                <a:gd name="connsiteX115" fmla="*/ 308610 w 4095750"/>
                <a:gd name="connsiteY115" fmla="*/ 15240 h 1455420"/>
                <a:gd name="connsiteX116" fmla="*/ 205740 w 4095750"/>
                <a:gd name="connsiteY116" fmla="*/ 15240 h 1455420"/>
                <a:gd name="connsiteX117" fmla="*/ 205740 w 4095750"/>
                <a:gd name="connsiteY117" fmla="*/ 0 h 1455420"/>
                <a:gd name="connsiteX118" fmla="*/ 0 w 4095750"/>
                <a:gd name="connsiteY118" fmla="*/ 0 h 1455420"/>
                <a:gd name="connsiteX0" fmla="*/ 4095750 w 4095750"/>
                <a:gd name="connsiteY0" fmla="*/ 1455420 h 1455420"/>
                <a:gd name="connsiteX1" fmla="*/ 4095750 w 4095750"/>
                <a:gd name="connsiteY1" fmla="*/ 1455420 h 1455420"/>
                <a:gd name="connsiteX2" fmla="*/ 3707130 w 4095750"/>
                <a:gd name="connsiteY2" fmla="*/ 1455420 h 1455420"/>
                <a:gd name="connsiteX3" fmla="*/ 3707130 w 4095750"/>
                <a:gd name="connsiteY3" fmla="*/ 1390650 h 1455420"/>
                <a:gd name="connsiteX4" fmla="*/ 3615690 w 4095750"/>
                <a:gd name="connsiteY4" fmla="*/ 1390650 h 1455420"/>
                <a:gd name="connsiteX5" fmla="*/ 3615690 w 4095750"/>
                <a:gd name="connsiteY5" fmla="*/ 1333500 h 1455420"/>
                <a:gd name="connsiteX6" fmla="*/ 3573780 w 4095750"/>
                <a:gd name="connsiteY6" fmla="*/ 1333500 h 1455420"/>
                <a:gd name="connsiteX7" fmla="*/ 3562350 w 4095750"/>
                <a:gd name="connsiteY7" fmla="*/ 1322070 h 1455420"/>
                <a:gd name="connsiteX8" fmla="*/ 3509010 w 4095750"/>
                <a:gd name="connsiteY8" fmla="*/ 1322070 h 1455420"/>
                <a:gd name="connsiteX9" fmla="*/ 3486150 w 4095750"/>
                <a:gd name="connsiteY9" fmla="*/ 1299210 h 1455420"/>
                <a:gd name="connsiteX10" fmla="*/ 3417570 w 4095750"/>
                <a:gd name="connsiteY10" fmla="*/ 1299210 h 1455420"/>
                <a:gd name="connsiteX11" fmla="*/ 3417570 w 4095750"/>
                <a:gd name="connsiteY11" fmla="*/ 1268730 h 1455420"/>
                <a:gd name="connsiteX12" fmla="*/ 3314700 w 4095750"/>
                <a:gd name="connsiteY12" fmla="*/ 1268730 h 1455420"/>
                <a:gd name="connsiteX13" fmla="*/ 3314700 w 4095750"/>
                <a:gd name="connsiteY13" fmla="*/ 1268730 h 1455420"/>
                <a:gd name="connsiteX14" fmla="*/ 3288030 w 4095750"/>
                <a:gd name="connsiteY14" fmla="*/ 1242060 h 1455420"/>
                <a:gd name="connsiteX15" fmla="*/ 3288030 w 4095750"/>
                <a:gd name="connsiteY15" fmla="*/ 1203960 h 1455420"/>
                <a:gd name="connsiteX16" fmla="*/ 3253740 w 4095750"/>
                <a:gd name="connsiteY16" fmla="*/ 1203960 h 1455420"/>
                <a:gd name="connsiteX17" fmla="*/ 3253740 w 4095750"/>
                <a:gd name="connsiteY17" fmla="*/ 1177290 h 1455420"/>
                <a:gd name="connsiteX18" fmla="*/ 3215640 w 4095750"/>
                <a:gd name="connsiteY18" fmla="*/ 1177290 h 1455420"/>
                <a:gd name="connsiteX19" fmla="*/ 3215640 w 4095750"/>
                <a:gd name="connsiteY19" fmla="*/ 1150620 h 1455420"/>
                <a:gd name="connsiteX20" fmla="*/ 3158490 w 4095750"/>
                <a:gd name="connsiteY20" fmla="*/ 1150620 h 1455420"/>
                <a:gd name="connsiteX21" fmla="*/ 3158490 w 4095750"/>
                <a:gd name="connsiteY21" fmla="*/ 1108710 h 1455420"/>
                <a:gd name="connsiteX22" fmla="*/ 3074670 w 4095750"/>
                <a:gd name="connsiteY22" fmla="*/ 1108710 h 1455420"/>
                <a:gd name="connsiteX23" fmla="*/ 3074670 w 4095750"/>
                <a:gd name="connsiteY23" fmla="*/ 1089660 h 1455420"/>
                <a:gd name="connsiteX24" fmla="*/ 3074670 w 4095750"/>
                <a:gd name="connsiteY24" fmla="*/ 1089660 h 1455420"/>
                <a:gd name="connsiteX25" fmla="*/ 3044190 w 4095750"/>
                <a:gd name="connsiteY25" fmla="*/ 1059180 h 1455420"/>
                <a:gd name="connsiteX26" fmla="*/ 2952750 w 4095750"/>
                <a:gd name="connsiteY26" fmla="*/ 1059180 h 1455420"/>
                <a:gd name="connsiteX27" fmla="*/ 2952750 w 4095750"/>
                <a:gd name="connsiteY27" fmla="*/ 1059180 h 1455420"/>
                <a:gd name="connsiteX28" fmla="*/ 2926080 w 4095750"/>
                <a:gd name="connsiteY28" fmla="*/ 1032510 h 1455420"/>
                <a:gd name="connsiteX29" fmla="*/ 2910840 w 4095750"/>
                <a:gd name="connsiteY29" fmla="*/ 1017270 h 1455420"/>
                <a:gd name="connsiteX30" fmla="*/ 2857500 w 4095750"/>
                <a:gd name="connsiteY30" fmla="*/ 1017270 h 1455420"/>
                <a:gd name="connsiteX31" fmla="*/ 2857500 w 4095750"/>
                <a:gd name="connsiteY31" fmla="*/ 990600 h 1455420"/>
                <a:gd name="connsiteX32" fmla="*/ 2815590 w 4095750"/>
                <a:gd name="connsiteY32" fmla="*/ 990600 h 1455420"/>
                <a:gd name="connsiteX33" fmla="*/ 2815590 w 4095750"/>
                <a:gd name="connsiteY33" fmla="*/ 967740 h 1455420"/>
                <a:gd name="connsiteX34" fmla="*/ 2758440 w 4095750"/>
                <a:gd name="connsiteY34" fmla="*/ 967740 h 1455420"/>
                <a:gd name="connsiteX35" fmla="*/ 2758440 w 4095750"/>
                <a:gd name="connsiteY35" fmla="*/ 967740 h 1455420"/>
                <a:gd name="connsiteX36" fmla="*/ 2674620 w 4095750"/>
                <a:gd name="connsiteY36" fmla="*/ 967740 h 1455420"/>
                <a:gd name="connsiteX37" fmla="*/ 2674620 w 4095750"/>
                <a:gd name="connsiteY37" fmla="*/ 922020 h 1455420"/>
                <a:gd name="connsiteX38" fmla="*/ 2613660 w 4095750"/>
                <a:gd name="connsiteY38" fmla="*/ 922020 h 1455420"/>
                <a:gd name="connsiteX39" fmla="*/ 2613660 w 4095750"/>
                <a:gd name="connsiteY39" fmla="*/ 899160 h 1455420"/>
                <a:gd name="connsiteX40" fmla="*/ 2556510 w 4095750"/>
                <a:gd name="connsiteY40" fmla="*/ 899160 h 1455420"/>
                <a:gd name="connsiteX41" fmla="*/ 2556510 w 4095750"/>
                <a:gd name="connsiteY41" fmla="*/ 880110 h 1455420"/>
                <a:gd name="connsiteX42" fmla="*/ 2476500 w 4095750"/>
                <a:gd name="connsiteY42" fmla="*/ 880110 h 1455420"/>
                <a:gd name="connsiteX43" fmla="*/ 2476500 w 4095750"/>
                <a:gd name="connsiteY43" fmla="*/ 857250 h 1455420"/>
                <a:gd name="connsiteX44" fmla="*/ 2446020 w 4095750"/>
                <a:gd name="connsiteY44" fmla="*/ 857250 h 1455420"/>
                <a:gd name="connsiteX45" fmla="*/ 2446020 w 4095750"/>
                <a:gd name="connsiteY45" fmla="*/ 857250 h 1455420"/>
                <a:gd name="connsiteX46" fmla="*/ 2388870 w 4095750"/>
                <a:gd name="connsiteY46" fmla="*/ 830580 h 1455420"/>
                <a:gd name="connsiteX47" fmla="*/ 2354580 w 4095750"/>
                <a:gd name="connsiteY47" fmla="*/ 811530 h 1455420"/>
                <a:gd name="connsiteX48" fmla="*/ 2270760 w 4095750"/>
                <a:gd name="connsiteY48" fmla="*/ 800100 h 1455420"/>
                <a:gd name="connsiteX49" fmla="*/ 2270760 w 4095750"/>
                <a:gd name="connsiteY49" fmla="*/ 777240 h 1455420"/>
                <a:gd name="connsiteX50" fmla="*/ 2179320 w 4095750"/>
                <a:gd name="connsiteY50" fmla="*/ 777240 h 1455420"/>
                <a:gd name="connsiteX51" fmla="*/ 2179320 w 4095750"/>
                <a:gd name="connsiteY51" fmla="*/ 742950 h 1455420"/>
                <a:gd name="connsiteX52" fmla="*/ 2118360 w 4095750"/>
                <a:gd name="connsiteY52" fmla="*/ 742950 h 1455420"/>
                <a:gd name="connsiteX53" fmla="*/ 2118360 w 4095750"/>
                <a:gd name="connsiteY53" fmla="*/ 712470 h 1455420"/>
                <a:gd name="connsiteX54" fmla="*/ 2034540 w 4095750"/>
                <a:gd name="connsiteY54" fmla="*/ 712470 h 1455420"/>
                <a:gd name="connsiteX55" fmla="*/ 2034540 w 4095750"/>
                <a:gd name="connsiteY55" fmla="*/ 697230 h 1455420"/>
                <a:gd name="connsiteX56" fmla="*/ 2000250 w 4095750"/>
                <a:gd name="connsiteY56" fmla="*/ 697230 h 1455420"/>
                <a:gd name="connsiteX57" fmla="*/ 2000250 w 4095750"/>
                <a:gd name="connsiteY57" fmla="*/ 666750 h 1455420"/>
                <a:gd name="connsiteX58" fmla="*/ 1950720 w 4095750"/>
                <a:gd name="connsiteY58" fmla="*/ 666750 h 1455420"/>
                <a:gd name="connsiteX59" fmla="*/ 1950720 w 4095750"/>
                <a:gd name="connsiteY59" fmla="*/ 643890 h 1455420"/>
                <a:gd name="connsiteX60" fmla="*/ 1916430 w 4095750"/>
                <a:gd name="connsiteY60" fmla="*/ 643890 h 1455420"/>
                <a:gd name="connsiteX61" fmla="*/ 1916430 w 4095750"/>
                <a:gd name="connsiteY61" fmla="*/ 643890 h 1455420"/>
                <a:gd name="connsiteX62" fmla="*/ 1885950 w 4095750"/>
                <a:gd name="connsiteY62" fmla="*/ 613410 h 1455420"/>
                <a:gd name="connsiteX63" fmla="*/ 1866900 w 4095750"/>
                <a:gd name="connsiteY63" fmla="*/ 594360 h 1455420"/>
                <a:gd name="connsiteX64" fmla="*/ 1813560 w 4095750"/>
                <a:gd name="connsiteY64" fmla="*/ 594360 h 1455420"/>
                <a:gd name="connsiteX65" fmla="*/ 1813560 w 4095750"/>
                <a:gd name="connsiteY65" fmla="*/ 575310 h 1455420"/>
                <a:gd name="connsiteX66" fmla="*/ 1752600 w 4095750"/>
                <a:gd name="connsiteY66" fmla="*/ 575310 h 1455420"/>
                <a:gd name="connsiteX67" fmla="*/ 1752600 w 4095750"/>
                <a:gd name="connsiteY67" fmla="*/ 552450 h 1455420"/>
                <a:gd name="connsiteX68" fmla="*/ 1695450 w 4095750"/>
                <a:gd name="connsiteY68" fmla="*/ 552450 h 1455420"/>
                <a:gd name="connsiteX69" fmla="*/ 1695450 w 4095750"/>
                <a:gd name="connsiteY69" fmla="*/ 529590 h 1455420"/>
                <a:gd name="connsiteX70" fmla="*/ 1638300 w 4095750"/>
                <a:gd name="connsiteY70" fmla="*/ 529590 h 1455420"/>
                <a:gd name="connsiteX71" fmla="*/ 1638300 w 4095750"/>
                <a:gd name="connsiteY71" fmla="*/ 502920 h 1455420"/>
                <a:gd name="connsiteX72" fmla="*/ 1539240 w 4095750"/>
                <a:gd name="connsiteY72" fmla="*/ 502920 h 1455420"/>
                <a:gd name="connsiteX73" fmla="*/ 1539240 w 4095750"/>
                <a:gd name="connsiteY73" fmla="*/ 453390 h 1455420"/>
                <a:gd name="connsiteX74" fmla="*/ 1470660 w 4095750"/>
                <a:gd name="connsiteY74" fmla="*/ 453390 h 1455420"/>
                <a:gd name="connsiteX75" fmla="*/ 1470660 w 4095750"/>
                <a:gd name="connsiteY75" fmla="*/ 422910 h 1455420"/>
                <a:gd name="connsiteX76" fmla="*/ 1451610 w 4095750"/>
                <a:gd name="connsiteY76" fmla="*/ 422910 h 1455420"/>
                <a:gd name="connsiteX77" fmla="*/ 1451610 w 4095750"/>
                <a:gd name="connsiteY77" fmla="*/ 411480 h 1455420"/>
                <a:gd name="connsiteX78" fmla="*/ 1367790 w 4095750"/>
                <a:gd name="connsiteY78" fmla="*/ 411480 h 1455420"/>
                <a:gd name="connsiteX79" fmla="*/ 1367790 w 4095750"/>
                <a:gd name="connsiteY79" fmla="*/ 373380 h 1455420"/>
                <a:gd name="connsiteX80" fmla="*/ 1337310 w 4095750"/>
                <a:gd name="connsiteY80" fmla="*/ 373380 h 1455420"/>
                <a:gd name="connsiteX81" fmla="*/ 1337310 w 4095750"/>
                <a:gd name="connsiteY81" fmla="*/ 373380 h 1455420"/>
                <a:gd name="connsiteX82" fmla="*/ 1337310 w 4095750"/>
                <a:gd name="connsiteY82" fmla="*/ 373380 h 1455420"/>
                <a:gd name="connsiteX83" fmla="*/ 1337310 w 4095750"/>
                <a:gd name="connsiteY83" fmla="*/ 373380 h 1455420"/>
                <a:gd name="connsiteX84" fmla="*/ 1337310 w 4095750"/>
                <a:gd name="connsiteY84" fmla="*/ 373380 h 1455420"/>
                <a:gd name="connsiteX85" fmla="*/ 1337310 w 4095750"/>
                <a:gd name="connsiteY85" fmla="*/ 354330 h 1455420"/>
                <a:gd name="connsiteX86" fmla="*/ 1264920 w 4095750"/>
                <a:gd name="connsiteY86" fmla="*/ 354330 h 1455420"/>
                <a:gd name="connsiteX87" fmla="*/ 1264920 w 4095750"/>
                <a:gd name="connsiteY87" fmla="*/ 327660 h 1455420"/>
                <a:gd name="connsiteX88" fmla="*/ 1188720 w 4095750"/>
                <a:gd name="connsiteY88" fmla="*/ 327660 h 1455420"/>
                <a:gd name="connsiteX89" fmla="*/ 1188720 w 4095750"/>
                <a:gd name="connsiteY89" fmla="*/ 304800 h 1455420"/>
                <a:gd name="connsiteX90" fmla="*/ 1131570 w 4095750"/>
                <a:gd name="connsiteY90" fmla="*/ 304800 h 1455420"/>
                <a:gd name="connsiteX91" fmla="*/ 1131570 w 4095750"/>
                <a:gd name="connsiteY91" fmla="*/ 274320 h 1455420"/>
                <a:gd name="connsiteX92" fmla="*/ 1043940 w 4095750"/>
                <a:gd name="connsiteY92" fmla="*/ 274320 h 1455420"/>
                <a:gd name="connsiteX93" fmla="*/ 1043940 w 4095750"/>
                <a:gd name="connsiteY93" fmla="*/ 243840 h 1455420"/>
                <a:gd name="connsiteX94" fmla="*/ 975360 w 4095750"/>
                <a:gd name="connsiteY94" fmla="*/ 243840 h 1455420"/>
                <a:gd name="connsiteX95" fmla="*/ 975360 w 4095750"/>
                <a:gd name="connsiteY95" fmla="*/ 224790 h 1455420"/>
                <a:gd name="connsiteX96" fmla="*/ 902970 w 4095750"/>
                <a:gd name="connsiteY96" fmla="*/ 224790 h 1455420"/>
                <a:gd name="connsiteX97" fmla="*/ 902970 w 4095750"/>
                <a:gd name="connsiteY97" fmla="*/ 209550 h 1455420"/>
                <a:gd name="connsiteX98" fmla="*/ 803910 w 4095750"/>
                <a:gd name="connsiteY98" fmla="*/ 209550 h 1455420"/>
                <a:gd name="connsiteX99" fmla="*/ 803910 w 4095750"/>
                <a:gd name="connsiteY99" fmla="*/ 186690 h 1455420"/>
                <a:gd name="connsiteX100" fmla="*/ 742950 w 4095750"/>
                <a:gd name="connsiteY100" fmla="*/ 186690 h 1455420"/>
                <a:gd name="connsiteX101" fmla="*/ 742950 w 4095750"/>
                <a:gd name="connsiteY101" fmla="*/ 186690 h 1455420"/>
                <a:gd name="connsiteX102" fmla="*/ 693420 w 4095750"/>
                <a:gd name="connsiteY102" fmla="*/ 186690 h 1455420"/>
                <a:gd name="connsiteX103" fmla="*/ 693420 w 4095750"/>
                <a:gd name="connsiteY103" fmla="*/ 144780 h 1455420"/>
                <a:gd name="connsiteX104" fmla="*/ 651510 w 4095750"/>
                <a:gd name="connsiteY104" fmla="*/ 144780 h 1455420"/>
                <a:gd name="connsiteX105" fmla="*/ 651510 w 4095750"/>
                <a:gd name="connsiteY105" fmla="*/ 125730 h 1455420"/>
                <a:gd name="connsiteX106" fmla="*/ 613410 w 4095750"/>
                <a:gd name="connsiteY106" fmla="*/ 125730 h 1455420"/>
                <a:gd name="connsiteX107" fmla="*/ 613410 w 4095750"/>
                <a:gd name="connsiteY107" fmla="*/ 99060 h 1455420"/>
                <a:gd name="connsiteX108" fmla="*/ 563880 w 4095750"/>
                <a:gd name="connsiteY108" fmla="*/ 99060 h 1455420"/>
                <a:gd name="connsiteX109" fmla="*/ 563880 w 4095750"/>
                <a:gd name="connsiteY109" fmla="*/ 99060 h 1455420"/>
                <a:gd name="connsiteX110" fmla="*/ 521970 w 4095750"/>
                <a:gd name="connsiteY110" fmla="*/ 99060 h 1455420"/>
                <a:gd name="connsiteX111" fmla="*/ 521970 w 4095750"/>
                <a:gd name="connsiteY111" fmla="*/ 64770 h 1455420"/>
                <a:gd name="connsiteX112" fmla="*/ 403860 w 4095750"/>
                <a:gd name="connsiteY112" fmla="*/ 64770 h 1455420"/>
                <a:gd name="connsiteX113" fmla="*/ 403860 w 4095750"/>
                <a:gd name="connsiteY113" fmla="*/ 30480 h 1455420"/>
                <a:gd name="connsiteX114" fmla="*/ 308610 w 4095750"/>
                <a:gd name="connsiteY114" fmla="*/ 30480 h 1455420"/>
                <a:gd name="connsiteX115" fmla="*/ 308610 w 4095750"/>
                <a:gd name="connsiteY115" fmla="*/ 15240 h 1455420"/>
                <a:gd name="connsiteX116" fmla="*/ 205740 w 4095750"/>
                <a:gd name="connsiteY116" fmla="*/ 15240 h 1455420"/>
                <a:gd name="connsiteX117" fmla="*/ 205740 w 4095750"/>
                <a:gd name="connsiteY117" fmla="*/ 0 h 1455420"/>
                <a:gd name="connsiteX118" fmla="*/ 0 w 4095750"/>
                <a:gd name="connsiteY118" fmla="*/ 0 h 1455420"/>
                <a:gd name="connsiteX0" fmla="*/ 4095750 w 4095750"/>
                <a:gd name="connsiteY0" fmla="*/ 1455420 h 1455420"/>
                <a:gd name="connsiteX1" fmla="*/ 4095750 w 4095750"/>
                <a:gd name="connsiteY1" fmla="*/ 1455420 h 1455420"/>
                <a:gd name="connsiteX2" fmla="*/ 3707130 w 4095750"/>
                <a:gd name="connsiteY2" fmla="*/ 1455420 h 1455420"/>
                <a:gd name="connsiteX3" fmla="*/ 3707130 w 4095750"/>
                <a:gd name="connsiteY3" fmla="*/ 1390650 h 1455420"/>
                <a:gd name="connsiteX4" fmla="*/ 3615690 w 4095750"/>
                <a:gd name="connsiteY4" fmla="*/ 1390650 h 1455420"/>
                <a:gd name="connsiteX5" fmla="*/ 3615690 w 4095750"/>
                <a:gd name="connsiteY5" fmla="*/ 1333500 h 1455420"/>
                <a:gd name="connsiteX6" fmla="*/ 3573780 w 4095750"/>
                <a:gd name="connsiteY6" fmla="*/ 1333500 h 1455420"/>
                <a:gd name="connsiteX7" fmla="*/ 3562350 w 4095750"/>
                <a:gd name="connsiteY7" fmla="*/ 1322070 h 1455420"/>
                <a:gd name="connsiteX8" fmla="*/ 3509010 w 4095750"/>
                <a:gd name="connsiteY8" fmla="*/ 1322070 h 1455420"/>
                <a:gd name="connsiteX9" fmla="*/ 3486150 w 4095750"/>
                <a:gd name="connsiteY9" fmla="*/ 1299210 h 1455420"/>
                <a:gd name="connsiteX10" fmla="*/ 3417570 w 4095750"/>
                <a:gd name="connsiteY10" fmla="*/ 1299210 h 1455420"/>
                <a:gd name="connsiteX11" fmla="*/ 3417570 w 4095750"/>
                <a:gd name="connsiteY11" fmla="*/ 1268730 h 1455420"/>
                <a:gd name="connsiteX12" fmla="*/ 3314700 w 4095750"/>
                <a:gd name="connsiteY12" fmla="*/ 1268730 h 1455420"/>
                <a:gd name="connsiteX13" fmla="*/ 3314700 w 4095750"/>
                <a:gd name="connsiteY13" fmla="*/ 1268730 h 1455420"/>
                <a:gd name="connsiteX14" fmla="*/ 3288030 w 4095750"/>
                <a:gd name="connsiteY14" fmla="*/ 1242060 h 1455420"/>
                <a:gd name="connsiteX15" fmla="*/ 3288030 w 4095750"/>
                <a:gd name="connsiteY15" fmla="*/ 1203960 h 1455420"/>
                <a:gd name="connsiteX16" fmla="*/ 3253740 w 4095750"/>
                <a:gd name="connsiteY16" fmla="*/ 1203960 h 1455420"/>
                <a:gd name="connsiteX17" fmla="*/ 3253740 w 4095750"/>
                <a:gd name="connsiteY17" fmla="*/ 1177290 h 1455420"/>
                <a:gd name="connsiteX18" fmla="*/ 3215640 w 4095750"/>
                <a:gd name="connsiteY18" fmla="*/ 1177290 h 1455420"/>
                <a:gd name="connsiteX19" fmla="*/ 3215640 w 4095750"/>
                <a:gd name="connsiteY19" fmla="*/ 1150620 h 1455420"/>
                <a:gd name="connsiteX20" fmla="*/ 3158490 w 4095750"/>
                <a:gd name="connsiteY20" fmla="*/ 1150620 h 1455420"/>
                <a:gd name="connsiteX21" fmla="*/ 3158490 w 4095750"/>
                <a:gd name="connsiteY21" fmla="*/ 1108710 h 1455420"/>
                <a:gd name="connsiteX22" fmla="*/ 3074670 w 4095750"/>
                <a:gd name="connsiteY22" fmla="*/ 1108710 h 1455420"/>
                <a:gd name="connsiteX23" fmla="*/ 3074670 w 4095750"/>
                <a:gd name="connsiteY23" fmla="*/ 1089660 h 1455420"/>
                <a:gd name="connsiteX24" fmla="*/ 3074670 w 4095750"/>
                <a:gd name="connsiteY24" fmla="*/ 1089660 h 1455420"/>
                <a:gd name="connsiteX25" fmla="*/ 3044190 w 4095750"/>
                <a:gd name="connsiteY25" fmla="*/ 1059180 h 1455420"/>
                <a:gd name="connsiteX26" fmla="*/ 2952750 w 4095750"/>
                <a:gd name="connsiteY26" fmla="*/ 1059180 h 1455420"/>
                <a:gd name="connsiteX27" fmla="*/ 2952750 w 4095750"/>
                <a:gd name="connsiteY27" fmla="*/ 1059180 h 1455420"/>
                <a:gd name="connsiteX28" fmla="*/ 2926080 w 4095750"/>
                <a:gd name="connsiteY28" fmla="*/ 1032510 h 1455420"/>
                <a:gd name="connsiteX29" fmla="*/ 2910840 w 4095750"/>
                <a:gd name="connsiteY29" fmla="*/ 1017270 h 1455420"/>
                <a:gd name="connsiteX30" fmla="*/ 2857500 w 4095750"/>
                <a:gd name="connsiteY30" fmla="*/ 1017270 h 1455420"/>
                <a:gd name="connsiteX31" fmla="*/ 2857500 w 4095750"/>
                <a:gd name="connsiteY31" fmla="*/ 990600 h 1455420"/>
                <a:gd name="connsiteX32" fmla="*/ 2815590 w 4095750"/>
                <a:gd name="connsiteY32" fmla="*/ 990600 h 1455420"/>
                <a:gd name="connsiteX33" fmla="*/ 2815590 w 4095750"/>
                <a:gd name="connsiteY33" fmla="*/ 967740 h 1455420"/>
                <a:gd name="connsiteX34" fmla="*/ 2758440 w 4095750"/>
                <a:gd name="connsiteY34" fmla="*/ 967740 h 1455420"/>
                <a:gd name="connsiteX35" fmla="*/ 2758440 w 4095750"/>
                <a:gd name="connsiteY35" fmla="*/ 967740 h 1455420"/>
                <a:gd name="connsiteX36" fmla="*/ 2674620 w 4095750"/>
                <a:gd name="connsiteY36" fmla="*/ 967740 h 1455420"/>
                <a:gd name="connsiteX37" fmla="*/ 2674620 w 4095750"/>
                <a:gd name="connsiteY37" fmla="*/ 922020 h 1455420"/>
                <a:gd name="connsiteX38" fmla="*/ 2613660 w 4095750"/>
                <a:gd name="connsiteY38" fmla="*/ 922020 h 1455420"/>
                <a:gd name="connsiteX39" fmla="*/ 2613660 w 4095750"/>
                <a:gd name="connsiteY39" fmla="*/ 899160 h 1455420"/>
                <a:gd name="connsiteX40" fmla="*/ 2556510 w 4095750"/>
                <a:gd name="connsiteY40" fmla="*/ 899160 h 1455420"/>
                <a:gd name="connsiteX41" fmla="*/ 2556510 w 4095750"/>
                <a:gd name="connsiteY41" fmla="*/ 880110 h 1455420"/>
                <a:gd name="connsiteX42" fmla="*/ 2476500 w 4095750"/>
                <a:gd name="connsiteY42" fmla="*/ 880110 h 1455420"/>
                <a:gd name="connsiteX43" fmla="*/ 2476500 w 4095750"/>
                <a:gd name="connsiteY43" fmla="*/ 857250 h 1455420"/>
                <a:gd name="connsiteX44" fmla="*/ 2446020 w 4095750"/>
                <a:gd name="connsiteY44" fmla="*/ 857250 h 1455420"/>
                <a:gd name="connsiteX45" fmla="*/ 2453640 w 4095750"/>
                <a:gd name="connsiteY45" fmla="*/ 826770 h 1455420"/>
                <a:gd name="connsiteX46" fmla="*/ 2388870 w 4095750"/>
                <a:gd name="connsiteY46" fmla="*/ 830580 h 1455420"/>
                <a:gd name="connsiteX47" fmla="*/ 2354580 w 4095750"/>
                <a:gd name="connsiteY47" fmla="*/ 811530 h 1455420"/>
                <a:gd name="connsiteX48" fmla="*/ 2270760 w 4095750"/>
                <a:gd name="connsiteY48" fmla="*/ 800100 h 1455420"/>
                <a:gd name="connsiteX49" fmla="*/ 2270760 w 4095750"/>
                <a:gd name="connsiteY49" fmla="*/ 777240 h 1455420"/>
                <a:gd name="connsiteX50" fmla="*/ 2179320 w 4095750"/>
                <a:gd name="connsiteY50" fmla="*/ 777240 h 1455420"/>
                <a:gd name="connsiteX51" fmla="*/ 2179320 w 4095750"/>
                <a:gd name="connsiteY51" fmla="*/ 742950 h 1455420"/>
                <a:gd name="connsiteX52" fmla="*/ 2118360 w 4095750"/>
                <a:gd name="connsiteY52" fmla="*/ 742950 h 1455420"/>
                <a:gd name="connsiteX53" fmla="*/ 2118360 w 4095750"/>
                <a:gd name="connsiteY53" fmla="*/ 712470 h 1455420"/>
                <a:gd name="connsiteX54" fmla="*/ 2034540 w 4095750"/>
                <a:gd name="connsiteY54" fmla="*/ 712470 h 1455420"/>
                <a:gd name="connsiteX55" fmla="*/ 2034540 w 4095750"/>
                <a:gd name="connsiteY55" fmla="*/ 697230 h 1455420"/>
                <a:gd name="connsiteX56" fmla="*/ 2000250 w 4095750"/>
                <a:gd name="connsiteY56" fmla="*/ 697230 h 1455420"/>
                <a:gd name="connsiteX57" fmla="*/ 2000250 w 4095750"/>
                <a:gd name="connsiteY57" fmla="*/ 666750 h 1455420"/>
                <a:gd name="connsiteX58" fmla="*/ 1950720 w 4095750"/>
                <a:gd name="connsiteY58" fmla="*/ 666750 h 1455420"/>
                <a:gd name="connsiteX59" fmla="*/ 1950720 w 4095750"/>
                <a:gd name="connsiteY59" fmla="*/ 643890 h 1455420"/>
                <a:gd name="connsiteX60" fmla="*/ 1916430 w 4095750"/>
                <a:gd name="connsiteY60" fmla="*/ 643890 h 1455420"/>
                <a:gd name="connsiteX61" fmla="*/ 1916430 w 4095750"/>
                <a:gd name="connsiteY61" fmla="*/ 643890 h 1455420"/>
                <a:gd name="connsiteX62" fmla="*/ 1885950 w 4095750"/>
                <a:gd name="connsiteY62" fmla="*/ 613410 h 1455420"/>
                <a:gd name="connsiteX63" fmla="*/ 1866900 w 4095750"/>
                <a:gd name="connsiteY63" fmla="*/ 594360 h 1455420"/>
                <a:gd name="connsiteX64" fmla="*/ 1813560 w 4095750"/>
                <a:gd name="connsiteY64" fmla="*/ 594360 h 1455420"/>
                <a:gd name="connsiteX65" fmla="*/ 1813560 w 4095750"/>
                <a:gd name="connsiteY65" fmla="*/ 575310 h 1455420"/>
                <a:gd name="connsiteX66" fmla="*/ 1752600 w 4095750"/>
                <a:gd name="connsiteY66" fmla="*/ 575310 h 1455420"/>
                <a:gd name="connsiteX67" fmla="*/ 1752600 w 4095750"/>
                <a:gd name="connsiteY67" fmla="*/ 552450 h 1455420"/>
                <a:gd name="connsiteX68" fmla="*/ 1695450 w 4095750"/>
                <a:gd name="connsiteY68" fmla="*/ 552450 h 1455420"/>
                <a:gd name="connsiteX69" fmla="*/ 1695450 w 4095750"/>
                <a:gd name="connsiteY69" fmla="*/ 529590 h 1455420"/>
                <a:gd name="connsiteX70" fmla="*/ 1638300 w 4095750"/>
                <a:gd name="connsiteY70" fmla="*/ 529590 h 1455420"/>
                <a:gd name="connsiteX71" fmla="*/ 1638300 w 4095750"/>
                <a:gd name="connsiteY71" fmla="*/ 502920 h 1455420"/>
                <a:gd name="connsiteX72" fmla="*/ 1539240 w 4095750"/>
                <a:gd name="connsiteY72" fmla="*/ 502920 h 1455420"/>
                <a:gd name="connsiteX73" fmla="*/ 1539240 w 4095750"/>
                <a:gd name="connsiteY73" fmla="*/ 453390 h 1455420"/>
                <a:gd name="connsiteX74" fmla="*/ 1470660 w 4095750"/>
                <a:gd name="connsiteY74" fmla="*/ 453390 h 1455420"/>
                <a:gd name="connsiteX75" fmla="*/ 1470660 w 4095750"/>
                <a:gd name="connsiteY75" fmla="*/ 422910 h 1455420"/>
                <a:gd name="connsiteX76" fmla="*/ 1451610 w 4095750"/>
                <a:gd name="connsiteY76" fmla="*/ 422910 h 1455420"/>
                <a:gd name="connsiteX77" fmla="*/ 1451610 w 4095750"/>
                <a:gd name="connsiteY77" fmla="*/ 411480 h 1455420"/>
                <a:gd name="connsiteX78" fmla="*/ 1367790 w 4095750"/>
                <a:gd name="connsiteY78" fmla="*/ 411480 h 1455420"/>
                <a:gd name="connsiteX79" fmla="*/ 1367790 w 4095750"/>
                <a:gd name="connsiteY79" fmla="*/ 373380 h 1455420"/>
                <a:gd name="connsiteX80" fmla="*/ 1337310 w 4095750"/>
                <a:gd name="connsiteY80" fmla="*/ 373380 h 1455420"/>
                <a:gd name="connsiteX81" fmla="*/ 1337310 w 4095750"/>
                <a:gd name="connsiteY81" fmla="*/ 373380 h 1455420"/>
                <a:gd name="connsiteX82" fmla="*/ 1337310 w 4095750"/>
                <a:gd name="connsiteY82" fmla="*/ 373380 h 1455420"/>
                <a:gd name="connsiteX83" fmla="*/ 1337310 w 4095750"/>
                <a:gd name="connsiteY83" fmla="*/ 373380 h 1455420"/>
                <a:gd name="connsiteX84" fmla="*/ 1337310 w 4095750"/>
                <a:gd name="connsiteY84" fmla="*/ 373380 h 1455420"/>
                <a:gd name="connsiteX85" fmla="*/ 1337310 w 4095750"/>
                <a:gd name="connsiteY85" fmla="*/ 354330 h 1455420"/>
                <a:gd name="connsiteX86" fmla="*/ 1264920 w 4095750"/>
                <a:gd name="connsiteY86" fmla="*/ 354330 h 1455420"/>
                <a:gd name="connsiteX87" fmla="*/ 1264920 w 4095750"/>
                <a:gd name="connsiteY87" fmla="*/ 327660 h 1455420"/>
                <a:gd name="connsiteX88" fmla="*/ 1188720 w 4095750"/>
                <a:gd name="connsiteY88" fmla="*/ 327660 h 1455420"/>
                <a:gd name="connsiteX89" fmla="*/ 1188720 w 4095750"/>
                <a:gd name="connsiteY89" fmla="*/ 304800 h 1455420"/>
                <a:gd name="connsiteX90" fmla="*/ 1131570 w 4095750"/>
                <a:gd name="connsiteY90" fmla="*/ 304800 h 1455420"/>
                <a:gd name="connsiteX91" fmla="*/ 1131570 w 4095750"/>
                <a:gd name="connsiteY91" fmla="*/ 274320 h 1455420"/>
                <a:gd name="connsiteX92" fmla="*/ 1043940 w 4095750"/>
                <a:gd name="connsiteY92" fmla="*/ 274320 h 1455420"/>
                <a:gd name="connsiteX93" fmla="*/ 1043940 w 4095750"/>
                <a:gd name="connsiteY93" fmla="*/ 243840 h 1455420"/>
                <a:gd name="connsiteX94" fmla="*/ 975360 w 4095750"/>
                <a:gd name="connsiteY94" fmla="*/ 243840 h 1455420"/>
                <a:gd name="connsiteX95" fmla="*/ 975360 w 4095750"/>
                <a:gd name="connsiteY95" fmla="*/ 224790 h 1455420"/>
                <a:gd name="connsiteX96" fmla="*/ 902970 w 4095750"/>
                <a:gd name="connsiteY96" fmla="*/ 224790 h 1455420"/>
                <a:gd name="connsiteX97" fmla="*/ 902970 w 4095750"/>
                <a:gd name="connsiteY97" fmla="*/ 209550 h 1455420"/>
                <a:gd name="connsiteX98" fmla="*/ 803910 w 4095750"/>
                <a:gd name="connsiteY98" fmla="*/ 209550 h 1455420"/>
                <a:gd name="connsiteX99" fmla="*/ 803910 w 4095750"/>
                <a:gd name="connsiteY99" fmla="*/ 186690 h 1455420"/>
                <a:gd name="connsiteX100" fmla="*/ 742950 w 4095750"/>
                <a:gd name="connsiteY100" fmla="*/ 186690 h 1455420"/>
                <a:gd name="connsiteX101" fmla="*/ 742950 w 4095750"/>
                <a:gd name="connsiteY101" fmla="*/ 186690 h 1455420"/>
                <a:gd name="connsiteX102" fmla="*/ 693420 w 4095750"/>
                <a:gd name="connsiteY102" fmla="*/ 186690 h 1455420"/>
                <a:gd name="connsiteX103" fmla="*/ 693420 w 4095750"/>
                <a:gd name="connsiteY103" fmla="*/ 144780 h 1455420"/>
                <a:gd name="connsiteX104" fmla="*/ 651510 w 4095750"/>
                <a:gd name="connsiteY104" fmla="*/ 144780 h 1455420"/>
                <a:gd name="connsiteX105" fmla="*/ 651510 w 4095750"/>
                <a:gd name="connsiteY105" fmla="*/ 125730 h 1455420"/>
                <a:gd name="connsiteX106" fmla="*/ 613410 w 4095750"/>
                <a:gd name="connsiteY106" fmla="*/ 125730 h 1455420"/>
                <a:gd name="connsiteX107" fmla="*/ 613410 w 4095750"/>
                <a:gd name="connsiteY107" fmla="*/ 99060 h 1455420"/>
                <a:gd name="connsiteX108" fmla="*/ 563880 w 4095750"/>
                <a:gd name="connsiteY108" fmla="*/ 99060 h 1455420"/>
                <a:gd name="connsiteX109" fmla="*/ 563880 w 4095750"/>
                <a:gd name="connsiteY109" fmla="*/ 99060 h 1455420"/>
                <a:gd name="connsiteX110" fmla="*/ 521970 w 4095750"/>
                <a:gd name="connsiteY110" fmla="*/ 99060 h 1455420"/>
                <a:gd name="connsiteX111" fmla="*/ 521970 w 4095750"/>
                <a:gd name="connsiteY111" fmla="*/ 64770 h 1455420"/>
                <a:gd name="connsiteX112" fmla="*/ 403860 w 4095750"/>
                <a:gd name="connsiteY112" fmla="*/ 64770 h 1455420"/>
                <a:gd name="connsiteX113" fmla="*/ 403860 w 4095750"/>
                <a:gd name="connsiteY113" fmla="*/ 30480 h 1455420"/>
                <a:gd name="connsiteX114" fmla="*/ 308610 w 4095750"/>
                <a:gd name="connsiteY114" fmla="*/ 30480 h 1455420"/>
                <a:gd name="connsiteX115" fmla="*/ 308610 w 4095750"/>
                <a:gd name="connsiteY115" fmla="*/ 15240 h 1455420"/>
                <a:gd name="connsiteX116" fmla="*/ 205740 w 4095750"/>
                <a:gd name="connsiteY116" fmla="*/ 15240 h 1455420"/>
                <a:gd name="connsiteX117" fmla="*/ 205740 w 4095750"/>
                <a:gd name="connsiteY117" fmla="*/ 0 h 1455420"/>
                <a:gd name="connsiteX118" fmla="*/ 0 w 4095750"/>
                <a:gd name="connsiteY118" fmla="*/ 0 h 1455420"/>
                <a:gd name="connsiteX0" fmla="*/ 4095750 w 4095750"/>
                <a:gd name="connsiteY0" fmla="*/ 1455420 h 1455420"/>
                <a:gd name="connsiteX1" fmla="*/ 4095750 w 4095750"/>
                <a:gd name="connsiteY1" fmla="*/ 1455420 h 1455420"/>
                <a:gd name="connsiteX2" fmla="*/ 3707130 w 4095750"/>
                <a:gd name="connsiteY2" fmla="*/ 1455420 h 1455420"/>
                <a:gd name="connsiteX3" fmla="*/ 3707130 w 4095750"/>
                <a:gd name="connsiteY3" fmla="*/ 1390650 h 1455420"/>
                <a:gd name="connsiteX4" fmla="*/ 3615690 w 4095750"/>
                <a:gd name="connsiteY4" fmla="*/ 1390650 h 1455420"/>
                <a:gd name="connsiteX5" fmla="*/ 3615690 w 4095750"/>
                <a:gd name="connsiteY5" fmla="*/ 1333500 h 1455420"/>
                <a:gd name="connsiteX6" fmla="*/ 3573780 w 4095750"/>
                <a:gd name="connsiteY6" fmla="*/ 1333500 h 1455420"/>
                <a:gd name="connsiteX7" fmla="*/ 3562350 w 4095750"/>
                <a:gd name="connsiteY7" fmla="*/ 1322070 h 1455420"/>
                <a:gd name="connsiteX8" fmla="*/ 3509010 w 4095750"/>
                <a:gd name="connsiteY8" fmla="*/ 1322070 h 1455420"/>
                <a:gd name="connsiteX9" fmla="*/ 3486150 w 4095750"/>
                <a:gd name="connsiteY9" fmla="*/ 1299210 h 1455420"/>
                <a:gd name="connsiteX10" fmla="*/ 3417570 w 4095750"/>
                <a:gd name="connsiteY10" fmla="*/ 1299210 h 1455420"/>
                <a:gd name="connsiteX11" fmla="*/ 3417570 w 4095750"/>
                <a:gd name="connsiteY11" fmla="*/ 1268730 h 1455420"/>
                <a:gd name="connsiteX12" fmla="*/ 3314700 w 4095750"/>
                <a:gd name="connsiteY12" fmla="*/ 1268730 h 1455420"/>
                <a:gd name="connsiteX13" fmla="*/ 3314700 w 4095750"/>
                <a:gd name="connsiteY13" fmla="*/ 1268730 h 1455420"/>
                <a:gd name="connsiteX14" fmla="*/ 3288030 w 4095750"/>
                <a:gd name="connsiteY14" fmla="*/ 1242060 h 1455420"/>
                <a:gd name="connsiteX15" fmla="*/ 3288030 w 4095750"/>
                <a:gd name="connsiteY15" fmla="*/ 1203960 h 1455420"/>
                <a:gd name="connsiteX16" fmla="*/ 3253740 w 4095750"/>
                <a:gd name="connsiteY16" fmla="*/ 1203960 h 1455420"/>
                <a:gd name="connsiteX17" fmla="*/ 3253740 w 4095750"/>
                <a:gd name="connsiteY17" fmla="*/ 1177290 h 1455420"/>
                <a:gd name="connsiteX18" fmla="*/ 3215640 w 4095750"/>
                <a:gd name="connsiteY18" fmla="*/ 1177290 h 1455420"/>
                <a:gd name="connsiteX19" fmla="*/ 3215640 w 4095750"/>
                <a:gd name="connsiteY19" fmla="*/ 1150620 h 1455420"/>
                <a:gd name="connsiteX20" fmla="*/ 3158490 w 4095750"/>
                <a:gd name="connsiteY20" fmla="*/ 1150620 h 1455420"/>
                <a:gd name="connsiteX21" fmla="*/ 3158490 w 4095750"/>
                <a:gd name="connsiteY21" fmla="*/ 1108710 h 1455420"/>
                <a:gd name="connsiteX22" fmla="*/ 3074670 w 4095750"/>
                <a:gd name="connsiteY22" fmla="*/ 1108710 h 1455420"/>
                <a:gd name="connsiteX23" fmla="*/ 3074670 w 4095750"/>
                <a:gd name="connsiteY23" fmla="*/ 1089660 h 1455420"/>
                <a:gd name="connsiteX24" fmla="*/ 3074670 w 4095750"/>
                <a:gd name="connsiteY24" fmla="*/ 1089660 h 1455420"/>
                <a:gd name="connsiteX25" fmla="*/ 3044190 w 4095750"/>
                <a:gd name="connsiteY25" fmla="*/ 1059180 h 1455420"/>
                <a:gd name="connsiteX26" fmla="*/ 2952750 w 4095750"/>
                <a:gd name="connsiteY26" fmla="*/ 1059180 h 1455420"/>
                <a:gd name="connsiteX27" fmla="*/ 2952750 w 4095750"/>
                <a:gd name="connsiteY27" fmla="*/ 1059180 h 1455420"/>
                <a:gd name="connsiteX28" fmla="*/ 2926080 w 4095750"/>
                <a:gd name="connsiteY28" fmla="*/ 1032510 h 1455420"/>
                <a:gd name="connsiteX29" fmla="*/ 2910840 w 4095750"/>
                <a:gd name="connsiteY29" fmla="*/ 1017270 h 1455420"/>
                <a:gd name="connsiteX30" fmla="*/ 2857500 w 4095750"/>
                <a:gd name="connsiteY30" fmla="*/ 1017270 h 1455420"/>
                <a:gd name="connsiteX31" fmla="*/ 2857500 w 4095750"/>
                <a:gd name="connsiteY31" fmla="*/ 990600 h 1455420"/>
                <a:gd name="connsiteX32" fmla="*/ 2815590 w 4095750"/>
                <a:gd name="connsiteY32" fmla="*/ 990600 h 1455420"/>
                <a:gd name="connsiteX33" fmla="*/ 2815590 w 4095750"/>
                <a:gd name="connsiteY33" fmla="*/ 967740 h 1455420"/>
                <a:gd name="connsiteX34" fmla="*/ 2758440 w 4095750"/>
                <a:gd name="connsiteY34" fmla="*/ 967740 h 1455420"/>
                <a:gd name="connsiteX35" fmla="*/ 2758440 w 4095750"/>
                <a:gd name="connsiteY35" fmla="*/ 967740 h 1455420"/>
                <a:gd name="connsiteX36" fmla="*/ 2674620 w 4095750"/>
                <a:gd name="connsiteY36" fmla="*/ 967740 h 1455420"/>
                <a:gd name="connsiteX37" fmla="*/ 2674620 w 4095750"/>
                <a:gd name="connsiteY37" fmla="*/ 922020 h 1455420"/>
                <a:gd name="connsiteX38" fmla="*/ 2613660 w 4095750"/>
                <a:gd name="connsiteY38" fmla="*/ 922020 h 1455420"/>
                <a:gd name="connsiteX39" fmla="*/ 2613660 w 4095750"/>
                <a:gd name="connsiteY39" fmla="*/ 899160 h 1455420"/>
                <a:gd name="connsiteX40" fmla="*/ 2556510 w 4095750"/>
                <a:gd name="connsiteY40" fmla="*/ 899160 h 1455420"/>
                <a:gd name="connsiteX41" fmla="*/ 2556510 w 4095750"/>
                <a:gd name="connsiteY41" fmla="*/ 880110 h 1455420"/>
                <a:gd name="connsiteX42" fmla="*/ 2476500 w 4095750"/>
                <a:gd name="connsiteY42" fmla="*/ 880110 h 1455420"/>
                <a:gd name="connsiteX43" fmla="*/ 2476500 w 4095750"/>
                <a:gd name="connsiteY43" fmla="*/ 857250 h 1455420"/>
                <a:gd name="connsiteX44" fmla="*/ 2446020 w 4095750"/>
                <a:gd name="connsiteY44" fmla="*/ 857250 h 1455420"/>
                <a:gd name="connsiteX45" fmla="*/ 2438400 w 4095750"/>
                <a:gd name="connsiteY45" fmla="*/ 826770 h 1455420"/>
                <a:gd name="connsiteX46" fmla="*/ 2388870 w 4095750"/>
                <a:gd name="connsiteY46" fmla="*/ 830580 h 1455420"/>
                <a:gd name="connsiteX47" fmla="*/ 2354580 w 4095750"/>
                <a:gd name="connsiteY47" fmla="*/ 811530 h 1455420"/>
                <a:gd name="connsiteX48" fmla="*/ 2270760 w 4095750"/>
                <a:gd name="connsiteY48" fmla="*/ 800100 h 1455420"/>
                <a:gd name="connsiteX49" fmla="*/ 2270760 w 4095750"/>
                <a:gd name="connsiteY49" fmla="*/ 777240 h 1455420"/>
                <a:gd name="connsiteX50" fmla="*/ 2179320 w 4095750"/>
                <a:gd name="connsiteY50" fmla="*/ 777240 h 1455420"/>
                <a:gd name="connsiteX51" fmla="*/ 2179320 w 4095750"/>
                <a:gd name="connsiteY51" fmla="*/ 742950 h 1455420"/>
                <a:gd name="connsiteX52" fmla="*/ 2118360 w 4095750"/>
                <a:gd name="connsiteY52" fmla="*/ 742950 h 1455420"/>
                <a:gd name="connsiteX53" fmla="*/ 2118360 w 4095750"/>
                <a:gd name="connsiteY53" fmla="*/ 712470 h 1455420"/>
                <a:gd name="connsiteX54" fmla="*/ 2034540 w 4095750"/>
                <a:gd name="connsiteY54" fmla="*/ 712470 h 1455420"/>
                <a:gd name="connsiteX55" fmla="*/ 2034540 w 4095750"/>
                <a:gd name="connsiteY55" fmla="*/ 697230 h 1455420"/>
                <a:gd name="connsiteX56" fmla="*/ 2000250 w 4095750"/>
                <a:gd name="connsiteY56" fmla="*/ 697230 h 1455420"/>
                <a:gd name="connsiteX57" fmla="*/ 2000250 w 4095750"/>
                <a:gd name="connsiteY57" fmla="*/ 666750 h 1455420"/>
                <a:gd name="connsiteX58" fmla="*/ 1950720 w 4095750"/>
                <a:gd name="connsiteY58" fmla="*/ 666750 h 1455420"/>
                <a:gd name="connsiteX59" fmla="*/ 1950720 w 4095750"/>
                <a:gd name="connsiteY59" fmla="*/ 643890 h 1455420"/>
                <a:gd name="connsiteX60" fmla="*/ 1916430 w 4095750"/>
                <a:gd name="connsiteY60" fmla="*/ 643890 h 1455420"/>
                <a:gd name="connsiteX61" fmla="*/ 1916430 w 4095750"/>
                <a:gd name="connsiteY61" fmla="*/ 643890 h 1455420"/>
                <a:gd name="connsiteX62" fmla="*/ 1885950 w 4095750"/>
                <a:gd name="connsiteY62" fmla="*/ 613410 h 1455420"/>
                <a:gd name="connsiteX63" fmla="*/ 1866900 w 4095750"/>
                <a:gd name="connsiteY63" fmla="*/ 594360 h 1455420"/>
                <a:gd name="connsiteX64" fmla="*/ 1813560 w 4095750"/>
                <a:gd name="connsiteY64" fmla="*/ 594360 h 1455420"/>
                <a:gd name="connsiteX65" fmla="*/ 1813560 w 4095750"/>
                <a:gd name="connsiteY65" fmla="*/ 575310 h 1455420"/>
                <a:gd name="connsiteX66" fmla="*/ 1752600 w 4095750"/>
                <a:gd name="connsiteY66" fmla="*/ 575310 h 1455420"/>
                <a:gd name="connsiteX67" fmla="*/ 1752600 w 4095750"/>
                <a:gd name="connsiteY67" fmla="*/ 552450 h 1455420"/>
                <a:gd name="connsiteX68" fmla="*/ 1695450 w 4095750"/>
                <a:gd name="connsiteY68" fmla="*/ 552450 h 1455420"/>
                <a:gd name="connsiteX69" fmla="*/ 1695450 w 4095750"/>
                <a:gd name="connsiteY69" fmla="*/ 529590 h 1455420"/>
                <a:gd name="connsiteX70" fmla="*/ 1638300 w 4095750"/>
                <a:gd name="connsiteY70" fmla="*/ 529590 h 1455420"/>
                <a:gd name="connsiteX71" fmla="*/ 1638300 w 4095750"/>
                <a:gd name="connsiteY71" fmla="*/ 502920 h 1455420"/>
                <a:gd name="connsiteX72" fmla="*/ 1539240 w 4095750"/>
                <a:gd name="connsiteY72" fmla="*/ 502920 h 1455420"/>
                <a:gd name="connsiteX73" fmla="*/ 1539240 w 4095750"/>
                <a:gd name="connsiteY73" fmla="*/ 453390 h 1455420"/>
                <a:gd name="connsiteX74" fmla="*/ 1470660 w 4095750"/>
                <a:gd name="connsiteY74" fmla="*/ 453390 h 1455420"/>
                <a:gd name="connsiteX75" fmla="*/ 1470660 w 4095750"/>
                <a:gd name="connsiteY75" fmla="*/ 422910 h 1455420"/>
                <a:gd name="connsiteX76" fmla="*/ 1451610 w 4095750"/>
                <a:gd name="connsiteY76" fmla="*/ 422910 h 1455420"/>
                <a:gd name="connsiteX77" fmla="*/ 1451610 w 4095750"/>
                <a:gd name="connsiteY77" fmla="*/ 411480 h 1455420"/>
                <a:gd name="connsiteX78" fmla="*/ 1367790 w 4095750"/>
                <a:gd name="connsiteY78" fmla="*/ 411480 h 1455420"/>
                <a:gd name="connsiteX79" fmla="*/ 1367790 w 4095750"/>
                <a:gd name="connsiteY79" fmla="*/ 373380 h 1455420"/>
                <a:gd name="connsiteX80" fmla="*/ 1337310 w 4095750"/>
                <a:gd name="connsiteY80" fmla="*/ 373380 h 1455420"/>
                <a:gd name="connsiteX81" fmla="*/ 1337310 w 4095750"/>
                <a:gd name="connsiteY81" fmla="*/ 373380 h 1455420"/>
                <a:gd name="connsiteX82" fmla="*/ 1337310 w 4095750"/>
                <a:gd name="connsiteY82" fmla="*/ 373380 h 1455420"/>
                <a:gd name="connsiteX83" fmla="*/ 1337310 w 4095750"/>
                <a:gd name="connsiteY83" fmla="*/ 373380 h 1455420"/>
                <a:gd name="connsiteX84" fmla="*/ 1337310 w 4095750"/>
                <a:gd name="connsiteY84" fmla="*/ 373380 h 1455420"/>
                <a:gd name="connsiteX85" fmla="*/ 1337310 w 4095750"/>
                <a:gd name="connsiteY85" fmla="*/ 354330 h 1455420"/>
                <a:gd name="connsiteX86" fmla="*/ 1264920 w 4095750"/>
                <a:gd name="connsiteY86" fmla="*/ 354330 h 1455420"/>
                <a:gd name="connsiteX87" fmla="*/ 1264920 w 4095750"/>
                <a:gd name="connsiteY87" fmla="*/ 327660 h 1455420"/>
                <a:gd name="connsiteX88" fmla="*/ 1188720 w 4095750"/>
                <a:gd name="connsiteY88" fmla="*/ 327660 h 1455420"/>
                <a:gd name="connsiteX89" fmla="*/ 1188720 w 4095750"/>
                <a:gd name="connsiteY89" fmla="*/ 304800 h 1455420"/>
                <a:gd name="connsiteX90" fmla="*/ 1131570 w 4095750"/>
                <a:gd name="connsiteY90" fmla="*/ 304800 h 1455420"/>
                <a:gd name="connsiteX91" fmla="*/ 1131570 w 4095750"/>
                <a:gd name="connsiteY91" fmla="*/ 274320 h 1455420"/>
                <a:gd name="connsiteX92" fmla="*/ 1043940 w 4095750"/>
                <a:gd name="connsiteY92" fmla="*/ 274320 h 1455420"/>
                <a:gd name="connsiteX93" fmla="*/ 1043940 w 4095750"/>
                <a:gd name="connsiteY93" fmla="*/ 243840 h 1455420"/>
                <a:gd name="connsiteX94" fmla="*/ 975360 w 4095750"/>
                <a:gd name="connsiteY94" fmla="*/ 243840 h 1455420"/>
                <a:gd name="connsiteX95" fmla="*/ 975360 w 4095750"/>
                <a:gd name="connsiteY95" fmla="*/ 224790 h 1455420"/>
                <a:gd name="connsiteX96" fmla="*/ 902970 w 4095750"/>
                <a:gd name="connsiteY96" fmla="*/ 224790 h 1455420"/>
                <a:gd name="connsiteX97" fmla="*/ 902970 w 4095750"/>
                <a:gd name="connsiteY97" fmla="*/ 209550 h 1455420"/>
                <a:gd name="connsiteX98" fmla="*/ 803910 w 4095750"/>
                <a:gd name="connsiteY98" fmla="*/ 209550 h 1455420"/>
                <a:gd name="connsiteX99" fmla="*/ 803910 w 4095750"/>
                <a:gd name="connsiteY99" fmla="*/ 186690 h 1455420"/>
                <a:gd name="connsiteX100" fmla="*/ 742950 w 4095750"/>
                <a:gd name="connsiteY100" fmla="*/ 186690 h 1455420"/>
                <a:gd name="connsiteX101" fmla="*/ 742950 w 4095750"/>
                <a:gd name="connsiteY101" fmla="*/ 186690 h 1455420"/>
                <a:gd name="connsiteX102" fmla="*/ 693420 w 4095750"/>
                <a:gd name="connsiteY102" fmla="*/ 186690 h 1455420"/>
                <a:gd name="connsiteX103" fmla="*/ 693420 w 4095750"/>
                <a:gd name="connsiteY103" fmla="*/ 144780 h 1455420"/>
                <a:gd name="connsiteX104" fmla="*/ 651510 w 4095750"/>
                <a:gd name="connsiteY104" fmla="*/ 144780 h 1455420"/>
                <a:gd name="connsiteX105" fmla="*/ 651510 w 4095750"/>
                <a:gd name="connsiteY105" fmla="*/ 125730 h 1455420"/>
                <a:gd name="connsiteX106" fmla="*/ 613410 w 4095750"/>
                <a:gd name="connsiteY106" fmla="*/ 125730 h 1455420"/>
                <a:gd name="connsiteX107" fmla="*/ 613410 w 4095750"/>
                <a:gd name="connsiteY107" fmla="*/ 99060 h 1455420"/>
                <a:gd name="connsiteX108" fmla="*/ 563880 w 4095750"/>
                <a:gd name="connsiteY108" fmla="*/ 99060 h 1455420"/>
                <a:gd name="connsiteX109" fmla="*/ 563880 w 4095750"/>
                <a:gd name="connsiteY109" fmla="*/ 99060 h 1455420"/>
                <a:gd name="connsiteX110" fmla="*/ 521970 w 4095750"/>
                <a:gd name="connsiteY110" fmla="*/ 99060 h 1455420"/>
                <a:gd name="connsiteX111" fmla="*/ 521970 w 4095750"/>
                <a:gd name="connsiteY111" fmla="*/ 64770 h 1455420"/>
                <a:gd name="connsiteX112" fmla="*/ 403860 w 4095750"/>
                <a:gd name="connsiteY112" fmla="*/ 64770 h 1455420"/>
                <a:gd name="connsiteX113" fmla="*/ 403860 w 4095750"/>
                <a:gd name="connsiteY113" fmla="*/ 30480 h 1455420"/>
                <a:gd name="connsiteX114" fmla="*/ 308610 w 4095750"/>
                <a:gd name="connsiteY114" fmla="*/ 30480 h 1455420"/>
                <a:gd name="connsiteX115" fmla="*/ 308610 w 4095750"/>
                <a:gd name="connsiteY115" fmla="*/ 15240 h 1455420"/>
                <a:gd name="connsiteX116" fmla="*/ 205740 w 4095750"/>
                <a:gd name="connsiteY116" fmla="*/ 15240 h 1455420"/>
                <a:gd name="connsiteX117" fmla="*/ 205740 w 4095750"/>
                <a:gd name="connsiteY117" fmla="*/ 0 h 1455420"/>
                <a:gd name="connsiteX118" fmla="*/ 0 w 4095750"/>
                <a:gd name="connsiteY118" fmla="*/ 0 h 1455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4095750" h="1455420">
                  <a:moveTo>
                    <a:pt x="4095750" y="1455420"/>
                  </a:moveTo>
                  <a:lnTo>
                    <a:pt x="4095750" y="1455420"/>
                  </a:lnTo>
                  <a:lnTo>
                    <a:pt x="3707130" y="1455420"/>
                  </a:lnTo>
                  <a:lnTo>
                    <a:pt x="3707130" y="1390650"/>
                  </a:lnTo>
                  <a:lnTo>
                    <a:pt x="3615690" y="1390650"/>
                  </a:lnTo>
                  <a:lnTo>
                    <a:pt x="3615690" y="1333500"/>
                  </a:lnTo>
                  <a:lnTo>
                    <a:pt x="3573780" y="1333500"/>
                  </a:lnTo>
                  <a:lnTo>
                    <a:pt x="3562350" y="1322070"/>
                  </a:lnTo>
                  <a:lnTo>
                    <a:pt x="3509010" y="1322070"/>
                  </a:lnTo>
                  <a:lnTo>
                    <a:pt x="3486150" y="1299210"/>
                  </a:lnTo>
                  <a:lnTo>
                    <a:pt x="3417570" y="1299210"/>
                  </a:lnTo>
                  <a:lnTo>
                    <a:pt x="3417570" y="1268730"/>
                  </a:lnTo>
                  <a:lnTo>
                    <a:pt x="3314700" y="1268730"/>
                  </a:lnTo>
                  <a:lnTo>
                    <a:pt x="3314700" y="1268730"/>
                  </a:lnTo>
                  <a:lnTo>
                    <a:pt x="3288030" y="1242060"/>
                  </a:lnTo>
                  <a:lnTo>
                    <a:pt x="3288030" y="1203960"/>
                  </a:lnTo>
                  <a:lnTo>
                    <a:pt x="3253740" y="1203960"/>
                  </a:lnTo>
                  <a:lnTo>
                    <a:pt x="3253740" y="1177290"/>
                  </a:lnTo>
                  <a:lnTo>
                    <a:pt x="3215640" y="1177290"/>
                  </a:lnTo>
                  <a:lnTo>
                    <a:pt x="3215640" y="1150620"/>
                  </a:lnTo>
                  <a:lnTo>
                    <a:pt x="3158490" y="1150620"/>
                  </a:lnTo>
                  <a:lnTo>
                    <a:pt x="3158490" y="1108710"/>
                  </a:lnTo>
                  <a:lnTo>
                    <a:pt x="3074670" y="1108710"/>
                  </a:lnTo>
                  <a:lnTo>
                    <a:pt x="3074670" y="1089660"/>
                  </a:lnTo>
                  <a:lnTo>
                    <a:pt x="3074670" y="1089660"/>
                  </a:lnTo>
                  <a:lnTo>
                    <a:pt x="3044190" y="1059180"/>
                  </a:lnTo>
                  <a:lnTo>
                    <a:pt x="2952750" y="1059180"/>
                  </a:lnTo>
                  <a:lnTo>
                    <a:pt x="2952750" y="1059180"/>
                  </a:lnTo>
                  <a:lnTo>
                    <a:pt x="2926080" y="1032510"/>
                  </a:lnTo>
                  <a:lnTo>
                    <a:pt x="2910840" y="1017270"/>
                  </a:lnTo>
                  <a:lnTo>
                    <a:pt x="2857500" y="1017270"/>
                  </a:lnTo>
                  <a:lnTo>
                    <a:pt x="2857500" y="990600"/>
                  </a:lnTo>
                  <a:lnTo>
                    <a:pt x="2815590" y="990600"/>
                  </a:lnTo>
                  <a:lnTo>
                    <a:pt x="2815590" y="967740"/>
                  </a:lnTo>
                  <a:lnTo>
                    <a:pt x="2758440" y="967740"/>
                  </a:lnTo>
                  <a:lnTo>
                    <a:pt x="2758440" y="967740"/>
                  </a:lnTo>
                  <a:lnTo>
                    <a:pt x="2674620" y="967740"/>
                  </a:lnTo>
                  <a:lnTo>
                    <a:pt x="2674620" y="922020"/>
                  </a:lnTo>
                  <a:lnTo>
                    <a:pt x="2613660" y="922020"/>
                  </a:lnTo>
                  <a:lnTo>
                    <a:pt x="2613660" y="899160"/>
                  </a:lnTo>
                  <a:lnTo>
                    <a:pt x="2556510" y="899160"/>
                  </a:lnTo>
                  <a:lnTo>
                    <a:pt x="2556510" y="880110"/>
                  </a:lnTo>
                  <a:lnTo>
                    <a:pt x="2476500" y="880110"/>
                  </a:lnTo>
                  <a:lnTo>
                    <a:pt x="2476500" y="857250"/>
                  </a:lnTo>
                  <a:lnTo>
                    <a:pt x="2446020" y="857250"/>
                  </a:lnTo>
                  <a:lnTo>
                    <a:pt x="2438400" y="826770"/>
                  </a:lnTo>
                  <a:lnTo>
                    <a:pt x="2388870" y="830580"/>
                  </a:lnTo>
                  <a:lnTo>
                    <a:pt x="2354580" y="811530"/>
                  </a:lnTo>
                  <a:lnTo>
                    <a:pt x="2270760" y="800100"/>
                  </a:lnTo>
                  <a:lnTo>
                    <a:pt x="2270760" y="777240"/>
                  </a:lnTo>
                  <a:lnTo>
                    <a:pt x="2179320" y="777240"/>
                  </a:lnTo>
                  <a:lnTo>
                    <a:pt x="2179320" y="742950"/>
                  </a:lnTo>
                  <a:lnTo>
                    <a:pt x="2118360" y="742950"/>
                  </a:lnTo>
                  <a:lnTo>
                    <a:pt x="2118360" y="712470"/>
                  </a:lnTo>
                  <a:lnTo>
                    <a:pt x="2034540" y="712470"/>
                  </a:lnTo>
                  <a:lnTo>
                    <a:pt x="2034540" y="697230"/>
                  </a:lnTo>
                  <a:lnTo>
                    <a:pt x="2000250" y="697230"/>
                  </a:lnTo>
                  <a:lnTo>
                    <a:pt x="2000250" y="666750"/>
                  </a:lnTo>
                  <a:lnTo>
                    <a:pt x="1950720" y="666750"/>
                  </a:lnTo>
                  <a:lnTo>
                    <a:pt x="1950720" y="643890"/>
                  </a:lnTo>
                  <a:lnTo>
                    <a:pt x="1916430" y="643890"/>
                  </a:lnTo>
                  <a:lnTo>
                    <a:pt x="1916430" y="643890"/>
                  </a:lnTo>
                  <a:lnTo>
                    <a:pt x="1885950" y="613410"/>
                  </a:lnTo>
                  <a:lnTo>
                    <a:pt x="1866900" y="594360"/>
                  </a:lnTo>
                  <a:lnTo>
                    <a:pt x="1813560" y="594360"/>
                  </a:lnTo>
                  <a:lnTo>
                    <a:pt x="1813560" y="575310"/>
                  </a:lnTo>
                  <a:lnTo>
                    <a:pt x="1752600" y="575310"/>
                  </a:lnTo>
                  <a:lnTo>
                    <a:pt x="1752600" y="552450"/>
                  </a:lnTo>
                  <a:lnTo>
                    <a:pt x="1695450" y="552450"/>
                  </a:lnTo>
                  <a:lnTo>
                    <a:pt x="1695450" y="529590"/>
                  </a:lnTo>
                  <a:lnTo>
                    <a:pt x="1638300" y="529590"/>
                  </a:lnTo>
                  <a:lnTo>
                    <a:pt x="1638300" y="502920"/>
                  </a:lnTo>
                  <a:lnTo>
                    <a:pt x="1539240" y="502920"/>
                  </a:lnTo>
                  <a:lnTo>
                    <a:pt x="1539240" y="453390"/>
                  </a:lnTo>
                  <a:lnTo>
                    <a:pt x="1470660" y="453390"/>
                  </a:lnTo>
                  <a:lnTo>
                    <a:pt x="1470660" y="422910"/>
                  </a:lnTo>
                  <a:lnTo>
                    <a:pt x="1451610" y="422910"/>
                  </a:lnTo>
                  <a:lnTo>
                    <a:pt x="1451610" y="411480"/>
                  </a:lnTo>
                  <a:lnTo>
                    <a:pt x="1367790" y="411480"/>
                  </a:lnTo>
                  <a:lnTo>
                    <a:pt x="1367790" y="373380"/>
                  </a:lnTo>
                  <a:lnTo>
                    <a:pt x="1337310" y="373380"/>
                  </a:lnTo>
                  <a:lnTo>
                    <a:pt x="1337310" y="373380"/>
                  </a:lnTo>
                  <a:lnTo>
                    <a:pt x="1337310" y="373380"/>
                  </a:lnTo>
                  <a:lnTo>
                    <a:pt x="1337310" y="373380"/>
                  </a:lnTo>
                  <a:lnTo>
                    <a:pt x="1337310" y="373380"/>
                  </a:lnTo>
                  <a:lnTo>
                    <a:pt x="1337310" y="354330"/>
                  </a:lnTo>
                  <a:lnTo>
                    <a:pt x="1264920" y="354330"/>
                  </a:lnTo>
                  <a:lnTo>
                    <a:pt x="1264920" y="327660"/>
                  </a:lnTo>
                  <a:lnTo>
                    <a:pt x="1188720" y="327660"/>
                  </a:lnTo>
                  <a:lnTo>
                    <a:pt x="1188720" y="304800"/>
                  </a:lnTo>
                  <a:lnTo>
                    <a:pt x="1131570" y="304800"/>
                  </a:lnTo>
                  <a:lnTo>
                    <a:pt x="1131570" y="274320"/>
                  </a:lnTo>
                  <a:lnTo>
                    <a:pt x="1043940" y="274320"/>
                  </a:lnTo>
                  <a:lnTo>
                    <a:pt x="1043940" y="243840"/>
                  </a:lnTo>
                  <a:lnTo>
                    <a:pt x="975360" y="243840"/>
                  </a:lnTo>
                  <a:lnTo>
                    <a:pt x="975360" y="224790"/>
                  </a:lnTo>
                  <a:lnTo>
                    <a:pt x="902970" y="224790"/>
                  </a:lnTo>
                  <a:lnTo>
                    <a:pt x="902970" y="209550"/>
                  </a:lnTo>
                  <a:lnTo>
                    <a:pt x="803910" y="209550"/>
                  </a:lnTo>
                  <a:lnTo>
                    <a:pt x="803910" y="186690"/>
                  </a:lnTo>
                  <a:lnTo>
                    <a:pt x="742950" y="186690"/>
                  </a:lnTo>
                  <a:lnTo>
                    <a:pt x="742950" y="186690"/>
                  </a:lnTo>
                  <a:lnTo>
                    <a:pt x="693420" y="186690"/>
                  </a:lnTo>
                  <a:lnTo>
                    <a:pt x="693420" y="144780"/>
                  </a:lnTo>
                  <a:lnTo>
                    <a:pt x="651510" y="144780"/>
                  </a:lnTo>
                  <a:lnTo>
                    <a:pt x="651510" y="125730"/>
                  </a:lnTo>
                  <a:lnTo>
                    <a:pt x="613410" y="125730"/>
                  </a:lnTo>
                  <a:lnTo>
                    <a:pt x="613410" y="99060"/>
                  </a:lnTo>
                  <a:lnTo>
                    <a:pt x="563880" y="99060"/>
                  </a:lnTo>
                  <a:lnTo>
                    <a:pt x="563880" y="99060"/>
                  </a:lnTo>
                  <a:lnTo>
                    <a:pt x="521970" y="99060"/>
                  </a:lnTo>
                  <a:lnTo>
                    <a:pt x="521970" y="64770"/>
                  </a:lnTo>
                  <a:lnTo>
                    <a:pt x="403860" y="64770"/>
                  </a:lnTo>
                  <a:lnTo>
                    <a:pt x="403860" y="30480"/>
                  </a:lnTo>
                  <a:lnTo>
                    <a:pt x="308610" y="30480"/>
                  </a:lnTo>
                  <a:lnTo>
                    <a:pt x="308610" y="15240"/>
                  </a:lnTo>
                  <a:lnTo>
                    <a:pt x="205740" y="15240"/>
                  </a:lnTo>
                  <a:lnTo>
                    <a:pt x="205740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E1471D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E8EBB838-91F2-4A7E-8FB5-2D7B99DA5C1B}"/>
                </a:ext>
              </a:extLst>
            </p:cNvPr>
            <p:cNvSpPr/>
            <p:nvPr/>
          </p:nvSpPr>
          <p:spPr bwMode="auto">
            <a:xfrm>
              <a:off x="7052310" y="3009900"/>
              <a:ext cx="4141470" cy="982980"/>
            </a:xfrm>
            <a:custGeom>
              <a:avLst/>
              <a:gdLst>
                <a:gd name="connsiteX0" fmla="*/ 4141470 w 4141470"/>
                <a:gd name="connsiteY0" fmla="*/ 982980 h 982980"/>
                <a:gd name="connsiteX1" fmla="*/ 3943350 w 4141470"/>
                <a:gd name="connsiteY1" fmla="*/ 982980 h 982980"/>
                <a:gd name="connsiteX2" fmla="*/ 3943350 w 4141470"/>
                <a:gd name="connsiteY2" fmla="*/ 933450 h 982980"/>
                <a:gd name="connsiteX3" fmla="*/ 3912870 w 4141470"/>
                <a:gd name="connsiteY3" fmla="*/ 922020 h 982980"/>
                <a:gd name="connsiteX4" fmla="*/ 3573780 w 4141470"/>
                <a:gd name="connsiteY4" fmla="*/ 922020 h 982980"/>
                <a:gd name="connsiteX5" fmla="*/ 3573780 w 4141470"/>
                <a:gd name="connsiteY5" fmla="*/ 887730 h 982980"/>
                <a:gd name="connsiteX6" fmla="*/ 3505200 w 4141470"/>
                <a:gd name="connsiteY6" fmla="*/ 887730 h 982980"/>
                <a:gd name="connsiteX7" fmla="*/ 3505200 w 4141470"/>
                <a:gd name="connsiteY7" fmla="*/ 872490 h 982980"/>
                <a:gd name="connsiteX8" fmla="*/ 3467100 w 4141470"/>
                <a:gd name="connsiteY8" fmla="*/ 872490 h 982980"/>
                <a:gd name="connsiteX9" fmla="*/ 3467100 w 4141470"/>
                <a:gd name="connsiteY9" fmla="*/ 845820 h 982980"/>
                <a:gd name="connsiteX10" fmla="*/ 3425190 w 4141470"/>
                <a:gd name="connsiteY10" fmla="*/ 838200 h 982980"/>
                <a:gd name="connsiteX11" fmla="*/ 3375660 w 4141470"/>
                <a:gd name="connsiteY11" fmla="*/ 838200 h 982980"/>
                <a:gd name="connsiteX12" fmla="*/ 3375660 w 4141470"/>
                <a:gd name="connsiteY12" fmla="*/ 815340 h 982980"/>
                <a:gd name="connsiteX13" fmla="*/ 3318510 w 4141470"/>
                <a:gd name="connsiteY13" fmla="*/ 815340 h 982980"/>
                <a:gd name="connsiteX14" fmla="*/ 3318510 w 4141470"/>
                <a:gd name="connsiteY14" fmla="*/ 800100 h 982980"/>
                <a:gd name="connsiteX15" fmla="*/ 3280410 w 4141470"/>
                <a:gd name="connsiteY15" fmla="*/ 800100 h 982980"/>
                <a:gd name="connsiteX16" fmla="*/ 3280410 w 4141470"/>
                <a:gd name="connsiteY16" fmla="*/ 773430 h 982980"/>
                <a:gd name="connsiteX17" fmla="*/ 3200400 w 4141470"/>
                <a:gd name="connsiteY17" fmla="*/ 773430 h 982980"/>
                <a:gd name="connsiteX18" fmla="*/ 3200400 w 4141470"/>
                <a:gd name="connsiteY18" fmla="*/ 762000 h 982980"/>
                <a:gd name="connsiteX19" fmla="*/ 3135630 w 4141470"/>
                <a:gd name="connsiteY19" fmla="*/ 762000 h 982980"/>
                <a:gd name="connsiteX20" fmla="*/ 2971800 w 4141470"/>
                <a:gd name="connsiteY20" fmla="*/ 762000 h 982980"/>
                <a:gd name="connsiteX21" fmla="*/ 2971800 w 4141470"/>
                <a:gd name="connsiteY21" fmla="*/ 731520 h 982980"/>
                <a:gd name="connsiteX22" fmla="*/ 2819400 w 4141470"/>
                <a:gd name="connsiteY22" fmla="*/ 731520 h 982980"/>
                <a:gd name="connsiteX23" fmla="*/ 2819400 w 4141470"/>
                <a:gd name="connsiteY23" fmla="*/ 720090 h 982980"/>
                <a:gd name="connsiteX24" fmla="*/ 2754630 w 4141470"/>
                <a:gd name="connsiteY24" fmla="*/ 720090 h 982980"/>
                <a:gd name="connsiteX25" fmla="*/ 2727960 w 4141470"/>
                <a:gd name="connsiteY25" fmla="*/ 693420 h 982980"/>
                <a:gd name="connsiteX26" fmla="*/ 2670810 w 4141470"/>
                <a:gd name="connsiteY26" fmla="*/ 693420 h 982980"/>
                <a:gd name="connsiteX27" fmla="*/ 2644140 w 4141470"/>
                <a:gd name="connsiteY27" fmla="*/ 666750 h 982980"/>
                <a:gd name="connsiteX28" fmla="*/ 2579370 w 4141470"/>
                <a:gd name="connsiteY28" fmla="*/ 666750 h 982980"/>
                <a:gd name="connsiteX29" fmla="*/ 2560320 w 4141470"/>
                <a:gd name="connsiteY29" fmla="*/ 647700 h 982980"/>
                <a:gd name="connsiteX30" fmla="*/ 2518410 w 4141470"/>
                <a:gd name="connsiteY30" fmla="*/ 647700 h 982980"/>
                <a:gd name="connsiteX31" fmla="*/ 2484120 w 4141470"/>
                <a:gd name="connsiteY31" fmla="*/ 613410 h 982980"/>
                <a:gd name="connsiteX32" fmla="*/ 2369820 w 4141470"/>
                <a:gd name="connsiteY32" fmla="*/ 613410 h 982980"/>
                <a:gd name="connsiteX33" fmla="*/ 2350770 w 4141470"/>
                <a:gd name="connsiteY33" fmla="*/ 594360 h 982980"/>
                <a:gd name="connsiteX34" fmla="*/ 2308860 w 4141470"/>
                <a:gd name="connsiteY34" fmla="*/ 594360 h 982980"/>
                <a:gd name="connsiteX35" fmla="*/ 2286000 w 4141470"/>
                <a:gd name="connsiteY35" fmla="*/ 571500 h 982980"/>
                <a:gd name="connsiteX36" fmla="*/ 2228850 w 4141470"/>
                <a:gd name="connsiteY36" fmla="*/ 571500 h 982980"/>
                <a:gd name="connsiteX37" fmla="*/ 2213610 w 4141470"/>
                <a:gd name="connsiteY37" fmla="*/ 556260 h 982980"/>
                <a:gd name="connsiteX38" fmla="*/ 2183130 w 4141470"/>
                <a:gd name="connsiteY38" fmla="*/ 556260 h 982980"/>
                <a:gd name="connsiteX39" fmla="*/ 2156460 w 4141470"/>
                <a:gd name="connsiteY39" fmla="*/ 514350 h 982980"/>
                <a:gd name="connsiteX40" fmla="*/ 2080260 w 4141470"/>
                <a:gd name="connsiteY40" fmla="*/ 487680 h 982980"/>
                <a:gd name="connsiteX41" fmla="*/ 2042160 w 4141470"/>
                <a:gd name="connsiteY41" fmla="*/ 487680 h 982980"/>
                <a:gd name="connsiteX42" fmla="*/ 2015490 w 4141470"/>
                <a:gd name="connsiteY42" fmla="*/ 449580 h 982980"/>
                <a:gd name="connsiteX43" fmla="*/ 1939290 w 4141470"/>
                <a:gd name="connsiteY43" fmla="*/ 449580 h 982980"/>
                <a:gd name="connsiteX44" fmla="*/ 1927860 w 4141470"/>
                <a:gd name="connsiteY44" fmla="*/ 434340 h 982980"/>
                <a:gd name="connsiteX45" fmla="*/ 1840230 w 4141470"/>
                <a:gd name="connsiteY45" fmla="*/ 422910 h 982980"/>
                <a:gd name="connsiteX46" fmla="*/ 1733550 w 4141470"/>
                <a:gd name="connsiteY46" fmla="*/ 354330 h 982980"/>
                <a:gd name="connsiteX47" fmla="*/ 1642110 w 4141470"/>
                <a:gd name="connsiteY47" fmla="*/ 331470 h 982980"/>
                <a:gd name="connsiteX48" fmla="*/ 1592580 w 4141470"/>
                <a:gd name="connsiteY48" fmla="*/ 297180 h 982980"/>
                <a:gd name="connsiteX49" fmla="*/ 1512570 w 4141470"/>
                <a:gd name="connsiteY49" fmla="*/ 285750 h 982980"/>
                <a:gd name="connsiteX50" fmla="*/ 1413510 w 4141470"/>
                <a:gd name="connsiteY50" fmla="*/ 224790 h 982980"/>
                <a:gd name="connsiteX51" fmla="*/ 1348740 w 4141470"/>
                <a:gd name="connsiteY51" fmla="*/ 220980 h 982980"/>
                <a:gd name="connsiteX52" fmla="*/ 1318260 w 4141470"/>
                <a:gd name="connsiteY52" fmla="*/ 209550 h 982980"/>
                <a:gd name="connsiteX53" fmla="*/ 1234440 w 4141470"/>
                <a:gd name="connsiteY53" fmla="*/ 213360 h 982980"/>
                <a:gd name="connsiteX54" fmla="*/ 1192530 w 4141470"/>
                <a:gd name="connsiteY54" fmla="*/ 171450 h 982980"/>
                <a:gd name="connsiteX55" fmla="*/ 1135380 w 4141470"/>
                <a:gd name="connsiteY55" fmla="*/ 175260 h 982980"/>
                <a:gd name="connsiteX56" fmla="*/ 1108710 w 4141470"/>
                <a:gd name="connsiteY56" fmla="*/ 148590 h 982980"/>
                <a:gd name="connsiteX57" fmla="*/ 1002030 w 4141470"/>
                <a:gd name="connsiteY57" fmla="*/ 129540 h 982980"/>
                <a:gd name="connsiteX58" fmla="*/ 864870 w 4141470"/>
                <a:gd name="connsiteY58" fmla="*/ 118110 h 982980"/>
                <a:gd name="connsiteX59" fmla="*/ 857250 w 4141470"/>
                <a:gd name="connsiteY59" fmla="*/ 110490 h 982980"/>
                <a:gd name="connsiteX60" fmla="*/ 708660 w 4141470"/>
                <a:gd name="connsiteY60" fmla="*/ 99060 h 982980"/>
                <a:gd name="connsiteX61" fmla="*/ 685800 w 4141470"/>
                <a:gd name="connsiteY61" fmla="*/ 91440 h 982980"/>
                <a:gd name="connsiteX62" fmla="*/ 598170 w 4141470"/>
                <a:gd name="connsiteY62" fmla="*/ 102870 h 982980"/>
                <a:gd name="connsiteX63" fmla="*/ 598170 w 4141470"/>
                <a:gd name="connsiteY63" fmla="*/ 102870 h 982980"/>
                <a:gd name="connsiteX64" fmla="*/ 537210 w 4141470"/>
                <a:gd name="connsiteY64" fmla="*/ 83820 h 982980"/>
                <a:gd name="connsiteX65" fmla="*/ 533400 w 4141470"/>
                <a:gd name="connsiteY65" fmla="*/ 68580 h 982980"/>
                <a:gd name="connsiteX66" fmla="*/ 335280 w 4141470"/>
                <a:gd name="connsiteY66" fmla="*/ 80010 h 982980"/>
                <a:gd name="connsiteX67" fmla="*/ 281940 w 4141470"/>
                <a:gd name="connsiteY67" fmla="*/ 49530 h 982980"/>
                <a:gd name="connsiteX68" fmla="*/ 198120 w 4141470"/>
                <a:gd name="connsiteY68" fmla="*/ 53340 h 982980"/>
                <a:gd name="connsiteX69" fmla="*/ 186690 w 4141470"/>
                <a:gd name="connsiteY69" fmla="*/ 41910 h 982980"/>
                <a:gd name="connsiteX70" fmla="*/ 160020 w 4141470"/>
                <a:gd name="connsiteY70" fmla="*/ 38100 h 982980"/>
                <a:gd name="connsiteX71" fmla="*/ 137160 w 4141470"/>
                <a:gd name="connsiteY71" fmla="*/ 15240 h 982980"/>
                <a:gd name="connsiteX72" fmla="*/ 53340 w 4141470"/>
                <a:gd name="connsiteY72" fmla="*/ 15240 h 982980"/>
                <a:gd name="connsiteX73" fmla="*/ 34290 w 4141470"/>
                <a:gd name="connsiteY73" fmla="*/ 0 h 982980"/>
                <a:gd name="connsiteX74" fmla="*/ 0 w 4141470"/>
                <a:gd name="connsiteY74" fmla="*/ 0 h 982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4141470" h="982980">
                  <a:moveTo>
                    <a:pt x="4141470" y="982980"/>
                  </a:moveTo>
                  <a:lnTo>
                    <a:pt x="3943350" y="982980"/>
                  </a:lnTo>
                  <a:lnTo>
                    <a:pt x="3943350" y="933450"/>
                  </a:lnTo>
                  <a:lnTo>
                    <a:pt x="3912870" y="922020"/>
                  </a:lnTo>
                  <a:lnTo>
                    <a:pt x="3573780" y="922020"/>
                  </a:lnTo>
                  <a:lnTo>
                    <a:pt x="3573780" y="887730"/>
                  </a:lnTo>
                  <a:lnTo>
                    <a:pt x="3505200" y="887730"/>
                  </a:lnTo>
                  <a:lnTo>
                    <a:pt x="3505200" y="872490"/>
                  </a:lnTo>
                  <a:lnTo>
                    <a:pt x="3467100" y="872490"/>
                  </a:lnTo>
                  <a:lnTo>
                    <a:pt x="3467100" y="845820"/>
                  </a:lnTo>
                  <a:lnTo>
                    <a:pt x="3425190" y="838200"/>
                  </a:lnTo>
                  <a:lnTo>
                    <a:pt x="3375660" y="838200"/>
                  </a:lnTo>
                  <a:lnTo>
                    <a:pt x="3375660" y="815340"/>
                  </a:lnTo>
                  <a:lnTo>
                    <a:pt x="3318510" y="815340"/>
                  </a:lnTo>
                  <a:lnTo>
                    <a:pt x="3318510" y="800100"/>
                  </a:lnTo>
                  <a:lnTo>
                    <a:pt x="3280410" y="800100"/>
                  </a:lnTo>
                  <a:lnTo>
                    <a:pt x="3280410" y="773430"/>
                  </a:lnTo>
                  <a:lnTo>
                    <a:pt x="3200400" y="773430"/>
                  </a:lnTo>
                  <a:lnTo>
                    <a:pt x="3200400" y="762000"/>
                  </a:lnTo>
                  <a:lnTo>
                    <a:pt x="3135630" y="762000"/>
                  </a:lnTo>
                  <a:lnTo>
                    <a:pt x="2971800" y="762000"/>
                  </a:lnTo>
                  <a:lnTo>
                    <a:pt x="2971800" y="731520"/>
                  </a:lnTo>
                  <a:lnTo>
                    <a:pt x="2819400" y="731520"/>
                  </a:lnTo>
                  <a:lnTo>
                    <a:pt x="2819400" y="720090"/>
                  </a:lnTo>
                  <a:lnTo>
                    <a:pt x="2754630" y="720090"/>
                  </a:lnTo>
                  <a:lnTo>
                    <a:pt x="2727960" y="693420"/>
                  </a:lnTo>
                  <a:lnTo>
                    <a:pt x="2670810" y="693420"/>
                  </a:lnTo>
                  <a:lnTo>
                    <a:pt x="2644140" y="666750"/>
                  </a:lnTo>
                  <a:lnTo>
                    <a:pt x="2579370" y="666750"/>
                  </a:lnTo>
                  <a:lnTo>
                    <a:pt x="2560320" y="647700"/>
                  </a:lnTo>
                  <a:lnTo>
                    <a:pt x="2518410" y="647700"/>
                  </a:lnTo>
                  <a:lnTo>
                    <a:pt x="2484120" y="613410"/>
                  </a:lnTo>
                  <a:lnTo>
                    <a:pt x="2369820" y="613410"/>
                  </a:lnTo>
                  <a:lnTo>
                    <a:pt x="2350770" y="594360"/>
                  </a:lnTo>
                  <a:lnTo>
                    <a:pt x="2308860" y="594360"/>
                  </a:lnTo>
                  <a:lnTo>
                    <a:pt x="2286000" y="571500"/>
                  </a:lnTo>
                  <a:lnTo>
                    <a:pt x="2228850" y="571500"/>
                  </a:lnTo>
                  <a:lnTo>
                    <a:pt x="2213610" y="556260"/>
                  </a:lnTo>
                  <a:lnTo>
                    <a:pt x="2183130" y="556260"/>
                  </a:lnTo>
                  <a:lnTo>
                    <a:pt x="2156460" y="514350"/>
                  </a:lnTo>
                  <a:lnTo>
                    <a:pt x="2080260" y="487680"/>
                  </a:lnTo>
                  <a:lnTo>
                    <a:pt x="2042160" y="487680"/>
                  </a:lnTo>
                  <a:lnTo>
                    <a:pt x="2015490" y="449580"/>
                  </a:lnTo>
                  <a:lnTo>
                    <a:pt x="1939290" y="449580"/>
                  </a:lnTo>
                  <a:lnTo>
                    <a:pt x="1927860" y="434340"/>
                  </a:lnTo>
                  <a:lnTo>
                    <a:pt x="1840230" y="422910"/>
                  </a:lnTo>
                  <a:lnTo>
                    <a:pt x="1733550" y="354330"/>
                  </a:lnTo>
                  <a:lnTo>
                    <a:pt x="1642110" y="331470"/>
                  </a:lnTo>
                  <a:lnTo>
                    <a:pt x="1592580" y="297180"/>
                  </a:lnTo>
                  <a:lnTo>
                    <a:pt x="1512570" y="285750"/>
                  </a:lnTo>
                  <a:lnTo>
                    <a:pt x="1413510" y="224790"/>
                  </a:lnTo>
                  <a:lnTo>
                    <a:pt x="1348740" y="220980"/>
                  </a:lnTo>
                  <a:lnTo>
                    <a:pt x="1318260" y="209550"/>
                  </a:lnTo>
                  <a:lnTo>
                    <a:pt x="1234440" y="213360"/>
                  </a:lnTo>
                  <a:lnTo>
                    <a:pt x="1192530" y="171450"/>
                  </a:lnTo>
                  <a:lnTo>
                    <a:pt x="1135380" y="175260"/>
                  </a:lnTo>
                  <a:lnTo>
                    <a:pt x="1108710" y="148590"/>
                  </a:lnTo>
                  <a:lnTo>
                    <a:pt x="1002030" y="129540"/>
                  </a:lnTo>
                  <a:lnTo>
                    <a:pt x="864870" y="118110"/>
                  </a:lnTo>
                  <a:lnTo>
                    <a:pt x="857250" y="110490"/>
                  </a:lnTo>
                  <a:lnTo>
                    <a:pt x="708660" y="99060"/>
                  </a:lnTo>
                  <a:lnTo>
                    <a:pt x="685800" y="91440"/>
                  </a:lnTo>
                  <a:lnTo>
                    <a:pt x="598170" y="102870"/>
                  </a:lnTo>
                  <a:lnTo>
                    <a:pt x="598170" y="102870"/>
                  </a:lnTo>
                  <a:lnTo>
                    <a:pt x="537210" y="83820"/>
                  </a:lnTo>
                  <a:lnTo>
                    <a:pt x="533400" y="68580"/>
                  </a:lnTo>
                  <a:lnTo>
                    <a:pt x="335280" y="80010"/>
                  </a:lnTo>
                  <a:lnTo>
                    <a:pt x="281940" y="49530"/>
                  </a:lnTo>
                  <a:lnTo>
                    <a:pt x="198120" y="53340"/>
                  </a:lnTo>
                  <a:lnTo>
                    <a:pt x="186690" y="41910"/>
                  </a:lnTo>
                  <a:lnTo>
                    <a:pt x="160020" y="38100"/>
                  </a:lnTo>
                  <a:lnTo>
                    <a:pt x="137160" y="15240"/>
                  </a:lnTo>
                  <a:lnTo>
                    <a:pt x="53340" y="15240"/>
                  </a:lnTo>
                  <a:lnTo>
                    <a:pt x="34290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015873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32479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B58F948-5F66-461D-BC32-3623E40680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907379"/>
          </a:xfrm>
        </p:spPr>
        <p:txBody>
          <a:bodyPr/>
          <a:lstStyle/>
          <a:p>
            <a:r>
              <a:rPr lang="en-US" dirty="0"/>
              <a:t>STAMPEDE: </a:t>
            </a:r>
            <a:br>
              <a:rPr lang="en-US" dirty="0"/>
            </a:br>
            <a:r>
              <a:rPr lang="en-US" altLang="en-US" sz="3200" dirty="0"/>
              <a:t>Randomized, open-label, </a:t>
            </a:r>
            <a:r>
              <a:rPr lang="en-US" altLang="en-US" sz="3200" dirty="0" err="1"/>
              <a:t>multiarm</a:t>
            </a:r>
            <a:r>
              <a:rPr lang="en-US" altLang="en-US" sz="3200" dirty="0"/>
              <a:t>, multistage phase II/III </a:t>
            </a:r>
            <a:br>
              <a:rPr lang="en-US" altLang="en-US" sz="3200" dirty="0"/>
            </a:br>
            <a:r>
              <a:rPr lang="en-US" altLang="en-US" sz="3200" dirty="0"/>
              <a:t>(N = 1917)</a:t>
            </a:r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2047199-1F28-428F-851C-08047AFBB8A0}"/>
              </a:ext>
            </a:extLst>
          </p:cNvPr>
          <p:cNvGrpSpPr/>
          <p:nvPr/>
        </p:nvGrpSpPr>
        <p:grpSpPr>
          <a:xfrm>
            <a:off x="1793747" y="2492896"/>
            <a:ext cx="8604506" cy="4097987"/>
            <a:chOff x="1836186" y="2041608"/>
            <a:chExt cx="8604506" cy="409798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7EF0976-62DF-4CB5-876F-C173CEE1137A}"/>
                </a:ext>
              </a:extLst>
            </p:cNvPr>
            <p:cNvSpPr txBox="1"/>
            <p:nvPr/>
          </p:nvSpPr>
          <p:spPr bwMode="auto">
            <a:xfrm>
              <a:off x="4531035" y="2041608"/>
              <a:ext cx="311604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Patients Eligible for STAMPEDE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01372B1-1642-4FAC-81EF-CACB7B6147F6}"/>
                </a:ext>
              </a:extLst>
            </p:cNvPr>
            <p:cNvGrpSpPr/>
            <p:nvPr/>
          </p:nvGrpSpPr>
          <p:grpSpPr>
            <a:xfrm>
              <a:off x="3758577" y="2392086"/>
              <a:ext cx="4712958" cy="446481"/>
              <a:chOff x="3758577" y="2392086"/>
              <a:chExt cx="4712958" cy="446481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72B110A3-CB66-457D-89A6-9352DEBA493C}"/>
                  </a:ext>
                </a:extLst>
              </p:cNvPr>
              <p:cNvCxnSpPr/>
              <p:nvPr/>
            </p:nvCxnSpPr>
            <p:spPr bwMode="auto">
              <a:xfrm>
                <a:off x="6051847" y="2392086"/>
                <a:ext cx="0" cy="194102"/>
              </a:xfrm>
              <a:prstGeom prst="line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3B1275CF-0E0A-40F5-9CC2-37128384384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758577" y="2591735"/>
                <a:ext cx="4712958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6" name="Straight Arrow Connector 35">
                <a:extLst>
                  <a:ext uri="{FF2B5EF4-FFF2-40B4-BE49-F238E27FC236}">
                    <a16:creationId xmlns:a16="http://schemas.microsoft.com/office/drawing/2014/main" id="{163BADD4-9DAC-40E6-88E9-EDE12AAB7E9C}"/>
                  </a:ext>
                </a:extLst>
              </p:cNvPr>
              <p:cNvCxnSpPr/>
              <p:nvPr/>
            </p:nvCxnSpPr>
            <p:spPr bwMode="auto">
              <a:xfrm>
                <a:off x="8471535" y="2580578"/>
                <a:ext cx="0" cy="246832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37" name="Straight Arrow Connector 36">
                <a:extLst>
                  <a:ext uri="{FF2B5EF4-FFF2-40B4-BE49-F238E27FC236}">
                    <a16:creationId xmlns:a16="http://schemas.microsoft.com/office/drawing/2014/main" id="{C2E6F754-72B8-4D24-9418-EDEA2177384C}"/>
                  </a:ext>
                </a:extLst>
              </p:cNvPr>
              <p:cNvCxnSpPr/>
              <p:nvPr/>
            </p:nvCxnSpPr>
            <p:spPr bwMode="auto">
              <a:xfrm>
                <a:off x="3770731" y="2591735"/>
                <a:ext cx="0" cy="246832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</p:grp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5C0F704-17BC-4640-BFDC-6DF31DFB733E}"/>
                </a:ext>
              </a:extLst>
            </p:cNvPr>
            <p:cNvSpPr txBox="1"/>
            <p:nvPr/>
          </p:nvSpPr>
          <p:spPr bwMode="auto">
            <a:xfrm>
              <a:off x="2220819" y="2790117"/>
              <a:ext cx="3099823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Newly Diagnosed M1 Patients</a:t>
              </a:r>
              <a:endParaRPr kumimoji="0" lang="en-US" sz="18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B4BFD73-E50F-469A-BA5F-A01B9DF0CE15}"/>
                </a:ext>
              </a:extLst>
            </p:cNvPr>
            <p:cNvSpPr/>
            <p:nvPr/>
          </p:nvSpPr>
          <p:spPr bwMode="auto">
            <a:xfrm>
              <a:off x="1836187" y="3168333"/>
              <a:ext cx="3890071" cy="304602"/>
            </a:xfrm>
            <a:prstGeom prst="rect">
              <a:avLst/>
            </a:prstGeom>
            <a:solidFill>
              <a:srgbClr val="015873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Randomization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C3A5067-C8D1-491F-B58D-F6DA3D0641AA}"/>
                </a:ext>
              </a:extLst>
            </p:cNvPr>
            <p:cNvSpPr/>
            <p:nvPr/>
          </p:nvSpPr>
          <p:spPr bwMode="auto">
            <a:xfrm>
              <a:off x="1836186" y="4059502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B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D60DCDF-FB2C-45DB-AA4A-A55AEA25B731}"/>
                </a:ext>
              </a:extLst>
            </p:cNvPr>
            <p:cNvSpPr/>
            <p:nvPr/>
          </p:nvSpPr>
          <p:spPr bwMode="auto">
            <a:xfrm>
              <a:off x="2634349" y="4059502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rm A + zoledronic acid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15AD693-8201-49E9-9D49-8E3BC656095E}"/>
                </a:ext>
              </a:extLst>
            </p:cNvPr>
            <p:cNvSpPr/>
            <p:nvPr/>
          </p:nvSpPr>
          <p:spPr bwMode="auto">
            <a:xfrm>
              <a:off x="1836186" y="4511216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C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2E88F8F-8155-418E-BCD0-E69BA6985A14}"/>
                </a:ext>
              </a:extLst>
            </p:cNvPr>
            <p:cNvSpPr/>
            <p:nvPr/>
          </p:nvSpPr>
          <p:spPr bwMode="auto">
            <a:xfrm>
              <a:off x="2634349" y="4511216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rm A + docetaxel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FBD357-A6E4-492A-80CF-CE1AD522D8AB}"/>
                </a:ext>
              </a:extLst>
            </p:cNvPr>
            <p:cNvSpPr/>
            <p:nvPr/>
          </p:nvSpPr>
          <p:spPr bwMode="auto">
            <a:xfrm>
              <a:off x="1836186" y="4962853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E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6554157-F588-4521-8530-A5D8B3B0896E}"/>
                </a:ext>
              </a:extLst>
            </p:cNvPr>
            <p:cNvSpPr/>
            <p:nvPr/>
          </p:nvSpPr>
          <p:spPr bwMode="auto">
            <a:xfrm>
              <a:off x="2634349" y="4962853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rm A + ZA + docetaxel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CE20484-D4F2-42CD-B9C2-428CB65BF829}"/>
                </a:ext>
              </a:extLst>
            </p:cNvPr>
            <p:cNvSpPr/>
            <p:nvPr/>
          </p:nvSpPr>
          <p:spPr bwMode="auto">
            <a:xfrm>
              <a:off x="1836186" y="5401683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G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0F0B02F-6C8D-46FF-8F96-0CBDE79506DC}"/>
                </a:ext>
              </a:extLst>
            </p:cNvPr>
            <p:cNvSpPr/>
            <p:nvPr/>
          </p:nvSpPr>
          <p:spPr bwMode="auto">
            <a:xfrm>
              <a:off x="2634349" y="5401683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rm A + abiraterone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00075F9-6642-42E9-BEB7-763D222AC2AC}"/>
                </a:ext>
              </a:extLst>
            </p:cNvPr>
            <p:cNvSpPr/>
            <p:nvPr/>
          </p:nvSpPr>
          <p:spPr bwMode="auto">
            <a:xfrm>
              <a:off x="1836186" y="5834993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H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E3DB02-772B-407A-95D6-810FFD09DA66}"/>
                </a:ext>
              </a:extLst>
            </p:cNvPr>
            <p:cNvSpPr/>
            <p:nvPr/>
          </p:nvSpPr>
          <p:spPr bwMode="auto">
            <a:xfrm>
              <a:off x="2634349" y="5834993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rm A + RT to prostat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85D348E-AB40-47E6-95A2-8D3DDC7979BB}"/>
                </a:ext>
              </a:extLst>
            </p:cNvPr>
            <p:cNvSpPr/>
            <p:nvPr/>
          </p:nvSpPr>
          <p:spPr bwMode="auto">
            <a:xfrm>
              <a:off x="1836186" y="3605222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13F09E0-23F6-489F-954C-1C3489BB2263}"/>
                </a:ext>
              </a:extLst>
            </p:cNvPr>
            <p:cNvSpPr/>
            <p:nvPr/>
          </p:nvSpPr>
          <p:spPr bwMode="auto">
            <a:xfrm>
              <a:off x="2634349" y="3605222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DT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2D2BD4C-BFDD-4ED7-ACA9-EC063CEE69C2}"/>
                </a:ext>
              </a:extLst>
            </p:cNvPr>
            <p:cNvSpPr/>
            <p:nvPr/>
          </p:nvSpPr>
          <p:spPr bwMode="auto">
            <a:xfrm>
              <a:off x="6550620" y="4078780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B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616D180-FCB8-422D-835A-F76C6F83F5C0}"/>
                </a:ext>
              </a:extLst>
            </p:cNvPr>
            <p:cNvSpPr/>
            <p:nvPr/>
          </p:nvSpPr>
          <p:spPr bwMode="auto">
            <a:xfrm>
              <a:off x="7348783" y="4078780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rm A + zoledronic acid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6FE1EFD-3A10-4DA3-9E53-B836C599A8C6}"/>
                </a:ext>
              </a:extLst>
            </p:cNvPr>
            <p:cNvSpPr/>
            <p:nvPr/>
          </p:nvSpPr>
          <p:spPr bwMode="auto">
            <a:xfrm>
              <a:off x="6550620" y="4530494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C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537EB5A-B10C-442C-9DA7-0452F7A4E5E1}"/>
                </a:ext>
              </a:extLst>
            </p:cNvPr>
            <p:cNvSpPr/>
            <p:nvPr/>
          </p:nvSpPr>
          <p:spPr bwMode="auto">
            <a:xfrm>
              <a:off x="7348783" y="4530494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rm A + docetaxel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6BE215A-464E-4A8B-BBB4-E6F18EC7655B}"/>
                </a:ext>
              </a:extLst>
            </p:cNvPr>
            <p:cNvSpPr/>
            <p:nvPr/>
          </p:nvSpPr>
          <p:spPr bwMode="auto">
            <a:xfrm>
              <a:off x="6550620" y="4982131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E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A45B518-D0D3-43B5-86E3-B0919CB78CB1}"/>
                </a:ext>
              </a:extLst>
            </p:cNvPr>
            <p:cNvSpPr/>
            <p:nvPr/>
          </p:nvSpPr>
          <p:spPr bwMode="auto">
            <a:xfrm>
              <a:off x="7348783" y="4982131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rm A + ZA + docetaxel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C4FC4B5-021A-4E28-8D6F-3818A814B634}"/>
                </a:ext>
              </a:extLst>
            </p:cNvPr>
            <p:cNvSpPr/>
            <p:nvPr/>
          </p:nvSpPr>
          <p:spPr bwMode="auto">
            <a:xfrm>
              <a:off x="6550620" y="5420961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G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9C979F3-E508-447C-BB98-BA0E67E03D7F}"/>
                </a:ext>
              </a:extLst>
            </p:cNvPr>
            <p:cNvSpPr/>
            <p:nvPr/>
          </p:nvSpPr>
          <p:spPr bwMode="auto">
            <a:xfrm>
              <a:off x="7348783" y="5420961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rm A + abiraterone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01975D3-E328-451D-AD6D-82022C9D8FCD}"/>
                </a:ext>
              </a:extLst>
            </p:cNvPr>
            <p:cNvSpPr/>
            <p:nvPr/>
          </p:nvSpPr>
          <p:spPr bwMode="auto">
            <a:xfrm>
              <a:off x="6550620" y="3624500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4160673-5673-4260-9D17-2B4B2DB093C8}"/>
                </a:ext>
              </a:extLst>
            </p:cNvPr>
            <p:cNvSpPr/>
            <p:nvPr/>
          </p:nvSpPr>
          <p:spPr bwMode="auto">
            <a:xfrm>
              <a:off x="7348783" y="3624500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DT (+ RT if N0 M0)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E1D64CD-DCDB-4A6B-BCED-390251834D58}"/>
                </a:ext>
              </a:extLst>
            </p:cNvPr>
            <p:cNvSpPr/>
            <p:nvPr/>
          </p:nvSpPr>
          <p:spPr bwMode="auto">
            <a:xfrm>
              <a:off x="6550620" y="3163208"/>
              <a:ext cx="3890071" cy="304602"/>
            </a:xfrm>
            <a:prstGeom prst="rect">
              <a:avLst/>
            </a:prstGeom>
            <a:solidFill>
              <a:srgbClr val="015873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Randomization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9623DDD-DE16-4DC5-A606-C753A0BE2174}"/>
                </a:ext>
              </a:extLst>
            </p:cNvPr>
            <p:cNvSpPr txBox="1"/>
            <p:nvPr/>
          </p:nvSpPr>
          <p:spPr bwMode="auto">
            <a:xfrm>
              <a:off x="7571799" y="2779145"/>
              <a:ext cx="182979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ll Other Patients</a:t>
              </a:r>
              <a:endParaRPr kumimoji="0" lang="en-US" sz="18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28118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B58F948-5F66-461D-BC32-3623E40680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907379"/>
          </a:xfrm>
        </p:spPr>
        <p:txBody>
          <a:bodyPr/>
          <a:lstStyle/>
          <a:p>
            <a:r>
              <a:rPr lang="en-US" dirty="0"/>
              <a:t>STAMPEDE: </a:t>
            </a:r>
            <a:br>
              <a:rPr lang="en-US" dirty="0"/>
            </a:br>
            <a:r>
              <a:rPr lang="en-US" altLang="en-US" sz="3200" dirty="0"/>
              <a:t>Arm G</a:t>
            </a:r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2047199-1F28-428F-851C-08047AFBB8A0}"/>
              </a:ext>
            </a:extLst>
          </p:cNvPr>
          <p:cNvGrpSpPr/>
          <p:nvPr/>
        </p:nvGrpSpPr>
        <p:grpSpPr>
          <a:xfrm>
            <a:off x="8400256" y="207608"/>
            <a:ext cx="3294141" cy="3005368"/>
            <a:chOff x="1836186" y="2041608"/>
            <a:chExt cx="8604506" cy="409798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7EF0976-62DF-4CB5-876F-C173CEE1137A}"/>
                </a:ext>
              </a:extLst>
            </p:cNvPr>
            <p:cNvSpPr txBox="1"/>
            <p:nvPr/>
          </p:nvSpPr>
          <p:spPr bwMode="auto">
            <a:xfrm>
              <a:off x="4531034" y="2041608"/>
              <a:ext cx="3430110" cy="2727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atients Eligible for STAMPEDE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01372B1-1642-4FAC-81EF-CACB7B6147F6}"/>
                </a:ext>
              </a:extLst>
            </p:cNvPr>
            <p:cNvGrpSpPr/>
            <p:nvPr/>
          </p:nvGrpSpPr>
          <p:grpSpPr>
            <a:xfrm>
              <a:off x="3758577" y="2392086"/>
              <a:ext cx="4712958" cy="446481"/>
              <a:chOff x="3758577" y="2392086"/>
              <a:chExt cx="4712958" cy="446481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72B110A3-CB66-457D-89A6-9352DEBA493C}"/>
                  </a:ext>
                </a:extLst>
              </p:cNvPr>
              <p:cNvCxnSpPr/>
              <p:nvPr/>
            </p:nvCxnSpPr>
            <p:spPr bwMode="auto">
              <a:xfrm>
                <a:off x="6051847" y="2392086"/>
                <a:ext cx="0" cy="194102"/>
              </a:xfrm>
              <a:prstGeom prst="line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3B1275CF-0E0A-40F5-9CC2-37128384384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758577" y="2591735"/>
                <a:ext cx="4712958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6" name="Straight Arrow Connector 35">
                <a:extLst>
                  <a:ext uri="{FF2B5EF4-FFF2-40B4-BE49-F238E27FC236}">
                    <a16:creationId xmlns:a16="http://schemas.microsoft.com/office/drawing/2014/main" id="{163BADD4-9DAC-40E6-88E9-EDE12AAB7E9C}"/>
                  </a:ext>
                </a:extLst>
              </p:cNvPr>
              <p:cNvCxnSpPr/>
              <p:nvPr/>
            </p:nvCxnSpPr>
            <p:spPr bwMode="auto">
              <a:xfrm>
                <a:off x="8471535" y="2580578"/>
                <a:ext cx="0" cy="246832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37" name="Straight Arrow Connector 36">
                <a:extLst>
                  <a:ext uri="{FF2B5EF4-FFF2-40B4-BE49-F238E27FC236}">
                    <a16:creationId xmlns:a16="http://schemas.microsoft.com/office/drawing/2014/main" id="{C2E6F754-72B8-4D24-9418-EDEA2177384C}"/>
                  </a:ext>
                </a:extLst>
              </p:cNvPr>
              <p:cNvCxnSpPr/>
              <p:nvPr/>
            </p:nvCxnSpPr>
            <p:spPr bwMode="auto">
              <a:xfrm>
                <a:off x="3770731" y="2591735"/>
                <a:ext cx="0" cy="246832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</p:grp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5C0F704-17BC-4640-BFDC-6DF31DFB733E}"/>
                </a:ext>
              </a:extLst>
            </p:cNvPr>
            <p:cNvSpPr txBox="1"/>
            <p:nvPr/>
          </p:nvSpPr>
          <p:spPr bwMode="auto">
            <a:xfrm>
              <a:off x="2103821" y="2790118"/>
              <a:ext cx="3333806" cy="2727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Newly Diagnosed M1 Patients</a:t>
              </a:r>
              <a:endParaRPr kumimoji="0" lang="en-US" sz="7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B4BFD73-E50F-469A-BA5F-A01B9DF0CE15}"/>
                </a:ext>
              </a:extLst>
            </p:cNvPr>
            <p:cNvSpPr/>
            <p:nvPr/>
          </p:nvSpPr>
          <p:spPr bwMode="auto">
            <a:xfrm>
              <a:off x="1836187" y="3168333"/>
              <a:ext cx="3890071" cy="304602"/>
            </a:xfrm>
            <a:prstGeom prst="rect">
              <a:avLst/>
            </a:prstGeom>
            <a:solidFill>
              <a:srgbClr val="015873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Randomization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C3A5067-C8D1-491F-B58D-F6DA3D0641AA}"/>
                </a:ext>
              </a:extLst>
            </p:cNvPr>
            <p:cNvSpPr/>
            <p:nvPr/>
          </p:nvSpPr>
          <p:spPr bwMode="auto">
            <a:xfrm>
              <a:off x="1836186" y="4059502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D60DCDF-FB2C-45DB-AA4A-A55AEA25B731}"/>
                </a:ext>
              </a:extLst>
            </p:cNvPr>
            <p:cNvSpPr/>
            <p:nvPr/>
          </p:nvSpPr>
          <p:spPr bwMode="auto">
            <a:xfrm>
              <a:off x="2634349" y="4059502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zoledronic acid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15AD693-8201-49E9-9D49-8E3BC656095E}"/>
                </a:ext>
              </a:extLst>
            </p:cNvPr>
            <p:cNvSpPr/>
            <p:nvPr/>
          </p:nvSpPr>
          <p:spPr bwMode="auto">
            <a:xfrm>
              <a:off x="1836186" y="4511216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2E88F8F-8155-418E-BCD0-E69BA6985A14}"/>
                </a:ext>
              </a:extLst>
            </p:cNvPr>
            <p:cNvSpPr/>
            <p:nvPr/>
          </p:nvSpPr>
          <p:spPr bwMode="auto">
            <a:xfrm>
              <a:off x="2634349" y="4511216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docetaxel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FBD357-A6E4-492A-80CF-CE1AD522D8AB}"/>
                </a:ext>
              </a:extLst>
            </p:cNvPr>
            <p:cNvSpPr/>
            <p:nvPr/>
          </p:nvSpPr>
          <p:spPr bwMode="auto">
            <a:xfrm>
              <a:off x="1836186" y="4962853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6554157-F588-4521-8530-A5D8B3B0896E}"/>
                </a:ext>
              </a:extLst>
            </p:cNvPr>
            <p:cNvSpPr/>
            <p:nvPr/>
          </p:nvSpPr>
          <p:spPr bwMode="auto">
            <a:xfrm>
              <a:off x="2634349" y="4962853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ZA + docetaxel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CE20484-D4F2-42CD-B9C2-428CB65BF829}"/>
                </a:ext>
              </a:extLst>
            </p:cNvPr>
            <p:cNvSpPr/>
            <p:nvPr/>
          </p:nvSpPr>
          <p:spPr bwMode="auto">
            <a:xfrm>
              <a:off x="1836186" y="5401683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G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0F0B02F-6C8D-46FF-8F96-0CBDE79506DC}"/>
                </a:ext>
              </a:extLst>
            </p:cNvPr>
            <p:cNvSpPr/>
            <p:nvPr/>
          </p:nvSpPr>
          <p:spPr bwMode="auto">
            <a:xfrm>
              <a:off x="2634349" y="5401683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abiraterone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00075F9-6642-42E9-BEB7-763D222AC2AC}"/>
                </a:ext>
              </a:extLst>
            </p:cNvPr>
            <p:cNvSpPr/>
            <p:nvPr/>
          </p:nvSpPr>
          <p:spPr bwMode="auto">
            <a:xfrm>
              <a:off x="1836186" y="5834993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H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E3DB02-772B-407A-95D6-810FFD09DA66}"/>
                </a:ext>
              </a:extLst>
            </p:cNvPr>
            <p:cNvSpPr/>
            <p:nvPr/>
          </p:nvSpPr>
          <p:spPr bwMode="auto">
            <a:xfrm>
              <a:off x="2634349" y="5834993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RT to prostat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85D348E-AB40-47E6-95A2-8D3DDC7979BB}"/>
                </a:ext>
              </a:extLst>
            </p:cNvPr>
            <p:cNvSpPr/>
            <p:nvPr/>
          </p:nvSpPr>
          <p:spPr bwMode="auto">
            <a:xfrm>
              <a:off x="1836186" y="3605222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13F09E0-23F6-489F-954C-1C3489BB2263}"/>
                </a:ext>
              </a:extLst>
            </p:cNvPr>
            <p:cNvSpPr/>
            <p:nvPr/>
          </p:nvSpPr>
          <p:spPr bwMode="auto">
            <a:xfrm>
              <a:off x="2634349" y="3605222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DT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2D2BD4C-BFDD-4ED7-ACA9-EC063CEE69C2}"/>
                </a:ext>
              </a:extLst>
            </p:cNvPr>
            <p:cNvSpPr/>
            <p:nvPr/>
          </p:nvSpPr>
          <p:spPr bwMode="auto">
            <a:xfrm>
              <a:off x="6550620" y="4078780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616D180-FCB8-422D-835A-F76C6F83F5C0}"/>
                </a:ext>
              </a:extLst>
            </p:cNvPr>
            <p:cNvSpPr/>
            <p:nvPr/>
          </p:nvSpPr>
          <p:spPr bwMode="auto">
            <a:xfrm>
              <a:off x="7348783" y="4078780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zoledronic acid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6FE1EFD-3A10-4DA3-9E53-B836C599A8C6}"/>
                </a:ext>
              </a:extLst>
            </p:cNvPr>
            <p:cNvSpPr/>
            <p:nvPr/>
          </p:nvSpPr>
          <p:spPr bwMode="auto">
            <a:xfrm>
              <a:off x="6550620" y="4530494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537EB5A-B10C-442C-9DA7-0452F7A4E5E1}"/>
                </a:ext>
              </a:extLst>
            </p:cNvPr>
            <p:cNvSpPr/>
            <p:nvPr/>
          </p:nvSpPr>
          <p:spPr bwMode="auto">
            <a:xfrm>
              <a:off x="7348783" y="4530494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docetaxel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6BE215A-464E-4A8B-BBB4-E6F18EC7655B}"/>
                </a:ext>
              </a:extLst>
            </p:cNvPr>
            <p:cNvSpPr/>
            <p:nvPr/>
          </p:nvSpPr>
          <p:spPr bwMode="auto">
            <a:xfrm>
              <a:off x="6550620" y="4982131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A45B518-D0D3-43B5-86E3-B0919CB78CB1}"/>
                </a:ext>
              </a:extLst>
            </p:cNvPr>
            <p:cNvSpPr/>
            <p:nvPr/>
          </p:nvSpPr>
          <p:spPr bwMode="auto">
            <a:xfrm>
              <a:off x="7348783" y="4982131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ZA + docetaxel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C4FC4B5-021A-4E28-8D6F-3818A814B634}"/>
                </a:ext>
              </a:extLst>
            </p:cNvPr>
            <p:cNvSpPr/>
            <p:nvPr/>
          </p:nvSpPr>
          <p:spPr bwMode="auto">
            <a:xfrm>
              <a:off x="6550620" y="5420961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G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9C979F3-E508-447C-BB98-BA0E67E03D7F}"/>
                </a:ext>
              </a:extLst>
            </p:cNvPr>
            <p:cNvSpPr/>
            <p:nvPr/>
          </p:nvSpPr>
          <p:spPr bwMode="auto">
            <a:xfrm>
              <a:off x="7348783" y="5420961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abiraterone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01975D3-E328-451D-AD6D-82022C9D8FCD}"/>
                </a:ext>
              </a:extLst>
            </p:cNvPr>
            <p:cNvSpPr/>
            <p:nvPr/>
          </p:nvSpPr>
          <p:spPr bwMode="auto">
            <a:xfrm>
              <a:off x="6550620" y="3624500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4160673-5673-4260-9D17-2B4B2DB093C8}"/>
                </a:ext>
              </a:extLst>
            </p:cNvPr>
            <p:cNvSpPr/>
            <p:nvPr/>
          </p:nvSpPr>
          <p:spPr bwMode="auto">
            <a:xfrm>
              <a:off x="7348783" y="3624500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DT (+ RT if N0 M0)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E1D64CD-DCDB-4A6B-BCED-390251834D58}"/>
                </a:ext>
              </a:extLst>
            </p:cNvPr>
            <p:cNvSpPr/>
            <p:nvPr/>
          </p:nvSpPr>
          <p:spPr bwMode="auto">
            <a:xfrm>
              <a:off x="6550620" y="3163208"/>
              <a:ext cx="3890071" cy="304602"/>
            </a:xfrm>
            <a:prstGeom prst="rect">
              <a:avLst/>
            </a:prstGeom>
            <a:solidFill>
              <a:srgbClr val="015873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Randomization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9623DDD-DE16-4DC5-A606-C753A0BE2174}"/>
                </a:ext>
              </a:extLst>
            </p:cNvPr>
            <p:cNvSpPr txBox="1"/>
            <p:nvPr/>
          </p:nvSpPr>
          <p:spPr bwMode="auto">
            <a:xfrm>
              <a:off x="7401801" y="2779144"/>
              <a:ext cx="2169781" cy="2727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ll Other Patients</a:t>
              </a:r>
              <a:endParaRPr kumimoji="0" lang="en-US" sz="7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5A6B9158-1D1C-447A-B6B1-4A67A237BE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7689" y="1901019"/>
            <a:ext cx="3759011" cy="4944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8257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1">
            <a:extLst>
              <a:ext uri="{FF2B5EF4-FFF2-40B4-BE49-F238E27FC236}">
                <a16:creationId xmlns:a16="http://schemas.microsoft.com/office/drawing/2014/main" id="{223206ED-215D-47E9-BA97-5A737BB072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360" y="6337032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vis. NEJM. 2019;381:121.</a:t>
            </a:r>
          </a:p>
        </p:txBody>
      </p:sp>
      <p:sp>
        <p:nvSpPr>
          <p:cNvPr id="12" name="Text Box 45">
            <a:extLst>
              <a:ext uri="{FF2B5EF4-FFF2-40B4-BE49-F238E27FC236}">
                <a16:creationId xmlns:a16="http://schemas.microsoft.com/office/drawing/2014/main" id="{A9D609D3-A3A7-496A-BDF8-D2928748BD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586" y="3040254"/>
            <a:ext cx="2933940" cy="156966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atients with metastatic prostate cancer, starting first-line ADT (max 12 wks prior to randomization); ECOG PS 0-2; </a:t>
            </a:r>
            <a:b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GB" alt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 cycles prior docetaxel allowed</a:t>
            </a:r>
            <a:endParaRPr kumimoji="0" lang="en-GB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N = 1125)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" name="Rectangle 49">
            <a:extLst>
              <a:ext uri="{FF2B5EF4-FFF2-40B4-BE49-F238E27FC236}">
                <a16:creationId xmlns:a16="http://schemas.microsoft.com/office/drawing/2014/main" id="{A55D672E-F07F-40D7-BCD1-A06FE7FBCC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062" y="3011385"/>
            <a:ext cx="3790950" cy="8340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zalutamide </a:t>
            </a: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60 mg/day</a:t>
            </a: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+ </a:t>
            </a:r>
            <a:b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estosterone suppress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n = 563)</a:t>
            </a:r>
          </a:p>
        </p:txBody>
      </p:sp>
      <p:sp>
        <p:nvSpPr>
          <p:cNvPr id="25" name="Rectangle 50">
            <a:extLst>
              <a:ext uri="{FF2B5EF4-FFF2-40B4-BE49-F238E27FC236}">
                <a16:creationId xmlns:a16="http://schemas.microsoft.com/office/drawing/2014/main" id="{3F581AA5-239F-4B62-9F51-0AF16CD0BA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062" y="3955949"/>
            <a:ext cx="3790950" cy="8340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andard NSAA*</a:t>
            </a: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+ </a:t>
            </a:r>
            <a:b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estosterone suppression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n = 562)</a:t>
            </a:r>
          </a:p>
        </p:txBody>
      </p:sp>
      <p:sp>
        <p:nvSpPr>
          <p:cNvPr id="27" name="Line 52">
            <a:extLst>
              <a:ext uri="{FF2B5EF4-FFF2-40B4-BE49-F238E27FC236}">
                <a16:creationId xmlns:a16="http://schemas.microsoft.com/office/drawing/2014/main" id="{CEF19CCB-B85A-471A-A99F-64FF1B2B2458}"/>
              </a:ext>
            </a:extLst>
          </p:cNvPr>
          <p:cNvSpPr>
            <a:spLocks noChangeShapeType="1"/>
          </p:cNvSpPr>
          <p:nvPr/>
        </p:nvSpPr>
        <p:spPr bwMode="auto">
          <a:xfrm>
            <a:off x="7800782" y="3403839"/>
            <a:ext cx="479425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8" name="Line 53">
            <a:extLst>
              <a:ext uri="{FF2B5EF4-FFF2-40B4-BE49-F238E27FC236}">
                <a16:creationId xmlns:a16="http://schemas.microsoft.com/office/drawing/2014/main" id="{AD9995DE-1623-4418-BA7F-2DBEFCE9A307}"/>
              </a:ext>
            </a:extLst>
          </p:cNvPr>
          <p:cNvSpPr>
            <a:spLocks noChangeShapeType="1"/>
          </p:cNvSpPr>
          <p:nvPr/>
        </p:nvSpPr>
        <p:spPr bwMode="auto">
          <a:xfrm>
            <a:off x="3187462" y="3963887"/>
            <a:ext cx="622300" cy="350837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9" name="Line 54">
            <a:extLst>
              <a:ext uri="{FF2B5EF4-FFF2-40B4-BE49-F238E27FC236}">
                <a16:creationId xmlns:a16="http://schemas.microsoft.com/office/drawing/2014/main" id="{71BE2CC5-001A-4DD2-BCD0-8EF443CA1A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87462" y="3363811"/>
            <a:ext cx="622300" cy="347662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8D34344-0B81-478A-A26A-7C8538366423}"/>
              </a:ext>
            </a:extLst>
          </p:cNvPr>
          <p:cNvSpPr txBox="1"/>
          <p:nvPr/>
        </p:nvSpPr>
        <p:spPr bwMode="auto">
          <a:xfrm>
            <a:off x="719138" y="1927974"/>
            <a:ext cx="5860469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ratified by volume of metastases (high vs low), antiresorptive therapy (yes vs no), ECOG PS (0/1 vs 2), comorbidities (ACE-27: </a:t>
            </a:r>
            <a:b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0/1 vs 2/3), study site, planned use of early docetaxel (yes vs no)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AE6FCFFC-0C2F-4C30-BC9F-E4F049DD2320}"/>
              </a:ext>
            </a:extLst>
          </p:cNvPr>
          <p:cNvCxnSpPr/>
          <p:nvPr/>
        </p:nvCxnSpPr>
        <p:spPr bwMode="auto">
          <a:xfrm>
            <a:off x="3506925" y="2735527"/>
            <a:ext cx="0" cy="551716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36" name="Rectangle 47">
            <a:extLst>
              <a:ext uri="{FF2B5EF4-FFF2-40B4-BE49-F238E27FC236}">
                <a16:creationId xmlns:a16="http://schemas.microsoft.com/office/drawing/2014/main" id="{3B549E7F-6AFC-428B-9177-1CE1190FF4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0207" y="3966049"/>
            <a:ext cx="150560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valuate</a:t>
            </a:r>
            <a:b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very 12 wks</a:t>
            </a:r>
          </a:p>
        </p:txBody>
      </p:sp>
      <p:sp>
        <p:nvSpPr>
          <p:cNvPr id="37" name="Line 52">
            <a:extLst>
              <a:ext uri="{FF2B5EF4-FFF2-40B4-BE49-F238E27FC236}">
                <a16:creationId xmlns:a16="http://schemas.microsoft.com/office/drawing/2014/main" id="{B08879B8-C8FE-4EBD-9CF1-D29134F346CC}"/>
              </a:ext>
            </a:extLst>
          </p:cNvPr>
          <p:cNvSpPr>
            <a:spLocks noChangeShapeType="1"/>
          </p:cNvSpPr>
          <p:nvPr/>
        </p:nvSpPr>
        <p:spPr bwMode="auto">
          <a:xfrm>
            <a:off x="7800782" y="4267193"/>
            <a:ext cx="479425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Rectangle 47">
            <a:extLst>
              <a:ext uri="{FF2B5EF4-FFF2-40B4-BE49-F238E27FC236}">
                <a16:creationId xmlns:a16="http://schemas.microsoft.com/office/drawing/2014/main" id="{287D1527-E01C-4D1A-A9F1-194988EC94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73242" y="2944562"/>
            <a:ext cx="1598729" cy="181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PC tx at PD (investigator discretion)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altLang="en-US" sz="16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llow for time to progression and OS</a:t>
            </a:r>
          </a:p>
        </p:txBody>
      </p:sp>
      <p:sp>
        <p:nvSpPr>
          <p:cNvPr id="26" name="Line 52">
            <a:extLst>
              <a:ext uri="{FF2B5EF4-FFF2-40B4-BE49-F238E27FC236}">
                <a16:creationId xmlns:a16="http://schemas.microsoft.com/office/drawing/2014/main" id="{227E5867-97AF-4650-B65A-05C6F7F73140}"/>
              </a:ext>
            </a:extLst>
          </p:cNvPr>
          <p:cNvSpPr>
            <a:spLocks noChangeShapeType="1"/>
          </p:cNvSpPr>
          <p:nvPr/>
        </p:nvSpPr>
        <p:spPr bwMode="auto">
          <a:xfrm>
            <a:off x="9719699" y="4271810"/>
            <a:ext cx="479425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" name="Rectangle 47">
            <a:extLst>
              <a:ext uri="{FF2B5EF4-FFF2-40B4-BE49-F238E27FC236}">
                <a16:creationId xmlns:a16="http://schemas.microsoft.com/office/drawing/2014/main" id="{8157C497-8DF1-4B8B-9592-896F484C66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0083" y="3113392"/>
            <a:ext cx="150560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valuate</a:t>
            </a:r>
            <a:b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very 12 wks</a:t>
            </a:r>
          </a:p>
        </p:txBody>
      </p:sp>
      <p:sp>
        <p:nvSpPr>
          <p:cNvPr id="38" name="Line 52">
            <a:extLst>
              <a:ext uri="{FF2B5EF4-FFF2-40B4-BE49-F238E27FC236}">
                <a16:creationId xmlns:a16="http://schemas.microsoft.com/office/drawing/2014/main" id="{80856635-C57E-451E-B8C1-9043A4BBA3E3}"/>
              </a:ext>
            </a:extLst>
          </p:cNvPr>
          <p:cNvSpPr>
            <a:spLocks noChangeShapeType="1"/>
          </p:cNvSpPr>
          <p:nvPr/>
        </p:nvSpPr>
        <p:spPr bwMode="auto">
          <a:xfrm>
            <a:off x="9729575" y="3419153"/>
            <a:ext cx="479425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3FD3D7-8F74-4FD0-8AB5-2D95B535723C}"/>
              </a:ext>
            </a:extLst>
          </p:cNvPr>
          <p:cNvSpPr txBox="1"/>
          <p:nvPr/>
        </p:nvSpPr>
        <p:spPr bwMode="auto">
          <a:xfrm>
            <a:off x="3838292" y="4746629"/>
            <a:ext cx="369613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Bicalutamide, nilutamide, or flutamid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AB4BCA8-5065-4680-A5EC-DA2F85FEDC34}"/>
              </a:ext>
            </a:extLst>
          </p:cNvPr>
          <p:cNvSpPr/>
          <p:nvPr/>
        </p:nvSpPr>
        <p:spPr bwMode="auto">
          <a:xfrm>
            <a:off x="10360885" y="2650867"/>
            <a:ext cx="1574015" cy="2325184"/>
          </a:xfrm>
          <a:prstGeom prst="rect">
            <a:avLst/>
          </a:prstGeom>
          <a:noFill/>
          <a:ln w="19050">
            <a:solidFill>
              <a:srgbClr val="002060"/>
            </a:solidFill>
            <a:miter lim="800000"/>
            <a:headEnd/>
            <a:tailEnd/>
          </a:ln>
        </p:spPr>
        <p:txBody>
          <a:bodyPr rtlCol="0" anchor="b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015873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" name="Title 10">
            <a:extLst>
              <a:ext uri="{FF2B5EF4-FFF2-40B4-BE49-F238E27FC236}">
                <a16:creationId xmlns:a16="http://schemas.microsoft.com/office/drawing/2014/main" id="{4AF0BDBA-C26F-401F-AA91-90FC08607610}"/>
              </a:ext>
            </a:extLst>
          </p:cNvPr>
          <p:cNvSpPr txBox="1">
            <a:spLocks/>
          </p:cNvSpPr>
          <p:nvPr/>
        </p:nvSpPr>
        <p:spPr bwMode="auto">
          <a:xfrm>
            <a:off x="0" y="-6960"/>
            <a:ext cx="12192000" cy="1815883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>
              <a:defRPr/>
            </a:pPr>
            <a:r>
              <a:rPr kumimoji="0" lang="en-US" altLang="en-US" sz="3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ENZAMET: </a:t>
            </a:r>
          </a:p>
          <a:p>
            <a:pPr>
              <a:defRPr/>
            </a:pPr>
            <a:r>
              <a:rPr kumimoji="0" lang="en-US" altLang="en-US" sz="3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Enzalutamide + ADT vs NSAA + ADT </a:t>
            </a:r>
          </a:p>
          <a:p>
            <a:pPr>
              <a:defRPr/>
            </a:pPr>
            <a:r>
              <a:rPr lang="en-US" sz="3200" dirty="0">
                <a:solidFill>
                  <a:schemeClr val="bg1"/>
                </a:solidFill>
              </a:rPr>
              <a:t>Randomized, open-label, multicenter phase III clinical trial</a:t>
            </a:r>
          </a:p>
        </p:txBody>
      </p:sp>
    </p:spTree>
    <p:extLst>
      <p:ext uri="{BB962C8B-B14F-4D97-AF65-F5344CB8AC3E}">
        <p14:creationId xmlns:p14="http://schemas.microsoft.com/office/powerpoint/2010/main" val="1598578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1">
            <a:extLst>
              <a:ext uri="{FF2B5EF4-FFF2-40B4-BE49-F238E27FC236}">
                <a16:creationId xmlns:a16="http://schemas.microsoft.com/office/drawing/2014/main" id="{223206ED-215D-47E9-BA97-5A737BB072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339" y="6385740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vis. NEJM. 2019;381:121.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07CCF80-F275-4526-9E0F-17C426DDDC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3886" y="2645481"/>
            <a:ext cx="4930014" cy="1874757"/>
          </a:xfrm>
          <a:prstGeom prst="rect">
            <a:avLst/>
          </a:prstGeom>
        </p:spPr>
      </p:pic>
      <p:graphicFrame>
        <p:nvGraphicFramePr>
          <p:cNvPr id="10" name="Group 32">
            <a:extLst>
              <a:ext uri="{FF2B5EF4-FFF2-40B4-BE49-F238E27FC236}">
                <a16:creationId xmlns:a16="http://schemas.microsoft.com/office/drawing/2014/main" id="{D33ABD93-B997-4F1D-BAB1-689622AB9A5A}"/>
              </a:ext>
            </a:extLst>
          </p:cNvPr>
          <p:cNvGraphicFramePr>
            <a:graphicFrameLocks noGrp="1"/>
          </p:cNvGraphicFramePr>
          <p:nvPr/>
        </p:nvGraphicFramePr>
        <p:xfrm>
          <a:off x="3643929" y="2803984"/>
          <a:ext cx="4471371" cy="173742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589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23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4291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tients Alive at Mo 36, %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4627212"/>
                  </a:ext>
                </a:extLst>
              </a:tr>
              <a:tr h="1429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zalutamide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SAA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3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00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 </a:t>
                      </a:r>
                      <a:br>
                        <a:rPr kumimoji="0" lang="en-US" sz="18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8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95% CI: 75-83)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2 </a:t>
                      </a:r>
                      <a:br>
                        <a:rPr kumimoji="0" lang="en-US" sz="18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kumimoji="0" lang="en-US" sz="18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95% CI: 68-76)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horzOverflow="overflow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008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: 0.67 (95% CI: 052-0.86; </a:t>
                      </a:r>
                      <a:r>
                        <a:rPr kumimoji="0" lang="en-US" sz="18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</a:t>
                      </a:r>
                      <a:r>
                        <a:rPr kumimoji="0" lang="en-US" sz="18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= .002)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881" marR="121881" marT="45728" marB="45728" horzOverflow="overflow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0C26C12-DFBF-42F2-A835-45ABB5ADB746}"/>
              </a:ext>
            </a:extLst>
          </p:cNvPr>
          <p:cNvSpPr txBox="1"/>
          <p:nvPr/>
        </p:nvSpPr>
        <p:spPr bwMode="auto">
          <a:xfrm>
            <a:off x="3194668" y="5573332"/>
            <a:ext cx="752360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63        558        541         527       480         340        189        106          4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6AB2763-1395-4241-8A01-BE9D8DE3C704}"/>
              </a:ext>
            </a:extLst>
          </p:cNvPr>
          <p:cNvSpPr txBox="1"/>
          <p:nvPr/>
        </p:nvSpPr>
        <p:spPr bwMode="auto">
          <a:xfrm>
            <a:off x="3255000" y="5907628"/>
            <a:ext cx="765558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62        551        531         501       452         311        174         86           3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47962CB-E803-457D-8ACB-8E7D44CEA912}"/>
              </a:ext>
            </a:extLst>
          </p:cNvPr>
          <p:cNvSpPr txBox="1"/>
          <p:nvPr/>
        </p:nvSpPr>
        <p:spPr bwMode="auto">
          <a:xfrm>
            <a:off x="765253" y="5302935"/>
            <a:ext cx="2429415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atients at Risk, n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zalutamide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SAA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6803E0C-30C2-4A9B-8E95-B3F832ED2B2C}"/>
              </a:ext>
            </a:extLst>
          </p:cNvPr>
          <p:cNvCxnSpPr/>
          <p:nvPr/>
        </p:nvCxnSpPr>
        <p:spPr bwMode="auto">
          <a:xfrm>
            <a:off x="3481680" y="4674751"/>
            <a:ext cx="7010042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D5B7F1D-3052-4A15-9ADF-AC7B868CB3E1}"/>
              </a:ext>
            </a:extLst>
          </p:cNvPr>
          <p:cNvCxnSpPr>
            <a:cxnSpLocks/>
          </p:cNvCxnSpPr>
          <p:nvPr/>
        </p:nvCxnSpPr>
        <p:spPr bwMode="auto">
          <a:xfrm flipV="1">
            <a:off x="3502692" y="1878057"/>
            <a:ext cx="0" cy="280893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901D59E-4642-4323-8657-CF6CCB323DF1}"/>
              </a:ext>
            </a:extLst>
          </p:cNvPr>
          <p:cNvCxnSpPr/>
          <p:nvPr/>
        </p:nvCxnSpPr>
        <p:spPr bwMode="auto">
          <a:xfrm flipH="1">
            <a:off x="3422939" y="1887109"/>
            <a:ext cx="67794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F7D3374-834D-4FA9-A671-0902E71D48E0}"/>
              </a:ext>
            </a:extLst>
          </p:cNvPr>
          <p:cNvCxnSpPr/>
          <p:nvPr/>
        </p:nvCxnSpPr>
        <p:spPr bwMode="auto">
          <a:xfrm flipH="1">
            <a:off x="3422939" y="2451880"/>
            <a:ext cx="67794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90AB650-C865-4265-A16C-4060EBA0104A}"/>
              </a:ext>
            </a:extLst>
          </p:cNvPr>
          <p:cNvCxnSpPr/>
          <p:nvPr/>
        </p:nvCxnSpPr>
        <p:spPr bwMode="auto">
          <a:xfrm flipH="1">
            <a:off x="3422939" y="3563316"/>
            <a:ext cx="67794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933FB12-5D8C-4648-B559-ABF620730A22}"/>
              </a:ext>
            </a:extLst>
          </p:cNvPr>
          <p:cNvCxnSpPr/>
          <p:nvPr/>
        </p:nvCxnSpPr>
        <p:spPr bwMode="auto">
          <a:xfrm flipH="1">
            <a:off x="3422939" y="4119034"/>
            <a:ext cx="67794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EBB9AD7-C637-4208-ABF3-2537AF5574BA}"/>
              </a:ext>
            </a:extLst>
          </p:cNvPr>
          <p:cNvCxnSpPr/>
          <p:nvPr/>
        </p:nvCxnSpPr>
        <p:spPr bwMode="auto">
          <a:xfrm flipH="1">
            <a:off x="3422939" y="4674751"/>
            <a:ext cx="67794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63FAF55-351D-406C-BDEB-4BBF36464E89}"/>
              </a:ext>
            </a:extLst>
          </p:cNvPr>
          <p:cNvCxnSpPr/>
          <p:nvPr/>
        </p:nvCxnSpPr>
        <p:spPr bwMode="auto">
          <a:xfrm>
            <a:off x="3500534" y="467475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BBF1153-9A3F-45B2-9998-CBCF2725310A}"/>
              </a:ext>
            </a:extLst>
          </p:cNvPr>
          <p:cNvCxnSpPr/>
          <p:nvPr/>
        </p:nvCxnSpPr>
        <p:spPr bwMode="auto">
          <a:xfrm>
            <a:off x="4349339" y="467475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683EF39-010B-4FF7-A65E-4151922EC08F}"/>
              </a:ext>
            </a:extLst>
          </p:cNvPr>
          <p:cNvCxnSpPr/>
          <p:nvPr/>
        </p:nvCxnSpPr>
        <p:spPr bwMode="auto">
          <a:xfrm>
            <a:off x="5198144" y="467475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1B43DD8-4546-4858-8759-50534F3BC245}"/>
              </a:ext>
            </a:extLst>
          </p:cNvPr>
          <p:cNvCxnSpPr/>
          <p:nvPr/>
        </p:nvCxnSpPr>
        <p:spPr bwMode="auto">
          <a:xfrm>
            <a:off x="6046949" y="467475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D8A7AF6-C595-49D5-A912-F34F856D615D}"/>
              </a:ext>
            </a:extLst>
          </p:cNvPr>
          <p:cNvCxnSpPr/>
          <p:nvPr/>
        </p:nvCxnSpPr>
        <p:spPr bwMode="auto">
          <a:xfrm>
            <a:off x="6895754" y="467475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6F6A616-9122-4011-9235-6AE2FBD1AB5A}"/>
              </a:ext>
            </a:extLst>
          </p:cNvPr>
          <p:cNvCxnSpPr/>
          <p:nvPr/>
        </p:nvCxnSpPr>
        <p:spPr bwMode="auto">
          <a:xfrm>
            <a:off x="7744559" y="467475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FD11C79-D8CE-49A8-BCE8-D64AD59FB6FD}"/>
              </a:ext>
            </a:extLst>
          </p:cNvPr>
          <p:cNvCxnSpPr/>
          <p:nvPr/>
        </p:nvCxnSpPr>
        <p:spPr bwMode="auto">
          <a:xfrm>
            <a:off x="8593364" y="467475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F026A41-5ABE-4D48-AB83-69B21FD3C7E6}"/>
              </a:ext>
            </a:extLst>
          </p:cNvPr>
          <p:cNvCxnSpPr/>
          <p:nvPr/>
        </p:nvCxnSpPr>
        <p:spPr bwMode="auto">
          <a:xfrm>
            <a:off x="9442169" y="467475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2EBEE1C-7DB1-4310-ABB2-83FCE1A05357}"/>
              </a:ext>
            </a:extLst>
          </p:cNvPr>
          <p:cNvCxnSpPr/>
          <p:nvPr/>
        </p:nvCxnSpPr>
        <p:spPr bwMode="auto">
          <a:xfrm>
            <a:off x="10290975" y="4674751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ABE7F13-EB6A-45A6-89A2-F28D8E34FBA0}"/>
              </a:ext>
            </a:extLst>
          </p:cNvPr>
          <p:cNvCxnSpPr/>
          <p:nvPr/>
        </p:nvCxnSpPr>
        <p:spPr bwMode="auto">
          <a:xfrm flipV="1">
            <a:off x="8593364" y="2490051"/>
            <a:ext cx="0" cy="2337847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FB650EFF-6433-48E7-A1F4-5A48438CA339}"/>
              </a:ext>
            </a:extLst>
          </p:cNvPr>
          <p:cNvSpPr txBox="1"/>
          <p:nvPr/>
        </p:nvSpPr>
        <p:spPr bwMode="auto">
          <a:xfrm>
            <a:off x="3500534" y="5076393"/>
            <a:ext cx="685951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o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C6CF561-13FA-45BE-8574-4C1D09CBA22B}"/>
              </a:ext>
            </a:extLst>
          </p:cNvPr>
          <p:cNvSpPr txBox="1"/>
          <p:nvPr/>
        </p:nvSpPr>
        <p:spPr bwMode="auto">
          <a:xfrm>
            <a:off x="9696090" y="1492452"/>
            <a:ext cx="158273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zalutamide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SAA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5C31D3A-C29E-4711-BB5C-2D2F55088528}"/>
              </a:ext>
            </a:extLst>
          </p:cNvPr>
          <p:cNvSpPr txBox="1"/>
          <p:nvPr/>
        </p:nvSpPr>
        <p:spPr bwMode="auto">
          <a:xfrm>
            <a:off x="10027330" y="4705093"/>
            <a:ext cx="5272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8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B9F7963-99BB-47F2-8ED9-A0B9DA2C006A}"/>
              </a:ext>
            </a:extLst>
          </p:cNvPr>
          <p:cNvSpPr txBox="1"/>
          <p:nvPr/>
        </p:nvSpPr>
        <p:spPr bwMode="auto">
          <a:xfrm>
            <a:off x="3229995" y="4705093"/>
            <a:ext cx="5272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0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96F8311-18B8-4675-97B5-28EACB8505E3}"/>
              </a:ext>
            </a:extLst>
          </p:cNvPr>
          <p:cNvSpPr txBox="1"/>
          <p:nvPr/>
        </p:nvSpPr>
        <p:spPr bwMode="auto">
          <a:xfrm>
            <a:off x="4079662" y="4705093"/>
            <a:ext cx="5272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24B904E-CD3A-47E8-8FAC-75C37CF4AFE0}"/>
              </a:ext>
            </a:extLst>
          </p:cNvPr>
          <p:cNvSpPr txBox="1"/>
          <p:nvPr/>
        </p:nvSpPr>
        <p:spPr bwMode="auto">
          <a:xfrm>
            <a:off x="4929329" y="4705093"/>
            <a:ext cx="5272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2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5EE1D19-80D7-41C8-9E5D-2421DDD7719B}"/>
              </a:ext>
            </a:extLst>
          </p:cNvPr>
          <p:cNvSpPr txBox="1"/>
          <p:nvPr/>
        </p:nvSpPr>
        <p:spPr bwMode="auto">
          <a:xfrm>
            <a:off x="5778996" y="4705093"/>
            <a:ext cx="5272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8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AE78AEB-2577-4D87-91E6-963ED4F42EDE}"/>
              </a:ext>
            </a:extLst>
          </p:cNvPr>
          <p:cNvSpPr txBox="1"/>
          <p:nvPr/>
        </p:nvSpPr>
        <p:spPr bwMode="auto">
          <a:xfrm>
            <a:off x="6628663" y="4705093"/>
            <a:ext cx="5272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4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3BCB134-5C10-424D-B9EA-519FBF237344}"/>
              </a:ext>
            </a:extLst>
          </p:cNvPr>
          <p:cNvSpPr txBox="1"/>
          <p:nvPr/>
        </p:nvSpPr>
        <p:spPr bwMode="auto">
          <a:xfrm>
            <a:off x="7478330" y="4705093"/>
            <a:ext cx="5272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0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1EF0478-AFEC-48C9-B012-42C603B3DCAB}"/>
              </a:ext>
            </a:extLst>
          </p:cNvPr>
          <p:cNvSpPr txBox="1"/>
          <p:nvPr/>
        </p:nvSpPr>
        <p:spPr bwMode="auto">
          <a:xfrm>
            <a:off x="8327997" y="4705093"/>
            <a:ext cx="5272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6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F76824D-83DF-4BFA-8E59-870C4F66FC45}"/>
              </a:ext>
            </a:extLst>
          </p:cNvPr>
          <p:cNvSpPr txBox="1"/>
          <p:nvPr/>
        </p:nvSpPr>
        <p:spPr bwMode="auto">
          <a:xfrm>
            <a:off x="9177664" y="4705093"/>
            <a:ext cx="5272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2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471771D-4A0A-4FCB-BA46-5B3A858AE950}"/>
              </a:ext>
            </a:extLst>
          </p:cNvPr>
          <p:cNvSpPr txBox="1"/>
          <p:nvPr/>
        </p:nvSpPr>
        <p:spPr bwMode="auto">
          <a:xfrm rot="16200000">
            <a:off x="1298639" y="3177365"/>
            <a:ext cx="293173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S (%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363A51F-B97D-45C6-BE53-F28F53615485}"/>
              </a:ext>
            </a:extLst>
          </p:cNvPr>
          <p:cNvSpPr txBox="1"/>
          <p:nvPr/>
        </p:nvSpPr>
        <p:spPr bwMode="auto">
          <a:xfrm>
            <a:off x="2870589" y="1704373"/>
            <a:ext cx="56445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F954E5F-3DDA-40EE-88B8-D6B9BFE41230}"/>
              </a:ext>
            </a:extLst>
          </p:cNvPr>
          <p:cNvSpPr txBox="1"/>
          <p:nvPr/>
        </p:nvSpPr>
        <p:spPr bwMode="auto">
          <a:xfrm>
            <a:off x="2870589" y="2820465"/>
            <a:ext cx="56445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0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30D8287-1B6C-4722-8DEC-93FFCD88AA5E}"/>
              </a:ext>
            </a:extLst>
          </p:cNvPr>
          <p:cNvSpPr txBox="1"/>
          <p:nvPr/>
        </p:nvSpPr>
        <p:spPr bwMode="auto">
          <a:xfrm>
            <a:off x="2870589" y="3378511"/>
            <a:ext cx="56445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0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6332E3A-3500-48EF-AEF5-9BFB224EBCEB}"/>
              </a:ext>
            </a:extLst>
          </p:cNvPr>
          <p:cNvSpPr txBox="1"/>
          <p:nvPr/>
        </p:nvSpPr>
        <p:spPr bwMode="auto">
          <a:xfrm>
            <a:off x="2870589" y="3936557"/>
            <a:ext cx="56445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45F635F-9C90-4F5E-AEAA-2B5D24FA8AFC}"/>
              </a:ext>
            </a:extLst>
          </p:cNvPr>
          <p:cNvSpPr txBox="1"/>
          <p:nvPr/>
        </p:nvSpPr>
        <p:spPr bwMode="auto">
          <a:xfrm>
            <a:off x="2870589" y="4494602"/>
            <a:ext cx="56445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0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D24F354F-6C75-4BE4-ABF0-DA50A8C29EA1}"/>
              </a:ext>
            </a:extLst>
          </p:cNvPr>
          <p:cNvCxnSpPr/>
          <p:nvPr/>
        </p:nvCxnSpPr>
        <p:spPr bwMode="auto">
          <a:xfrm flipH="1">
            <a:off x="9270569" y="1666345"/>
            <a:ext cx="434383" cy="0"/>
          </a:xfrm>
          <a:prstGeom prst="lin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34E83A58-9C19-45EE-850F-0340463EC1DA}"/>
              </a:ext>
            </a:extLst>
          </p:cNvPr>
          <p:cNvCxnSpPr/>
          <p:nvPr/>
        </p:nvCxnSpPr>
        <p:spPr bwMode="auto">
          <a:xfrm flipH="1">
            <a:off x="9270569" y="1960146"/>
            <a:ext cx="434383" cy="0"/>
          </a:xfrm>
          <a:prstGeom prst="lin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697B5315-ADFF-46B3-A0C6-21FA27C57149}"/>
              </a:ext>
            </a:extLst>
          </p:cNvPr>
          <p:cNvSpPr txBox="1"/>
          <p:nvPr/>
        </p:nvSpPr>
        <p:spPr bwMode="auto">
          <a:xfrm>
            <a:off x="2870589" y="2262419"/>
            <a:ext cx="56445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80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FD2C4198-A04E-42FB-BCBC-8C3F9366C3F6}"/>
              </a:ext>
            </a:extLst>
          </p:cNvPr>
          <p:cNvCxnSpPr/>
          <p:nvPr/>
        </p:nvCxnSpPr>
        <p:spPr bwMode="auto">
          <a:xfrm flipH="1">
            <a:off x="3422939" y="3007598"/>
            <a:ext cx="67794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E84A626A-1DEA-4891-B1D2-E7C101CBF8C3}"/>
              </a:ext>
            </a:extLst>
          </p:cNvPr>
          <p:cNvSpPr/>
          <p:nvPr/>
        </p:nvSpPr>
        <p:spPr bwMode="auto">
          <a:xfrm>
            <a:off x="3490913" y="1914525"/>
            <a:ext cx="6872287" cy="766763"/>
          </a:xfrm>
          <a:custGeom>
            <a:avLst/>
            <a:gdLst>
              <a:gd name="connsiteX0" fmla="*/ 6872287 w 6872287"/>
              <a:gd name="connsiteY0" fmla="*/ 766763 h 766763"/>
              <a:gd name="connsiteX1" fmla="*/ 6777037 w 6872287"/>
              <a:gd name="connsiteY1" fmla="*/ 766763 h 766763"/>
              <a:gd name="connsiteX2" fmla="*/ 6777037 w 6872287"/>
              <a:gd name="connsiteY2" fmla="*/ 723900 h 766763"/>
              <a:gd name="connsiteX3" fmla="*/ 6491287 w 6872287"/>
              <a:gd name="connsiteY3" fmla="*/ 723900 h 766763"/>
              <a:gd name="connsiteX4" fmla="*/ 6491287 w 6872287"/>
              <a:gd name="connsiteY4" fmla="*/ 690563 h 766763"/>
              <a:gd name="connsiteX5" fmla="*/ 6410325 w 6872287"/>
              <a:gd name="connsiteY5" fmla="*/ 690563 h 766763"/>
              <a:gd name="connsiteX6" fmla="*/ 6410325 w 6872287"/>
              <a:gd name="connsiteY6" fmla="*/ 647700 h 766763"/>
              <a:gd name="connsiteX7" fmla="*/ 5976937 w 6872287"/>
              <a:gd name="connsiteY7" fmla="*/ 647700 h 766763"/>
              <a:gd name="connsiteX8" fmla="*/ 5976937 w 6872287"/>
              <a:gd name="connsiteY8" fmla="*/ 628650 h 766763"/>
              <a:gd name="connsiteX9" fmla="*/ 5667375 w 6872287"/>
              <a:gd name="connsiteY9" fmla="*/ 628650 h 766763"/>
              <a:gd name="connsiteX10" fmla="*/ 5648325 w 6872287"/>
              <a:gd name="connsiteY10" fmla="*/ 609600 h 766763"/>
              <a:gd name="connsiteX11" fmla="*/ 5500687 w 6872287"/>
              <a:gd name="connsiteY11" fmla="*/ 609600 h 766763"/>
              <a:gd name="connsiteX12" fmla="*/ 5500687 w 6872287"/>
              <a:gd name="connsiteY12" fmla="*/ 561975 h 766763"/>
              <a:gd name="connsiteX13" fmla="*/ 5095875 w 6872287"/>
              <a:gd name="connsiteY13" fmla="*/ 561975 h 766763"/>
              <a:gd name="connsiteX14" fmla="*/ 5095875 w 6872287"/>
              <a:gd name="connsiteY14" fmla="*/ 514350 h 766763"/>
              <a:gd name="connsiteX15" fmla="*/ 5000625 w 6872287"/>
              <a:gd name="connsiteY15" fmla="*/ 514350 h 766763"/>
              <a:gd name="connsiteX16" fmla="*/ 4986338 w 6872287"/>
              <a:gd name="connsiteY16" fmla="*/ 500063 h 766763"/>
              <a:gd name="connsiteX17" fmla="*/ 4833937 w 6872287"/>
              <a:gd name="connsiteY17" fmla="*/ 500063 h 766763"/>
              <a:gd name="connsiteX18" fmla="*/ 4833937 w 6872287"/>
              <a:gd name="connsiteY18" fmla="*/ 485775 h 766763"/>
              <a:gd name="connsiteX19" fmla="*/ 4752975 w 6872287"/>
              <a:gd name="connsiteY19" fmla="*/ 485775 h 766763"/>
              <a:gd name="connsiteX20" fmla="*/ 4752975 w 6872287"/>
              <a:gd name="connsiteY20" fmla="*/ 457200 h 766763"/>
              <a:gd name="connsiteX21" fmla="*/ 4581525 w 6872287"/>
              <a:gd name="connsiteY21" fmla="*/ 457200 h 766763"/>
              <a:gd name="connsiteX22" fmla="*/ 4562475 w 6872287"/>
              <a:gd name="connsiteY22" fmla="*/ 438150 h 766763"/>
              <a:gd name="connsiteX23" fmla="*/ 4414837 w 6872287"/>
              <a:gd name="connsiteY23" fmla="*/ 438150 h 766763"/>
              <a:gd name="connsiteX24" fmla="*/ 4414837 w 6872287"/>
              <a:gd name="connsiteY24" fmla="*/ 438150 h 766763"/>
              <a:gd name="connsiteX25" fmla="*/ 4281487 w 6872287"/>
              <a:gd name="connsiteY25" fmla="*/ 438150 h 766763"/>
              <a:gd name="connsiteX26" fmla="*/ 4281487 w 6872287"/>
              <a:gd name="connsiteY26" fmla="*/ 385763 h 766763"/>
              <a:gd name="connsiteX27" fmla="*/ 3905250 w 6872287"/>
              <a:gd name="connsiteY27" fmla="*/ 385763 h 766763"/>
              <a:gd name="connsiteX28" fmla="*/ 3876675 w 6872287"/>
              <a:gd name="connsiteY28" fmla="*/ 357188 h 766763"/>
              <a:gd name="connsiteX29" fmla="*/ 3767137 w 6872287"/>
              <a:gd name="connsiteY29" fmla="*/ 357188 h 766763"/>
              <a:gd name="connsiteX30" fmla="*/ 3767137 w 6872287"/>
              <a:gd name="connsiteY30" fmla="*/ 319088 h 766763"/>
              <a:gd name="connsiteX31" fmla="*/ 3481387 w 6872287"/>
              <a:gd name="connsiteY31" fmla="*/ 319088 h 766763"/>
              <a:gd name="connsiteX32" fmla="*/ 3438525 w 6872287"/>
              <a:gd name="connsiteY32" fmla="*/ 319088 h 766763"/>
              <a:gd name="connsiteX33" fmla="*/ 3286125 w 6872287"/>
              <a:gd name="connsiteY33" fmla="*/ 319088 h 766763"/>
              <a:gd name="connsiteX34" fmla="*/ 3190875 w 6872287"/>
              <a:gd name="connsiteY34" fmla="*/ 257175 h 766763"/>
              <a:gd name="connsiteX35" fmla="*/ 3038475 w 6872287"/>
              <a:gd name="connsiteY35" fmla="*/ 247650 h 766763"/>
              <a:gd name="connsiteX36" fmla="*/ 2919412 w 6872287"/>
              <a:gd name="connsiteY36" fmla="*/ 219075 h 766763"/>
              <a:gd name="connsiteX37" fmla="*/ 2781300 w 6872287"/>
              <a:gd name="connsiteY37" fmla="*/ 209550 h 766763"/>
              <a:gd name="connsiteX38" fmla="*/ 2743200 w 6872287"/>
              <a:gd name="connsiteY38" fmla="*/ 176213 h 766763"/>
              <a:gd name="connsiteX39" fmla="*/ 2600325 w 6872287"/>
              <a:gd name="connsiteY39" fmla="*/ 190500 h 766763"/>
              <a:gd name="connsiteX40" fmla="*/ 2566987 w 6872287"/>
              <a:gd name="connsiteY40" fmla="*/ 161925 h 766763"/>
              <a:gd name="connsiteX41" fmla="*/ 2443162 w 6872287"/>
              <a:gd name="connsiteY41" fmla="*/ 161925 h 766763"/>
              <a:gd name="connsiteX42" fmla="*/ 2319337 w 6872287"/>
              <a:gd name="connsiteY42" fmla="*/ 166688 h 766763"/>
              <a:gd name="connsiteX43" fmla="*/ 2281237 w 6872287"/>
              <a:gd name="connsiteY43" fmla="*/ 138113 h 766763"/>
              <a:gd name="connsiteX44" fmla="*/ 1933575 w 6872287"/>
              <a:gd name="connsiteY44" fmla="*/ 128588 h 766763"/>
              <a:gd name="connsiteX45" fmla="*/ 1814512 w 6872287"/>
              <a:gd name="connsiteY45" fmla="*/ 109538 h 766763"/>
              <a:gd name="connsiteX46" fmla="*/ 1557337 w 6872287"/>
              <a:gd name="connsiteY46" fmla="*/ 95250 h 766763"/>
              <a:gd name="connsiteX47" fmla="*/ 1519237 w 6872287"/>
              <a:gd name="connsiteY47" fmla="*/ 76200 h 766763"/>
              <a:gd name="connsiteX48" fmla="*/ 1347787 w 6872287"/>
              <a:gd name="connsiteY48" fmla="*/ 76200 h 766763"/>
              <a:gd name="connsiteX49" fmla="*/ 1290637 w 6872287"/>
              <a:gd name="connsiteY49" fmla="*/ 47625 h 766763"/>
              <a:gd name="connsiteX50" fmla="*/ 1081087 w 6872287"/>
              <a:gd name="connsiteY50" fmla="*/ 52388 h 766763"/>
              <a:gd name="connsiteX51" fmla="*/ 1009650 w 6872287"/>
              <a:gd name="connsiteY51" fmla="*/ 28575 h 766763"/>
              <a:gd name="connsiteX52" fmla="*/ 857250 w 6872287"/>
              <a:gd name="connsiteY52" fmla="*/ 28575 h 766763"/>
              <a:gd name="connsiteX53" fmla="*/ 823912 w 6872287"/>
              <a:gd name="connsiteY53" fmla="*/ 9525 h 766763"/>
              <a:gd name="connsiteX54" fmla="*/ 0 w 6872287"/>
              <a:gd name="connsiteY54" fmla="*/ 0 h 766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872287" h="766763">
                <a:moveTo>
                  <a:pt x="6872287" y="766763"/>
                </a:moveTo>
                <a:lnTo>
                  <a:pt x="6777037" y="766763"/>
                </a:lnTo>
                <a:lnTo>
                  <a:pt x="6777037" y="723900"/>
                </a:lnTo>
                <a:lnTo>
                  <a:pt x="6491287" y="723900"/>
                </a:lnTo>
                <a:lnTo>
                  <a:pt x="6491287" y="690563"/>
                </a:lnTo>
                <a:lnTo>
                  <a:pt x="6410325" y="690563"/>
                </a:lnTo>
                <a:lnTo>
                  <a:pt x="6410325" y="647700"/>
                </a:lnTo>
                <a:lnTo>
                  <a:pt x="5976937" y="647700"/>
                </a:lnTo>
                <a:lnTo>
                  <a:pt x="5976937" y="628650"/>
                </a:lnTo>
                <a:lnTo>
                  <a:pt x="5667375" y="628650"/>
                </a:lnTo>
                <a:lnTo>
                  <a:pt x="5648325" y="609600"/>
                </a:lnTo>
                <a:lnTo>
                  <a:pt x="5500687" y="609600"/>
                </a:lnTo>
                <a:lnTo>
                  <a:pt x="5500687" y="561975"/>
                </a:lnTo>
                <a:lnTo>
                  <a:pt x="5095875" y="561975"/>
                </a:lnTo>
                <a:lnTo>
                  <a:pt x="5095875" y="514350"/>
                </a:lnTo>
                <a:lnTo>
                  <a:pt x="5000625" y="514350"/>
                </a:lnTo>
                <a:lnTo>
                  <a:pt x="4986338" y="500063"/>
                </a:lnTo>
                <a:lnTo>
                  <a:pt x="4833937" y="500063"/>
                </a:lnTo>
                <a:lnTo>
                  <a:pt x="4833937" y="485775"/>
                </a:lnTo>
                <a:lnTo>
                  <a:pt x="4752975" y="485775"/>
                </a:lnTo>
                <a:lnTo>
                  <a:pt x="4752975" y="457200"/>
                </a:lnTo>
                <a:lnTo>
                  <a:pt x="4581525" y="457200"/>
                </a:lnTo>
                <a:lnTo>
                  <a:pt x="4562475" y="438150"/>
                </a:lnTo>
                <a:lnTo>
                  <a:pt x="4414837" y="438150"/>
                </a:lnTo>
                <a:lnTo>
                  <a:pt x="4414837" y="438150"/>
                </a:lnTo>
                <a:lnTo>
                  <a:pt x="4281487" y="438150"/>
                </a:lnTo>
                <a:lnTo>
                  <a:pt x="4281487" y="385763"/>
                </a:lnTo>
                <a:lnTo>
                  <a:pt x="3905250" y="385763"/>
                </a:lnTo>
                <a:lnTo>
                  <a:pt x="3876675" y="357188"/>
                </a:lnTo>
                <a:lnTo>
                  <a:pt x="3767137" y="357188"/>
                </a:lnTo>
                <a:lnTo>
                  <a:pt x="3767137" y="319088"/>
                </a:lnTo>
                <a:lnTo>
                  <a:pt x="3481387" y="319088"/>
                </a:lnTo>
                <a:lnTo>
                  <a:pt x="3438525" y="319088"/>
                </a:lnTo>
                <a:lnTo>
                  <a:pt x="3286125" y="319088"/>
                </a:lnTo>
                <a:lnTo>
                  <a:pt x="3190875" y="257175"/>
                </a:lnTo>
                <a:lnTo>
                  <a:pt x="3038475" y="247650"/>
                </a:lnTo>
                <a:lnTo>
                  <a:pt x="2919412" y="219075"/>
                </a:lnTo>
                <a:lnTo>
                  <a:pt x="2781300" y="209550"/>
                </a:lnTo>
                <a:lnTo>
                  <a:pt x="2743200" y="176213"/>
                </a:lnTo>
                <a:lnTo>
                  <a:pt x="2600325" y="190500"/>
                </a:lnTo>
                <a:lnTo>
                  <a:pt x="2566987" y="161925"/>
                </a:lnTo>
                <a:lnTo>
                  <a:pt x="2443162" y="161925"/>
                </a:lnTo>
                <a:lnTo>
                  <a:pt x="2319337" y="166688"/>
                </a:lnTo>
                <a:lnTo>
                  <a:pt x="2281237" y="138113"/>
                </a:lnTo>
                <a:lnTo>
                  <a:pt x="1933575" y="128588"/>
                </a:lnTo>
                <a:lnTo>
                  <a:pt x="1814512" y="109538"/>
                </a:lnTo>
                <a:lnTo>
                  <a:pt x="1557337" y="95250"/>
                </a:lnTo>
                <a:lnTo>
                  <a:pt x="1519237" y="76200"/>
                </a:lnTo>
                <a:lnTo>
                  <a:pt x="1347787" y="76200"/>
                </a:lnTo>
                <a:lnTo>
                  <a:pt x="1290637" y="47625"/>
                </a:lnTo>
                <a:lnTo>
                  <a:pt x="1081087" y="52388"/>
                </a:lnTo>
                <a:lnTo>
                  <a:pt x="1009650" y="28575"/>
                </a:lnTo>
                <a:lnTo>
                  <a:pt x="857250" y="28575"/>
                </a:lnTo>
                <a:lnTo>
                  <a:pt x="823912" y="9525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CAD7850A-9CF0-4649-A4CE-67C1C69E00AF}"/>
              </a:ext>
            </a:extLst>
          </p:cNvPr>
          <p:cNvSpPr/>
          <p:nvPr/>
        </p:nvSpPr>
        <p:spPr bwMode="auto">
          <a:xfrm>
            <a:off x="3495675" y="1919288"/>
            <a:ext cx="6829425" cy="1014412"/>
          </a:xfrm>
          <a:custGeom>
            <a:avLst/>
            <a:gdLst>
              <a:gd name="connsiteX0" fmla="*/ 0 w 6829425"/>
              <a:gd name="connsiteY0" fmla="*/ 0 h 1014412"/>
              <a:gd name="connsiteX1" fmla="*/ 804863 w 6829425"/>
              <a:gd name="connsiteY1" fmla="*/ 28575 h 1014412"/>
              <a:gd name="connsiteX2" fmla="*/ 890588 w 6829425"/>
              <a:gd name="connsiteY2" fmla="*/ 52387 h 1014412"/>
              <a:gd name="connsiteX3" fmla="*/ 1471613 w 6829425"/>
              <a:gd name="connsiteY3" fmla="*/ 80962 h 1014412"/>
              <a:gd name="connsiteX4" fmla="*/ 1519238 w 6829425"/>
              <a:gd name="connsiteY4" fmla="*/ 109537 h 1014412"/>
              <a:gd name="connsiteX5" fmla="*/ 1647825 w 6829425"/>
              <a:gd name="connsiteY5" fmla="*/ 119062 h 1014412"/>
              <a:gd name="connsiteX6" fmla="*/ 1685925 w 6829425"/>
              <a:gd name="connsiteY6" fmla="*/ 142875 h 1014412"/>
              <a:gd name="connsiteX7" fmla="*/ 1795463 w 6829425"/>
              <a:gd name="connsiteY7" fmla="*/ 147637 h 1014412"/>
              <a:gd name="connsiteX8" fmla="*/ 1814513 w 6829425"/>
              <a:gd name="connsiteY8" fmla="*/ 161925 h 1014412"/>
              <a:gd name="connsiteX9" fmla="*/ 1933575 w 6829425"/>
              <a:gd name="connsiteY9" fmla="*/ 157162 h 1014412"/>
              <a:gd name="connsiteX10" fmla="*/ 1962150 w 6829425"/>
              <a:gd name="connsiteY10" fmla="*/ 185737 h 1014412"/>
              <a:gd name="connsiteX11" fmla="*/ 2224088 w 6829425"/>
              <a:gd name="connsiteY11" fmla="*/ 185737 h 1014412"/>
              <a:gd name="connsiteX12" fmla="*/ 2271713 w 6829425"/>
              <a:gd name="connsiteY12" fmla="*/ 219075 h 1014412"/>
              <a:gd name="connsiteX13" fmla="*/ 2509838 w 6829425"/>
              <a:gd name="connsiteY13" fmla="*/ 242887 h 1014412"/>
              <a:gd name="connsiteX14" fmla="*/ 2547938 w 6829425"/>
              <a:gd name="connsiteY14" fmla="*/ 266700 h 1014412"/>
              <a:gd name="connsiteX15" fmla="*/ 2643188 w 6829425"/>
              <a:gd name="connsiteY15" fmla="*/ 261937 h 1014412"/>
              <a:gd name="connsiteX16" fmla="*/ 2681288 w 6829425"/>
              <a:gd name="connsiteY16" fmla="*/ 285750 h 1014412"/>
              <a:gd name="connsiteX17" fmla="*/ 2767013 w 6829425"/>
              <a:gd name="connsiteY17" fmla="*/ 295275 h 1014412"/>
              <a:gd name="connsiteX18" fmla="*/ 2800350 w 6829425"/>
              <a:gd name="connsiteY18" fmla="*/ 309562 h 1014412"/>
              <a:gd name="connsiteX19" fmla="*/ 2900363 w 6829425"/>
              <a:gd name="connsiteY19" fmla="*/ 314325 h 1014412"/>
              <a:gd name="connsiteX20" fmla="*/ 2928938 w 6829425"/>
              <a:gd name="connsiteY20" fmla="*/ 338137 h 1014412"/>
              <a:gd name="connsiteX21" fmla="*/ 3038475 w 6829425"/>
              <a:gd name="connsiteY21" fmla="*/ 338137 h 1014412"/>
              <a:gd name="connsiteX22" fmla="*/ 3133725 w 6829425"/>
              <a:gd name="connsiteY22" fmla="*/ 404812 h 1014412"/>
              <a:gd name="connsiteX23" fmla="*/ 3295650 w 6829425"/>
              <a:gd name="connsiteY23" fmla="*/ 400050 h 1014412"/>
              <a:gd name="connsiteX24" fmla="*/ 3376613 w 6829425"/>
              <a:gd name="connsiteY24" fmla="*/ 438150 h 1014412"/>
              <a:gd name="connsiteX25" fmla="*/ 3529013 w 6829425"/>
              <a:gd name="connsiteY25" fmla="*/ 438150 h 1014412"/>
              <a:gd name="connsiteX26" fmla="*/ 3638550 w 6829425"/>
              <a:gd name="connsiteY26" fmla="*/ 471487 h 1014412"/>
              <a:gd name="connsiteX27" fmla="*/ 3810000 w 6829425"/>
              <a:gd name="connsiteY27" fmla="*/ 476250 h 1014412"/>
              <a:gd name="connsiteX28" fmla="*/ 3886200 w 6829425"/>
              <a:gd name="connsiteY28" fmla="*/ 514350 h 1014412"/>
              <a:gd name="connsiteX29" fmla="*/ 4000500 w 6829425"/>
              <a:gd name="connsiteY29" fmla="*/ 514350 h 1014412"/>
              <a:gd name="connsiteX30" fmla="*/ 4033838 w 6829425"/>
              <a:gd name="connsiteY30" fmla="*/ 542925 h 1014412"/>
              <a:gd name="connsiteX31" fmla="*/ 4081463 w 6829425"/>
              <a:gd name="connsiteY31" fmla="*/ 561975 h 1014412"/>
              <a:gd name="connsiteX32" fmla="*/ 4348163 w 6829425"/>
              <a:gd name="connsiteY32" fmla="*/ 571500 h 1014412"/>
              <a:gd name="connsiteX33" fmla="*/ 4443413 w 6829425"/>
              <a:gd name="connsiteY33" fmla="*/ 604837 h 1014412"/>
              <a:gd name="connsiteX34" fmla="*/ 4510088 w 6829425"/>
              <a:gd name="connsiteY34" fmla="*/ 604837 h 1014412"/>
              <a:gd name="connsiteX35" fmla="*/ 4529138 w 6829425"/>
              <a:gd name="connsiteY35" fmla="*/ 623887 h 1014412"/>
              <a:gd name="connsiteX36" fmla="*/ 4657725 w 6829425"/>
              <a:gd name="connsiteY36" fmla="*/ 614362 h 1014412"/>
              <a:gd name="connsiteX37" fmla="*/ 4686300 w 6829425"/>
              <a:gd name="connsiteY37" fmla="*/ 638175 h 1014412"/>
              <a:gd name="connsiteX38" fmla="*/ 4748213 w 6829425"/>
              <a:gd name="connsiteY38" fmla="*/ 638175 h 1014412"/>
              <a:gd name="connsiteX39" fmla="*/ 4791075 w 6829425"/>
              <a:gd name="connsiteY39" fmla="*/ 671512 h 1014412"/>
              <a:gd name="connsiteX40" fmla="*/ 4881563 w 6829425"/>
              <a:gd name="connsiteY40" fmla="*/ 671512 h 1014412"/>
              <a:gd name="connsiteX41" fmla="*/ 4900613 w 6829425"/>
              <a:gd name="connsiteY41" fmla="*/ 700087 h 1014412"/>
              <a:gd name="connsiteX42" fmla="*/ 5010150 w 6829425"/>
              <a:gd name="connsiteY42" fmla="*/ 704850 h 1014412"/>
              <a:gd name="connsiteX43" fmla="*/ 5076825 w 6829425"/>
              <a:gd name="connsiteY43" fmla="*/ 762000 h 1014412"/>
              <a:gd name="connsiteX44" fmla="*/ 5200650 w 6829425"/>
              <a:gd name="connsiteY44" fmla="*/ 776287 h 1014412"/>
              <a:gd name="connsiteX45" fmla="*/ 5257800 w 6829425"/>
              <a:gd name="connsiteY45" fmla="*/ 800100 h 1014412"/>
              <a:gd name="connsiteX46" fmla="*/ 5334000 w 6829425"/>
              <a:gd name="connsiteY46" fmla="*/ 800100 h 1014412"/>
              <a:gd name="connsiteX47" fmla="*/ 5357813 w 6829425"/>
              <a:gd name="connsiteY47" fmla="*/ 833437 h 1014412"/>
              <a:gd name="connsiteX48" fmla="*/ 5462588 w 6829425"/>
              <a:gd name="connsiteY48" fmla="*/ 838200 h 1014412"/>
              <a:gd name="connsiteX49" fmla="*/ 5491163 w 6829425"/>
              <a:gd name="connsiteY49" fmla="*/ 857250 h 1014412"/>
              <a:gd name="connsiteX50" fmla="*/ 5624513 w 6829425"/>
              <a:gd name="connsiteY50" fmla="*/ 862012 h 1014412"/>
              <a:gd name="connsiteX51" fmla="*/ 5643563 w 6829425"/>
              <a:gd name="connsiteY51" fmla="*/ 881062 h 1014412"/>
              <a:gd name="connsiteX52" fmla="*/ 5776913 w 6829425"/>
              <a:gd name="connsiteY52" fmla="*/ 876300 h 1014412"/>
              <a:gd name="connsiteX53" fmla="*/ 5795963 w 6829425"/>
              <a:gd name="connsiteY53" fmla="*/ 885825 h 1014412"/>
              <a:gd name="connsiteX54" fmla="*/ 5948363 w 6829425"/>
              <a:gd name="connsiteY54" fmla="*/ 876300 h 1014412"/>
              <a:gd name="connsiteX55" fmla="*/ 5957888 w 6829425"/>
              <a:gd name="connsiteY55" fmla="*/ 909637 h 1014412"/>
              <a:gd name="connsiteX56" fmla="*/ 6019800 w 6829425"/>
              <a:gd name="connsiteY56" fmla="*/ 904875 h 1014412"/>
              <a:gd name="connsiteX57" fmla="*/ 6034088 w 6829425"/>
              <a:gd name="connsiteY57" fmla="*/ 928687 h 1014412"/>
              <a:gd name="connsiteX58" fmla="*/ 6315075 w 6829425"/>
              <a:gd name="connsiteY58" fmla="*/ 928687 h 1014412"/>
              <a:gd name="connsiteX59" fmla="*/ 6334125 w 6829425"/>
              <a:gd name="connsiteY59" fmla="*/ 966787 h 1014412"/>
              <a:gd name="connsiteX60" fmla="*/ 6429375 w 6829425"/>
              <a:gd name="connsiteY60" fmla="*/ 962025 h 1014412"/>
              <a:gd name="connsiteX61" fmla="*/ 6448425 w 6829425"/>
              <a:gd name="connsiteY61" fmla="*/ 1014412 h 1014412"/>
              <a:gd name="connsiteX62" fmla="*/ 6829425 w 6829425"/>
              <a:gd name="connsiteY62" fmla="*/ 1004887 h 1014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6829425" h="1014412">
                <a:moveTo>
                  <a:pt x="0" y="0"/>
                </a:moveTo>
                <a:lnTo>
                  <a:pt x="804863" y="28575"/>
                </a:lnTo>
                <a:lnTo>
                  <a:pt x="890588" y="52387"/>
                </a:lnTo>
                <a:lnTo>
                  <a:pt x="1471613" y="80962"/>
                </a:lnTo>
                <a:lnTo>
                  <a:pt x="1519238" y="109537"/>
                </a:lnTo>
                <a:lnTo>
                  <a:pt x="1647825" y="119062"/>
                </a:lnTo>
                <a:lnTo>
                  <a:pt x="1685925" y="142875"/>
                </a:lnTo>
                <a:lnTo>
                  <a:pt x="1795463" y="147637"/>
                </a:lnTo>
                <a:lnTo>
                  <a:pt x="1814513" y="161925"/>
                </a:lnTo>
                <a:lnTo>
                  <a:pt x="1933575" y="157162"/>
                </a:lnTo>
                <a:lnTo>
                  <a:pt x="1962150" y="185737"/>
                </a:lnTo>
                <a:lnTo>
                  <a:pt x="2224088" y="185737"/>
                </a:lnTo>
                <a:lnTo>
                  <a:pt x="2271713" y="219075"/>
                </a:lnTo>
                <a:lnTo>
                  <a:pt x="2509838" y="242887"/>
                </a:lnTo>
                <a:lnTo>
                  <a:pt x="2547938" y="266700"/>
                </a:lnTo>
                <a:lnTo>
                  <a:pt x="2643188" y="261937"/>
                </a:lnTo>
                <a:lnTo>
                  <a:pt x="2681288" y="285750"/>
                </a:lnTo>
                <a:lnTo>
                  <a:pt x="2767013" y="295275"/>
                </a:lnTo>
                <a:lnTo>
                  <a:pt x="2800350" y="309562"/>
                </a:lnTo>
                <a:lnTo>
                  <a:pt x="2900363" y="314325"/>
                </a:lnTo>
                <a:lnTo>
                  <a:pt x="2928938" y="338137"/>
                </a:lnTo>
                <a:lnTo>
                  <a:pt x="3038475" y="338137"/>
                </a:lnTo>
                <a:lnTo>
                  <a:pt x="3133725" y="404812"/>
                </a:lnTo>
                <a:lnTo>
                  <a:pt x="3295650" y="400050"/>
                </a:lnTo>
                <a:lnTo>
                  <a:pt x="3376613" y="438150"/>
                </a:lnTo>
                <a:lnTo>
                  <a:pt x="3529013" y="438150"/>
                </a:lnTo>
                <a:lnTo>
                  <a:pt x="3638550" y="471487"/>
                </a:lnTo>
                <a:lnTo>
                  <a:pt x="3810000" y="476250"/>
                </a:lnTo>
                <a:lnTo>
                  <a:pt x="3886200" y="514350"/>
                </a:lnTo>
                <a:lnTo>
                  <a:pt x="4000500" y="514350"/>
                </a:lnTo>
                <a:lnTo>
                  <a:pt x="4033838" y="542925"/>
                </a:lnTo>
                <a:lnTo>
                  <a:pt x="4081463" y="561975"/>
                </a:lnTo>
                <a:lnTo>
                  <a:pt x="4348163" y="571500"/>
                </a:lnTo>
                <a:lnTo>
                  <a:pt x="4443413" y="604837"/>
                </a:lnTo>
                <a:lnTo>
                  <a:pt x="4510088" y="604837"/>
                </a:lnTo>
                <a:lnTo>
                  <a:pt x="4529138" y="623887"/>
                </a:lnTo>
                <a:lnTo>
                  <a:pt x="4657725" y="614362"/>
                </a:lnTo>
                <a:lnTo>
                  <a:pt x="4686300" y="638175"/>
                </a:lnTo>
                <a:lnTo>
                  <a:pt x="4748213" y="638175"/>
                </a:lnTo>
                <a:lnTo>
                  <a:pt x="4791075" y="671512"/>
                </a:lnTo>
                <a:lnTo>
                  <a:pt x="4881563" y="671512"/>
                </a:lnTo>
                <a:lnTo>
                  <a:pt x="4900613" y="700087"/>
                </a:lnTo>
                <a:lnTo>
                  <a:pt x="5010150" y="704850"/>
                </a:lnTo>
                <a:lnTo>
                  <a:pt x="5076825" y="762000"/>
                </a:lnTo>
                <a:lnTo>
                  <a:pt x="5200650" y="776287"/>
                </a:lnTo>
                <a:lnTo>
                  <a:pt x="5257800" y="800100"/>
                </a:lnTo>
                <a:lnTo>
                  <a:pt x="5334000" y="800100"/>
                </a:lnTo>
                <a:lnTo>
                  <a:pt x="5357813" y="833437"/>
                </a:lnTo>
                <a:lnTo>
                  <a:pt x="5462588" y="838200"/>
                </a:lnTo>
                <a:lnTo>
                  <a:pt x="5491163" y="857250"/>
                </a:lnTo>
                <a:lnTo>
                  <a:pt x="5624513" y="862012"/>
                </a:lnTo>
                <a:lnTo>
                  <a:pt x="5643563" y="881062"/>
                </a:lnTo>
                <a:lnTo>
                  <a:pt x="5776913" y="876300"/>
                </a:lnTo>
                <a:lnTo>
                  <a:pt x="5795963" y="885825"/>
                </a:lnTo>
                <a:lnTo>
                  <a:pt x="5948363" y="876300"/>
                </a:lnTo>
                <a:lnTo>
                  <a:pt x="5957888" y="909637"/>
                </a:lnTo>
                <a:lnTo>
                  <a:pt x="6019800" y="904875"/>
                </a:lnTo>
                <a:lnTo>
                  <a:pt x="6034088" y="928687"/>
                </a:lnTo>
                <a:lnTo>
                  <a:pt x="6315075" y="928687"/>
                </a:lnTo>
                <a:lnTo>
                  <a:pt x="6334125" y="966787"/>
                </a:lnTo>
                <a:lnTo>
                  <a:pt x="6429375" y="962025"/>
                </a:lnTo>
                <a:lnTo>
                  <a:pt x="6448425" y="1014412"/>
                </a:lnTo>
                <a:lnTo>
                  <a:pt x="6829425" y="1004887"/>
                </a:lnTo>
              </a:path>
            </a:pathLst>
          </a:custGeom>
          <a:noFill/>
          <a:ln w="28575">
            <a:solidFill>
              <a:schemeClr val="accent3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2" name="Title 10">
            <a:extLst>
              <a:ext uri="{FF2B5EF4-FFF2-40B4-BE49-F238E27FC236}">
                <a16:creationId xmlns:a16="http://schemas.microsoft.com/office/drawing/2014/main" id="{A8B8F0FD-269B-4910-A430-5D1EC0DD7A2A}"/>
              </a:ext>
            </a:extLst>
          </p:cNvPr>
          <p:cNvSpPr txBox="1">
            <a:spLocks/>
          </p:cNvSpPr>
          <p:nvPr/>
        </p:nvSpPr>
        <p:spPr bwMode="auto">
          <a:xfrm>
            <a:off x="0" y="0"/>
            <a:ext cx="12192000" cy="1444033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ENZAMET: OS</a:t>
            </a:r>
            <a:endParaRPr kumimoji="0" lang="en-US" altLang="en-US" sz="4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2284408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5">
            <a:extLst>
              <a:ext uri="{FF2B5EF4-FFF2-40B4-BE49-F238E27FC236}">
                <a16:creationId xmlns:a16="http://schemas.microsoft.com/office/drawing/2014/main" id="{84C82E96-FB15-4D7F-B426-047DF69F5A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230" y="6388073"/>
            <a:ext cx="7851318" cy="276999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rmstrong. JCO. 2019;37:2974.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596F566-CDCF-4FBE-AABF-D661A8F1DCE8}"/>
              </a:ext>
            </a:extLst>
          </p:cNvPr>
          <p:cNvSpPr txBox="1">
            <a:spLocks/>
          </p:cNvSpPr>
          <p:nvPr/>
        </p:nvSpPr>
        <p:spPr bwMode="auto">
          <a:xfrm>
            <a:off x="627064" y="5200564"/>
            <a:ext cx="10877529" cy="1169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121917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imary endpoint: centrally assessed radiographic PFS</a:t>
            </a:r>
          </a:p>
          <a:p>
            <a:pPr marL="342900" marR="0" lvl="0" indent="-342900" algn="l" defTabSz="121917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condary endpoints: OS, ORR, time to first SSE, PSA progression, time to new antineoplastic therapy, time to castration resistance, PSA undetectable rate</a:t>
            </a:r>
          </a:p>
          <a:p>
            <a:pPr marL="0" marR="0" lvl="0" indent="0" algn="l" defTabSz="121917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" name="Text Box 45">
            <a:extLst>
              <a:ext uri="{FF2B5EF4-FFF2-40B4-BE49-F238E27FC236}">
                <a16:creationId xmlns:a16="http://schemas.microsoft.com/office/drawing/2014/main" id="{2A738C4B-B305-4588-A67A-51F6E06000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7064" y="3133407"/>
            <a:ext cx="2568575" cy="147732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tients with mHSPC, ECOG PS 0/1, on ADT for ≤ 3 mos or ≤ 6 mos if received prior docetaxel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(N = 1150) 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" name="Rectangle 46">
            <a:extLst>
              <a:ext uri="{FF2B5EF4-FFF2-40B4-BE49-F238E27FC236}">
                <a16:creationId xmlns:a16="http://schemas.microsoft.com/office/drawing/2014/main" id="{A9EFCFB1-3CC8-4AC4-A2EC-2FC6A5DC1D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69553" y="3271906"/>
            <a:ext cx="2843211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ntil radiographic PD, unacceptable toxicity, or initiation of new or investigational agent for PC</a:t>
            </a:r>
          </a:p>
        </p:txBody>
      </p:sp>
      <p:sp>
        <p:nvSpPr>
          <p:cNvPr id="10" name="Rectangle 49">
            <a:extLst>
              <a:ext uri="{FF2B5EF4-FFF2-40B4-BE49-F238E27FC236}">
                <a16:creationId xmlns:a16="http://schemas.microsoft.com/office/drawing/2014/main" id="{E7498E95-5343-468E-9094-3B7B3671FB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2727" y="2958703"/>
            <a:ext cx="3790950" cy="8321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zalutamide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160 mg/day + </a:t>
            </a: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DT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(n = 574)</a:t>
            </a:r>
          </a:p>
        </p:txBody>
      </p:sp>
      <p:sp>
        <p:nvSpPr>
          <p:cNvPr id="11" name="Rectangle 50">
            <a:extLst>
              <a:ext uri="{FF2B5EF4-FFF2-40B4-BE49-F238E27FC236}">
                <a16:creationId xmlns:a16="http://schemas.microsoft.com/office/drawing/2014/main" id="{A6CAF0F8-65A4-47BD-A72E-AD7054F15E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2727" y="3951392"/>
            <a:ext cx="3790950" cy="8340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lacebo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 </a:t>
            </a: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DT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(n = 576)</a:t>
            </a:r>
          </a:p>
        </p:txBody>
      </p:sp>
      <p:sp>
        <p:nvSpPr>
          <p:cNvPr id="13" name="Line 52">
            <a:extLst>
              <a:ext uri="{FF2B5EF4-FFF2-40B4-BE49-F238E27FC236}">
                <a16:creationId xmlns:a16="http://schemas.microsoft.com/office/drawing/2014/main" id="{18381EA8-E209-4CCF-92E5-23F4B17119E0}"/>
              </a:ext>
            </a:extLst>
          </p:cNvPr>
          <p:cNvSpPr>
            <a:spLocks noChangeShapeType="1"/>
          </p:cNvSpPr>
          <p:nvPr/>
        </p:nvSpPr>
        <p:spPr bwMode="auto">
          <a:xfrm>
            <a:off x="7916071" y="3872071"/>
            <a:ext cx="479425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" name="Line 53">
            <a:extLst>
              <a:ext uri="{FF2B5EF4-FFF2-40B4-BE49-F238E27FC236}">
                <a16:creationId xmlns:a16="http://schemas.microsoft.com/office/drawing/2014/main" id="{23DFA55A-3918-4911-B53E-4B33A66B10F5}"/>
              </a:ext>
            </a:extLst>
          </p:cNvPr>
          <p:cNvSpPr>
            <a:spLocks noChangeShapeType="1"/>
          </p:cNvSpPr>
          <p:nvPr/>
        </p:nvSpPr>
        <p:spPr bwMode="auto">
          <a:xfrm>
            <a:off x="3298033" y="3996691"/>
            <a:ext cx="622300" cy="350837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Line 54">
            <a:extLst>
              <a:ext uri="{FF2B5EF4-FFF2-40B4-BE49-F238E27FC236}">
                <a16:creationId xmlns:a16="http://schemas.microsoft.com/office/drawing/2014/main" id="{7B8CC5DC-A1B7-45B8-8DA4-98930D017B1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298033" y="3396615"/>
            <a:ext cx="622300" cy="347662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" name="Rectangle 46">
            <a:extLst>
              <a:ext uri="{FF2B5EF4-FFF2-40B4-BE49-F238E27FC236}">
                <a16:creationId xmlns:a16="http://schemas.microsoft.com/office/drawing/2014/main" id="{31636A1B-0ECA-40BF-B50E-EC2AC98B0D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0478" y="2101209"/>
            <a:ext cx="295741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ratified by disease volume (low vs high*), previous docetaxel for mHSPC (none vs 1-5 vs 6 cycles)</a:t>
            </a:r>
          </a:p>
        </p:txBody>
      </p:sp>
      <p:sp>
        <p:nvSpPr>
          <p:cNvPr id="17" name="Text Box 30">
            <a:extLst>
              <a:ext uri="{FF2B5EF4-FFF2-40B4-BE49-F238E27FC236}">
                <a16:creationId xmlns:a16="http://schemas.microsoft.com/office/drawing/2014/main" id="{43D9F285-F465-4CB8-A767-34C220FB5F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797" y="4762652"/>
            <a:ext cx="11069637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015873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High disease volume defined as either visceral metastases or ≥ 4 bone lesions with ≥ 1 lesion in bony structure beyond vertebral column and pelvic bone.</a:t>
            </a:r>
          </a:p>
        </p:txBody>
      </p:sp>
      <p:sp>
        <p:nvSpPr>
          <p:cNvPr id="20" name="Line 52">
            <a:extLst>
              <a:ext uri="{FF2B5EF4-FFF2-40B4-BE49-F238E27FC236}">
                <a16:creationId xmlns:a16="http://schemas.microsoft.com/office/drawing/2014/main" id="{B404A5AC-5536-46A1-9668-A82D4CA86DBF}"/>
              </a:ext>
            </a:extLst>
          </p:cNvPr>
          <p:cNvSpPr>
            <a:spLocks noChangeShapeType="1"/>
          </p:cNvSpPr>
          <p:nvPr/>
        </p:nvSpPr>
        <p:spPr bwMode="auto">
          <a:xfrm rot="5400000">
            <a:off x="3326219" y="3201288"/>
            <a:ext cx="565930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" name="Title 10">
            <a:extLst>
              <a:ext uri="{FF2B5EF4-FFF2-40B4-BE49-F238E27FC236}">
                <a16:creationId xmlns:a16="http://schemas.microsoft.com/office/drawing/2014/main" id="{1E52D75F-4552-43C9-A21C-8C3D45A3BDFC}"/>
              </a:ext>
            </a:extLst>
          </p:cNvPr>
          <p:cNvSpPr txBox="1">
            <a:spLocks/>
          </p:cNvSpPr>
          <p:nvPr/>
        </p:nvSpPr>
        <p:spPr bwMode="auto">
          <a:xfrm>
            <a:off x="0" y="0"/>
            <a:ext cx="12192000" cy="1815883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>
              <a:defRPr/>
            </a:pPr>
            <a:r>
              <a:rPr lang="en-US" sz="3200" dirty="0">
                <a:solidFill>
                  <a:schemeClr val="bg1"/>
                </a:solidFill>
              </a:rPr>
              <a:t>ARCHES: </a:t>
            </a:r>
          </a:p>
          <a:p>
            <a:pPr>
              <a:defRPr/>
            </a:pPr>
            <a:r>
              <a:rPr lang="en-US" sz="3200" dirty="0">
                <a:solidFill>
                  <a:schemeClr val="bg1"/>
                </a:solidFill>
              </a:rPr>
              <a:t>Enzalutamide + ADT </a:t>
            </a:r>
            <a:r>
              <a:rPr lang="en-US" sz="3200" dirty="0" err="1">
                <a:solidFill>
                  <a:schemeClr val="bg1"/>
                </a:solidFill>
              </a:rPr>
              <a:t>ya</a:t>
            </a:r>
            <a:r>
              <a:rPr lang="en-US" sz="3200" dirty="0">
                <a:solidFill>
                  <a:schemeClr val="bg1"/>
                </a:solidFill>
              </a:rPr>
              <a:t> da Placebo + ADT</a:t>
            </a:r>
          </a:p>
          <a:p>
            <a:pPr>
              <a:defRPr/>
            </a:pPr>
            <a:r>
              <a:rPr lang="en-US" sz="2000" dirty="0">
                <a:solidFill>
                  <a:schemeClr val="bg1"/>
                </a:solidFill>
              </a:rPr>
              <a:t>International, double-blind, randomized phase III trial in </a:t>
            </a:r>
            <a:r>
              <a:rPr lang="en-US" sz="2000" dirty="0" err="1">
                <a:solidFill>
                  <a:schemeClr val="bg1"/>
                </a:solidFill>
              </a:rPr>
              <a:t>mHSPK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796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1">
            <a:extLst>
              <a:ext uri="{FF2B5EF4-FFF2-40B4-BE49-F238E27FC236}">
                <a16:creationId xmlns:a16="http://schemas.microsoft.com/office/drawing/2014/main" id="{0D26E655-C6EC-4507-ADAF-EBA4BCB98A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0217" y="6359862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rmstrong. JCO. 2019;37:2974.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8EC0ED32-D9CF-4ED4-9E04-E67A5A594E17}"/>
              </a:ext>
            </a:extLst>
          </p:cNvPr>
          <p:cNvGraphicFramePr>
            <a:graphicFrameLocks noGrp="1"/>
          </p:cNvGraphicFramePr>
          <p:nvPr/>
        </p:nvGraphicFramePr>
        <p:xfrm>
          <a:off x="3241881" y="3590492"/>
          <a:ext cx="4211342" cy="1066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0883">
                  <a:extLst>
                    <a:ext uri="{9D8B030D-6E8A-4147-A177-3AD203B41FA5}">
                      <a16:colId xmlns:a16="http://schemas.microsoft.com/office/drawing/2014/main" val="2019602124"/>
                    </a:ext>
                  </a:extLst>
                </a:gridCol>
                <a:gridCol w="1626683">
                  <a:extLst>
                    <a:ext uri="{9D8B030D-6E8A-4147-A177-3AD203B41FA5}">
                      <a16:colId xmlns:a16="http://schemas.microsoft.com/office/drawing/2014/main" val="1095265523"/>
                    </a:ext>
                  </a:extLst>
                </a:gridCol>
                <a:gridCol w="1453776">
                  <a:extLst>
                    <a:ext uri="{9D8B030D-6E8A-4147-A177-3AD203B41FA5}">
                      <a16:colId xmlns:a16="http://schemas.microsoft.com/office/drawing/2014/main" val="126954415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zalutamide + ADT</a:t>
                      </a:r>
                      <a:br>
                        <a:rPr lang="en-US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574)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accent3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acebo + ADT</a:t>
                      </a:r>
                      <a:br>
                        <a:rPr lang="en-US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576)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68531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an rPFS, mos (95% CI)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R (NR-NR)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0 (16.6-22.2)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039547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R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39 (95% CI: 0.30-0.50, </a:t>
                      </a:r>
                      <a:r>
                        <a:rPr lang="en-US" sz="1400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&lt; .001)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3186180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AC94D7F4-3426-43C8-BEE9-8BC886B0FADE}"/>
              </a:ext>
            </a:extLst>
          </p:cNvPr>
          <p:cNvSpPr txBox="1"/>
          <p:nvPr/>
        </p:nvSpPr>
        <p:spPr bwMode="auto">
          <a:xfrm>
            <a:off x="1112044" y="5169735"/>
            <a:ext cx="1882760" cy="83099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tients at Risk, n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zalutamide + ADT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lacebo + AD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D0AB338-417E-4AA6-842A-A5F798833DE6}"/>
              </a:ext>
            </a:extLst>
          </p:cNvPr>
          <p:cNvCxnSpPr>
            <a:cxnSpLocks/>
          </p:cNvCxnSpPr>
          <p:nvPr/>
        </p:nvCxnSpPr>
        <p:spPr bwMode="auto">
          <a:xfrm>
            <a:off x="3174521" y="1660582"/>
            <a:ext cx="0" cy="3083946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F19D2B9-D6ED-4490-9EEE-DAB32D472818}"/>
              </a:ext>
            </a:extLst>
          </p:cNvPr>
          <p:cNvCxnSpPr/>
          <p:nvPr/>
        </p:nvCxnSpPr>
        <p:spPr bwMode="auto">
          <a:xfrm>
            <a:off x="3174521" y="4744528"/>
            <a:ext cx="6495690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94D8A41-9871-4715-B1D2-07424F9821DF}"/>
              </a:ext>
            </a:extLst>
          </p:cNvPr>
          <p:cNvCxnSpPr>
            <a:cxnSpLocks/>
          </p:cNvCxnSpPr>
          <p:nvPr/>
        </p:nvCxnSpPr>
        <p:spPr bwMode="auto">
          <a:xfrm flipH="1">
            <a:off x="3088257" y="1664898"/>
            <a:ext cx="73152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5363431-BF07-4F1A-B58F-31468B3B0461}"/>
              </a:ext>
            </a:extLst>
          </p:cNvPr>
          <p:cNvCxnSpPr>
            <a:cxnSpLocks/>
          </p:cNvCxnSpPr>
          <p:nvPr/>
        </p:nvCxnSpPr>
        <p:spPr bwMode="auto">
          <a:xfrm flipH="1">
            <a:off x="3088257" y="1972573"/>
            <a:ext cx="73152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09DB24E-72FB-4297-B540-6E9E4714EB1E}"/>
              </a:ext>
            </a:extLst>
          </p:cNvPr>
          <p:cNvCxnSpPr>
            <a:cxnSpLocks/>
          </p:cNvCxnSpPr>
          <p:nvPr/>
        </p:nvCxnSpPr>
        <p:spPr bwMode="auto">
          <a:xfrm flipH="1">
            <a:off x="3088257" y="2280248"/>
            <a:ext cx="73152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1F6975A-92EF-440A-A56E-23CD4528C841}"/>
              </a:ext>
            </a:extLst>
          </p:cNvPr>
          <p:cNvCxnSpPr>
            <a:cxnSpLocks/>
          </p:cNvCxnSpPr>
          <p:nvPr/>
        </p:nvCxnSpPr>
        <p:spPr bwMode="auto">
          <a:xfrm flipH="1">
            <a:off x="3088257" y="2587923"/>
            <a:ext cx="73152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B24129F-B8CC-4DF3-BF2C-3F324F8C0F46}"/>
              </a:ext>
            </a:extLst>
          </p:cNvPr>
          <p:cNvCxnSpPr>
            <a:cxnSpLocks/>
          </p:cNvCxnSpPr>
          <p:nvPr/>
        </p:nvCxnSpPr>
        <p:spPr bwMode="auto">
          <a:xfrm flipH="1">
            <a:off x="3088257" y="2895598"/>
            <a:ext cx="73152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24FF81B-2BDF-45EA-88EF-EDEC32A4FE09}"/>
              </a:ext>
            </a:extLst>
          </p:cNvPr>
          <p:cNvCxnSpPr>
            <a:cxnSpLocks/>
          </p:cNvCxnSpPr>
          <p:nvPr/>
        </p:nvCxnSpPr>
        <p:spPr bwMode="auto">
          <a:xfrm flipH="1">
            <a:off x="3088257" y="3203273"/>
            <a:ext cx="73152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DEC5016-7662-4E02-B9B4-8FE80C912066}"/>
              </a:ext>
            </a:extLst>
          </p:cNvPr>
          <p:cNvCxnSpPr>
            <a:cxnSpLocks/>
          </p:cNvCxnSpPr>
          <p:nvPr/>
        </p:nvCxnSpPr>
        <p:spPr bwMode="auto">
          <a:xfrm flipH="1">
            <a:off x="3088257" y="3510948"/>
            <a:ext cx="73152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B1F3A31-23A4-4CA7-B747-C84DE8A55B7F}"/>
              </a:ext>
            </a:extLst>
          </p:cNvPr>
          <p:cNvCxnSpPr>
            <a:cxnSpLocks/>
          </p:cNvCxnSpPr>
          <p:nvPr/>
        </p:nvCxnSpPr>
        <p:spPr bwMode="auto">
          <a:xfrm flipH="1">
            <a:off x="3088257" y="3818623"/>
            <a:ext cx="73152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B183B45-EE14-4970-8870-90EB6EF7B13F}"/>
              </a:ext>
            </a:extLst>
          </p:cNvPr>
          <p:cNvCxnSpPr>
            <a:cxnSpLocks/>
          </p:cNvCxnSpPr>
          <p:nvPr/>
        </p:nvCxnSpPr>
        <p:spPr bwMode="auto">
          <a:xfrm flipH="1">
            <a:off x="3088257" y="4126298"/>
            <a:ext cx="73152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B73F93E-D0E4-4679-841D-F353F52F41AC}"/>
              </a:ext>
            </a:extLst>
          </p:cNvPr>
          <p:cNvCxnSpPr>
            <a:cxnSpLocks/>
          </p:cNvCxnSpPr>
          <p:nvPr/>
        </p:nvCxnSpPr>
        <p:spPr bwMode="auto">
          <a:xfrm flipH="1">
            <a:off x="3088257" y="4433973"/>
            <a:ext cx="73152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A0FE55E-0C5D-4F37-8218-843727840ED9}"/>
              </a:ext>
            </a:extLst>
          </p:cNvPr>
          <p:cNvCxnSpPr>
            <a:cxnSpLocks/>
          </p:cNvCxnSpPr>
          <p:nvPr/>
        </p:nvCxnSpPr>
        <p:spPr bwMode="auto">
          <a:xfrm flipH="1">
            <a:off x="3088257" y="4741652"/>
            <a:ext cx="73152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0EE1767-C957-4F9F-80E4-3AFE9FEAF9D1}"/>
              </a:ext>
            </a:extLst>
          </p:cNvPr>
          <p:cNvCxnSpPr>
            <a:cxnSpLocks/>
          </p:cNvCxnSpPr>
          <p:nvPr/>
        </p:nvCxnSpPr>
        <p:spPr bwMode="auto">
          <a:xfrm>
            <a:off x="3174521" y="4750278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F006F62-08EA-447A-9E4A-801490A079B5}"/>
              </a:ext>
            </a:extLst>
          </p:cNvPr>
          <p:cNvCxnSpPr>
            <a:cxnSpLocks/>
          </p:cNvCxnSpPr>
          <p:nvPr/>
        </p:nvCxnSpPr>
        <p:spPr bwMode="auto">
          <a:xfrm>
            <a:off x="3764515" y="4750278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2F3A776-0185-401B-AAF2-C3766E1FBE0E}"/>
              </a:ext>
            </a:extLst>
          </p:cNvPr>
          <p:cNvCxnSpPr>
            <a:cxnSpLocks/>
          </p:cNvCxnSpPr>
          <p:nvPr/>
        </p:nvCxnSpPr>
        <p:spPr bwMode="auto">
          <a:xfrm>
            <a:off x="4354509" y="4750278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90EA0B9-8662-4B9E-883D-F89253CB717E}"/>
              </a:ext>
            </a:extLst>
          </p:cNvPr>
          <p:cNvCxnSpPr>
            <a:cxnSpLocks/>
          </p:cNvCxnSpPr>
          <p:nvPr/>
        </p:nvCxnSpPr>
        <p:spPr bwMode="auto">
          <a:xfrm>
            <a:off x="4944503" y="4750278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BED299C-0FC7-4DFF-AF26-B5F3CC792D42}"/>
              </a:ext>
            </a:extLst>
          </p:cNvPr>
          <p:cNvCxnSpPr>
            <a:cxnSpLocks/>
          </p:cNvCxnSpPr>
          <p:nvPr/>
        </p:nvCxnSpPr>
        <p:spPr bwMode="auto">
          <a:xfrm>
            <a:off x="5534497" y="4750278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3A69A2C-342F-4DF7-AEEC-44A0B3C151D5}"/>
              </a:ext>
            </a:extLst>
          </p:cNvPr>
          <p:cNvCxnSpPr>
            <a:cxnSpLocks/>
          </p:cNvCxnSpPr>
          <p:nvPr/>
        </p:nvCxnSpPr>
        <p:spPr bwMode="auto">
          <a:xfrm>
            <a:off x="6124491" y="4750278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FC04C27-E6EC-486F-A5CD-0FD85EBF2002}"/>
              </a:ext>
            </a:extLst>
          </p:cNvPr>
          <p:cNvCxnSpPr>
            <a:cxnSpLocks/>
          </p:cNvCxnSpPr>
          <p:nvPr/>
        </p:nvCxnSpPr>
        <p:spPr bwMode="auto">
          <a:xfrm>
            <a:off x="6714485" y="4750278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EA5C7E4-585F-4F53-96AD-3645F3726D44}"/>
              </a:ext>
            </a:extLst>
          </p:cNvPr>
          <p:cNvCxnSpPr>
            <a:cxnSpLocks/>
          </p:cNvCxnSpPr>
          <p:nvPr/>
        </p:nvCxnSpPr>
        <p:spPr bwMode="auto">
          <a:xfrm>
            <a:off x="7304479" y="4750278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E60F885-50ED-4B7E-AB21-DA091A43DEB5}"/>
              </a:ext>
            </a:extLst>
          </p:cNvPr>
          <p:cNvCxnSpPr>
            <a:cxnSpLocks/>
          </p:cNvCxnSpPr>
          <p:nvPr/>
        </p:nvCxnSpPr>
        <p:spPr bwMode="auto">
          <a:xfrm>
            <a:off x="7894473" y="4750278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EACEF33-5EA6-4A76-A9B3-E3A4AE49C2A3}"/>
              </a:ext>
            </a:extLst>
          </p:cNvPr>
          <p:cNvCxnSpPr>
            <a:cxnSpLocks/>
          </p:cNvCxnSpPr>
          <p:nvPr/>
        </p:nvCxnSpPr>
        <p:spPr bwMode="auto">
          <a:xfrm>
            <a:off x="8484467" y="4750278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E4D6571-9727-4451-8789-5BBBB83DA0AE}"/>
              </a:ext>
            </a:extLst>
          </p:cNvPr>
          <p:cNvCxnSpPr>
            <a:cxnSpLocks/>
          </p:cNvCxnSpPr>
          <p:nvPr/>
        </p:nvCxnSpPr>
        <p:spPr bwMode="auto">
          <a:xfrm>
            <a:off x="9074461" y="4750278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7B0318A-2DCC-4211-9CB6-E43CE0131047}"/>
              </a:ext>
            </a:extLst>
          </p:cNvPr>
          <p:cNvCxnSpPr>
            <a:cxnSpLocks/>
          </p:cNvCxnSpPr>
          <p:nvPr/>
        </p:nvCxnSpPr>
        <p:spPr bwMode="auto">
          <a:xfrm>
            <a:off x="9664460" y="4750278"/>
            <a:ext cx="0" cy="64008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608ED25F-B93C-4265-99E3-5AD6AF345586}"/>
              </a:ext>
            </a:extLst>
          </p:cNvPr>
          <p:cNvSpPr txBox="1"/>
          <p:nvPr/>
        </p:nvSpPr>
        <p:spPr bwMode="auto">
          <a:xfrm>
            <a:off x="3161409" y="5034565"/>
            <a:ext cx="650304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o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464A22E-8179-4B0D-A00E-BC3C22CA9C10}"/>
              </a:ext>
            </a:extLst>
          </p:cNvPr>
          <p:cNvSpPr txBox="1"/>
          <p:nvPr/>
        </p:nvSpPr>
        <p:spPr bwMode="auto">
          <a:xfrm rot="16200000">
            <a:off x="942665" y="3023164"/>
            <a:ext cx="308394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PFS* (%)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E0F51A9-D2B2-41B9-B69E-62021D23733C}"/>
              </a:ext>
            </a:extLst>
          </p:cNvPr>
          <p:cNvSpPr txBox="1"/>
          <p:nvPr/>
        </p:nvSpPr>
        <p:spPr bwMode="auto">
          <a:xfrm>
            <a:off x="2471402" y="1482006"/>
            <a:ext cx="66870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0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8F5B58C-BE15-4228-AA7C-49A0DCA02DB2}"/>
              </a:ext>
            </a:extLst>
          </p:cNvPr>
          <p:cNvSpPr txBox="1"/>
          <p:nvPr/>
        </p:nvSpPr>
        <p:spPr bwMode="auto">
          <a:xfrm>
            <a:off x="2471402" y="1788775"/>
            <a:ext cx="66870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90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6CEA20A-C8E4-4830-A363-2DA7700F108C}"/>
              </a:ext>
            </a:extLst>
          </p:cNvPr>
          <p:cNvSpPr txBox="1"/>
          <p:nvPr/>
        </p:nvSpPr>
        <p:spPr bwMode="auto">
          <a:xfrm>
            <a:off x="2471402" y="2095544"/>
            <a:ext cx="66870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80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45B0650-B53C-4ED2-98EE-AC092BF2A3FB}"/>
              </a:ext>
            </a:extLst>
          </p:cNvPr>
          <p:cNvSpPr txBox="1"/>
          <p:nvPr/>
        </p:nvSpPr>
        <p:spPr bwMode="auto">
          <a:xfrm>
            <a:off x="2471402" y="2402313"/>
            <a:ext cx="66870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70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8D0CF6A-4195-4DDD-B770-C9EEF2172119}"/>
              </a:ext>
            </a:extLst>
          </p:cNvPr>
          <p:cNvSpPr txBox="1"/>
          <p:nvPr/>
        </p:nvSpPr>
        <p:spPr bwMode="auto">
          <a:xfrm>
            <a:off x="2471402" y="2709082"/>
            <a:ext cx="66870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60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7ECB472-1DBA-492A-80A8-D76F8F642972}"/>
              </a:ext>
            </a:extLst>
          </p:cNvPr>
          <p:cNvSpPr txBox="1"/>
          <p:nvPr/>
        </p:nvSpPr>
        <p:spPr bwMode="auto">
          <a:xfrm>
            <a:off x="2471402" y="3015851"/>
            <a:ext cx="66870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0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E240BC8-F1DC-4AFD-B507-FEEC854F15D8}"/>
              </a:ext>
            </a:extLst>
          </p:cNvPr>
          <p:cNvSpPr txBox="1"/>
          <p:nvPr/>
        </p:nvSpPr>
        <p:spPr bwMode="auto">
          <a:xfrm>
            <a:off x="2471402" y="3322620"/>
            <a:ext cx="66870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0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30FFAE7-2E94-46DD-AE3C-5A0DF3672988}"/>
              </a:ext>
            </a:extLst>
          </p:cNvPr>
          <p:cNvSpPr txBox="1"/>
          <p:nvPr/>
        </p:nvSpPr>
        <p:spPr bwMode="auto">
          <a:xfrm>
            <a:off x="2471402" y="3629389"/>
            <a:ext cx="66870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0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AAC9DEA-CF97-473B-B46E-5001AC66CA2A}"/>
              </a:ext>
            </a:extLst>
          </p:cNvPr>
          <p:cNvSpPr txBox="1"/>
          <p:nvPr/>
        </p:nvSpPr>
        <p:spPr bwMode="auto">
          <a:xfrm>
            <a:off x="2471402" y="3936158"/>
            <a:ext cx="66870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0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0DFDEBB-1B46-4AFD-AF69-BF5E9348A4DB}"/>
              </a:ext>
            </a:extLst>
          </p:cNvPr>
          <p:cNvSpPr txBox="1"/>
          <p:nvPr/>
        </p:nvSpPr>
        <p:spPr bwMode="auto">
          <a:xfrm>
            <a:off x="2471402" y="4242927"/>
            <a:ext cx="66870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3A754BF-7E4D-48AF-852A-7686D35DC2AB}"/>
              </a:ext>
            </a:extLst>
          </p:cNvPr>
          <p:cNvSpPr txBox="1"/>
          <p:nvPr/>
        </p:nvSpPr>
        <p:spPr bwMode="auto">
          <a:xfrm>
            <a:off x="2471402" y="4549696"/>
            <a:ext cx="66870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3BDDC22-1CFC-4204-89D9-242C5C5F2118}"/>
              </a:ext>
            </a:extLst>
          </p:cNvPr>
          <p:cNvSpPr txBox="1"/>
          <p:nvPr/>
        </p:nvSpPr>
        <p:spPr bwMode="auto">
          <a:xfrm>
            <a:off x="9448370" y="4756019"/>
            <a:ext cx="4590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3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183B995-2C24-4A6D-87E8-262439F65FD2}"/>
              </a:ext>
            </a:extLst>
          </p:cNvPr>
          <p:cNvSpPr txBox="1"/>
          <p:nvPr/>
        </p:nvSpPr>
        <p:spPr bwMode="auto">
          <a:xfrm>
            <a:off x="2940377" y="4756019"/>
            <a:ext cx="4590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A39B6E3-A3FD-4413-A491-6459665C39CF}"/>
              </a:ext>
            </a:extLst>
          </p:cNvPr>
          <p:cNvSpPr txBox="1"/>
          <p:nvPr/>
        </p:nvSpPr>
        <p:spPr bwMode="auto">
          <a:xfrm>
            <a:off x="3532013" y="4756019"/>
            <a:ext cx="4590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D27E4E7-7793-4E71-BFCE-28E89350B23E}"/>
              </a:ext>
            </a:extLst>
          </p:cNvPr>
          <p:cNvSpPr txBox="1"/>
          <p:nvPr/>
        </p:nvSpPr>
        <p:spPr bwMode="auto">
          <a:xfrm>
            <a:off x="4123649" y="4756019"/>
            <a:ext cx="4590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6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A53C0850-5E43-4D6A-8FE3-52D7AFCC9CA6}"/>
              </a:ext>
            </a:extLst>
          </p:cNvPr>
          <p:cNvSpPr txBox="1"/>
          <p:nvPr/>
        </p:nvSpPr>
        <p:spPr bwMode="auto">
          <a:xfrm>
            <a:off x="4715285" y="4756019"/>
            <a:ext cx="4590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9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3B8E7E73-78A8-4AEE-BB65-79E72D6D6E3F}"/>
              </a:ext>
            </a:extLst>
          </p:cNvPr>
          <p:cNvSpPr txBox="1"/>
          <p:nvPr/>
        </p:nvSpPr>
        <p:spPr bwMode="auto">
          <a:xfrm>
            <a:off x="5306921" y="4756019"/>
            <a:ext cx="4590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2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0991CB7-1F8B-432B-B48E-896C82FAD4F3}"/>
              </a:ext>
            </a:extLst>
          </p:cNvPr>
          <p:cNvSpPr txBox="1"/>
          <p:nvPr/>
        </p:nvSpPr>
        <p:spPr bwMode="auto">
          <a:xfrm>
            <a:off x="5898557" y="4756019"/>
            <a:ext cx="4590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5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D7D2721-09DA-4091-8ABC-AC1954B3DE6E}"/>
              </a:ext>
            </a:extLst>
          </p:cNvPr>
          <p:cNvSpPr txBox="1"/>
          <p:nvPr/>
        </p:nvSpPr>
        <p:spPr bwMode="auto">
          <a:xfrm>
            <a:off x="6490193" y="4756019"/>
            <a:ext cx="4590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8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7B6B0F7-DF8C-4721-A668-6E0C378DF225}"/>
              </a:ext>
            </a:extLst>
          </p:cNvPr>
          <p:cNvSpPr txBox="1"/>
          <p:nvPr/>
        </p:nvSpPr>
        <p:spPr bwMode="auto">
          <a:xfrm>
            <a:off x="7081829" y="4756019"/>
            <a:ext cx="4590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1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F13CE9F5-28F8-40F6-9FCD-33411707298A}"/>
              </a:ext>
            </a:extLst>
          </p:cNvPr>
          <p:cNvSpPr txBox="1"/>
          <p:nvPr/>
        </p:nvSpPr>
        <p:spPr bwMode="auto">
          <a:xfrm>
            <a:off x="7673465" y="4756019"/>
            <a:ext cx="4590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21AF9D5D-F939-442A-B40D-3D857862D0B9}"/>
              </a:ext>
            </a:extLst>
          </p:cNvPr>
          <p:cNvSpPr txBox="1"/>
          <p:nvPr/>
        </p:nvSpPr>
        <p:spPr bwMode="auto">
          <a:xfrm>
            <a:off x="8265101" y="4756019"/>
            <a:ext cx="4590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7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3A914FB-1CA7-458B-B9E6-CEFDB517BC74}"/>
              </a:ext>
            </a:extLst>
          </p:cNvPr>
          <p:cNvSpPr txBox="1"/>
          <p:nvPr/>
        </p:nvSpPr>
        <p:spPr bwMode="auto">
          <a:xfrm>
            <a:off x="8856737" y="4756019"/>
            <a:ext cx="4590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0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FA50B317-C1E3-48A3-8195-7EBA4541314D}"/>
              </a:ext>
            </a:extLst>
          </p:cNvPr>
          <p:cNvSpPr txBox="1"/>
          <p:nvPr/>
        </p:nvSpPr>
        <p:spPr bwMode="auto">
          <a:xfrm>
            <a:off x="7214631" y="1973441"/>
            <a:ext cx="217168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zalutamide + ADT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E1453555-784B-4290-816D-893F1DF47AF1}"/>
              </a:ext>
            </a:extLst>
          </p:cNvPr>
          <p:cNvSpPr txBox="1"/>
          <p:nvPr/>
        </p:nvSpPr>
        <p:spPr bwMode="auto">
          <a:xfrm>
            <a:off x="6587625" y="2728926"/>
            <a:ext cx="167747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lacebo + ADT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76F7E9A6-0354-458A-A2A8-0621F7FCC9EC}"/>
              </a:ext>
            </a:extLst>
          </p:cNvPr>
          <p:cNvCxnSpPr/>
          <p:nvPr/>
        </p:nvCxnSpPr>
        <p:spPr bwMode="auto">
          <a:xfrm>
            <a:off x="3187634" y="3203273"/>
            <a:ext cx="6476821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6E9380F6-7FD8-4022-92D0-E6B9B9F441E8}"/>
              </a:ext>
            </a:extLst>
          </p:cNvPr>
          <p:cNvSpPr txBox="1"/>
          <p:nvPr/>
        </p:nvSpPr>
        <p:spPr bwMode="auto">
          <a:xfrm>
            <a:off x="2912783" y="5415957"/>
            <a:ext cx="497251" cy="58477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74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76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8431355B-6A17-4CDC-BB43-4C42EFCDDAA8}"/>
              </a:ext>
            </a:extLst>
          </p:cNvPr>
          <p:cNvSpPr txBox="1"/>
          <p:nvPr/>
        </p:nvSpPr>
        <p:spPr bwMode="auto">
          <a:xfrm>
            <a:off x="3506926" y="5415957"/>
            <a:ext cx="497251" cy="58477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16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11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4AEFD4A5-C316-43DD-A8D5-AAC98F38301D}"/>
              </a:ext>
            </a:extLst>
          </p:cNvPr>
          <p:cNvSpPr txBox="1"/>
          <p:nvPr/>
        </p:nvSpPr>
        <p:spPr bwMode="auto">
          <a:xfrm>
            <a:off x="4101070" y="5415957"/>
            <a:ext cx="497251" cy="58477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93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45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834C2613-F2AA-43A1-8E3D-C6AA9CE7F93D}"/>
              </a:ext>
            </a:extLst>
          </p:cNvPr>
          <p:cNvSpPr txBox="1"/>
          <p:nvPr/>
        </p:nvSpPr>
        <p:spPr bwMode="auto">
          <a:xfrm>
            <a:off x="4695214" y="5415957"/>
            <a:ext cx="497251" cy="58477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70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14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12AB54A9-3A8C-474B-8A81-F0CFE4EEAAFD}"/>
              </a:ext>
            </a:extLst>
          </p:cNvPr>
          <p:cNvSpPr txBox="1"/>
          <p:nvPr/>
        </p:nvSpPr>
        <p:spPr bwMode="auto">
          <a:xfrm>
            <a:off x="5289358" y="5415957"/>
            <a:ext cx="497251" cy="58477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56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1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D536C9FD-7949-4218-A2B3-DFC863BCAAF2}"/>
              </a:ext>
            </a:extLst>
          </p:cNvPr>
          <p:cNvSpPr txBox="1"/>
          <p:nvPr/>
        </p:nvSpPr>
        <p:spPr bwMode="auto">
          <a:xfrm>
            <a:off x="5883502" y="5415957"/>
            <a:ext cx="497251" cy="58477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44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6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875625ED-F5D7-447F-8A31-111758DF4D81}"/>
              </a:ext>
            </a:extLst>
          </p:cNvPr>
          <p:cNvSpPr txBox="1"/>
          <p:nvPr/>
        </p:nvSpPr>
        <p:spPr bwMode="auto">
          <a:xfrm>
            <a:off x="6529744" y="5415957"/>
            <a:ext cx="393056" cy="58477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62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9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90CA450D-A2C8-4D68-82A4-59C67EAD5604}"/>
              </a:ext>
            </a:extLst>
          </p:cNvPr>
          <p:cNvSpPr txBox="1"/>
          <p:nvPr/>
        </p:nvSpPr>
        <p:spPr bwMode="auto">
          <a:xfrm>
            <a:off x="7123888" y="5415957"/>
            <a:ext cx="393056" cy="58477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3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A3121E71-7C90-4AFB-B13D-2AE42E083824}"/>
              </a:ext>
            </a:extLst>
          </p:cNvPr>
          <p:cNvSpPr txBox="1"/>
          <p:nvPr/>
        </p:nvSpPr>
        <p:spPr bwMode="auto">
          <a:xfrm>
            <a:off x="7770129" y="5415957"/>
            <a:ext cx="288862" cy="58477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C01EA55F-7561-4AA6-B554-130609EE0ADF}"/>
              </a:ext>
            </a:extLst>
          </p:cNvPr>
          <p:cNvSpPr txBox="1"/>
          <p:nvPr/>
        </p:nvSpPr>
        <p:spPr bwMode="auto">
          <a:xfrm>
            <a:off x="8364273" y="5415957"/>
            <a:ext cx="288862" cy="58477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77EFB8B7-C9B5-46AE-8C14-7695674ECAD7}"/>
              </a:ext>
            </a:extLst>
          </p:cNvPr>
          <p:cNvSpPr txBox="1"/>
          <p:nvPr/>
        </p:nvSpPr>
        <p:spPr bwMode="auto">
          <a:xfrm>
            <a:off x="8958417" y="5415957"/>
            <a:ext cx="288862" cy="58477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8B5A8454-A704-4D43-BA6D-09657D504B2A}"/>
              </a:ext>
            </a:extLst>
          </p:cNvPr>
          <p:cNvSpPr txBox="1"/>
          <p:nvPr/>
        </p:nvSpPr>
        <p:spPr bwMode="auto">
          <a:xfrm>
            <a:off x="9552564" y="5415957"/>
            <a:ext cx="288862" cy="58477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</a:t>
            </a: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474C9516-930C-432A-9AB7-94879A6E801F}"/>
              </a:ext>
            </a:extLst>
          </p:cNvPr>
          <p:cNvSpPr/>
          <p:nvPr/>
        </p:nvSpPr>
        <p:spPr bwMode="auto">
          <a:xfrm>
            <a:off x="3195638" y="1657350"/>
            <a:ext cx="5495925" cy="833438"/>
          </a:xfrm>
          <a:custGeom>
            <a:avLst/>
            <a:gdLst>
              <a:gd name="connsiteX0" fmla="*/ 5495925 w 5495925"/>
              <a:gd name="connsiteY0" fmla="*/ 833438 h 833438"/>
              <a:gd name="connsiteX1" fmla="*/ 3767137 w 5495925"/>
              <a:gd name="connsiteY1" fmla="*/ 833438 h 833438"/>
              <a:gd name="connsiteX2" fmla="*/ 3767137 w 5495925"/>
              <a:gd name="connsiteY2" fmla="*/ 766763 h 833438"/>
              <a:gd name="connsiteX3" fmla="*/ 3633787 w 5495925"/>
              <a:gd name="connsiteY3" fmla="*/ 766763 h 833438"/>
              <a:gd name="connsiteX4" fmla="*/ 3633787 w 5495925"/>
              <a:gd name="connsiteY4" fmla="*/ 728663 h 833438"/>
              <a:gd name="connsiteX5" fmla="*/ 3228975 w 5495925"/>
              <a:gd name="connsiteY5" fmla="*/ 728663 h 833438"/>
              <a:gd name="connsiteX6" fmla="*/ 3228975 w 5495925"/>
              <a:gd name="connsiteY6" fmla="*/ 647700 h 833438"/>
              <a:gd name="connsiteX7" fmla="*/ 3186112 w 5495925"/>
              <a:gd name="connsiteY7" fmla="*/ 647700 h 833438"/>
              <a:gd name="connsiteX8" fmla="*/ 3186112 w 5495925"/>
              <a:gd name="connsiteY8" fmla="*/ 623888 h 833438"/>
              <a:gd name="connsiteX9" fmla="*/ 2747962 w 5495925"/>
              <a:gd name="connsiteY9" fmla="*/ 623888 h 833438"/>
              <a:gd name="connsiteX10" fmla="*/ 2747962 w 5495925"/>
              <a:gd name="connsiteY10" fmla="*/ 590550 h 833438"/>
              <a:gd name="connsiteX11" fmla="*/ 2662237 w 5495925"/>
              <a:gd name="connsiteY11" fmla="*/ 590550 h 833438"/>
              <a:gd name="connsiteX12" fmla="*/ 2662237 w 5495925"/>
              <a:gd name="connsiteY12" fmla="*/ 514350 h 833438"/>
              <a:gd name="connsiteX13" fmla="*/ 2447925 w 5495925"/>
              <a:gd name="connsiteY13" fmla="*/ 514350 h 833438"/>
              <a:gd name="connsiteX14" fmla="*/ 2447925 w 5495925"/>
              <a:gd name="connsiteY14" fmla="*/ 485775 h 833438"/>
              <a:gd name="connsiteX15" fmla="*/ 2166937 w 5495925"/>
              <a:gd name="connsiteY15" fmla="*/ 485775 h 833438"/>
              <a:gd name="connsiteX16" fmla="*/ 2166937 w 5495925"/>
              <a:gd name="connsiteY16" fmla="*/ 433388 h 833438"/>
              <a:gd name="connsiteX17" fmla="*/ 2124075 w 5495925"/>
              <a:gd name="connsiteY17" fmla="*/ 433388 h 833438"/>
              <a:gd name="connsiteX18" fmla="*/ 2124075 w 5495925"/>
              <a:gd name="connsiteY18" fmla="*/ 385763 h 833438"/>
              <a:gd name="connsiteX19" fmla="*/ 1700212 w 5495925"/>
              <a:gd name="connsiteY19" fmla="*/ 385763 h 833438"/>
              <a:gd name="connsiteX20" fmla="*/ 1700212 w 5495925"/>
              <a:gd name="connsiteY20" fmla="*/ 333375 h 833438"/>
              <a:gd name="connsiteX21" fmla="*/ 1647825 w 5495925"/>
              <a:gd name="connsiteY21" fmla="*/ 333375 h 833438"/>
              <a:gd name="connsiteX22" fmla="*/ 1647825 w 5495925"/>
              <a:gd name="connsiteY22" fmla="*/ 290513 h 833438"/>
              <a:gd name="connsiteX23" fmla="*/ 1600200 w 5495925"/>
              <a:gd name="connsiteY23" fmla="*/ 290513 h 833438"/>
              <a:gd name="connsiteX24" fmla="*/ 1600200 w 5495925"/>
              <a:gd name="connsiteY24" fmla="*/ 247650 h 833438"/>
              <a:gd name="connsiteX25" fmla="*/ 1543050 w 5495925"/>
              <a:gd name="connsiteY25" fmla="*/ 247650 h 833438"/>
              <a:gd name="connsiteX26" fmla="*/ 1543050 w 5495925"/>
              <a:gd name="connsiteY26" fmla="*/ 200025 h 833438"/>
              <a:gd name="connsiteX27" fmla="*/ 1309687 w 5495925"/>
              <a:gd name="connsiteY27" fmla="*/ 200025 h 833438"/>
              <a:gd name="connsiteX28" fmla="*/ 1309687 w 5495925"/>
              <a:gd name="connsiteY28" fmla="*/ 200025 h 833438"/>
              <a:gd name="connsiteX29" fmla="*/ 1138237 w 5495925"/>
              <a:gd name="connsiteY29" fmla="*/ 200025 h 833438"/>
              <a:gd name="connsiteX30" fmla="*/ 1138237 w 5495925"/>
              <a:gd name="connsiteY30" fmla="*/ 166688 h 833438"/>
              <a:gd name="connsiteX31" fmla="*/ 1042987 w 5495925"/>
              <a:gd name="connsiteY31" fmla="*/ 166688 h 833438"/>
              <a:gd name="connsiteX32" fmla="*/ 1042987 w 5495925"/>
              <a:gd name="connsiteY32" fmla="*/ 95250 h 833438"/>
              <a:gd name="connsiteX33" fmla="*/ 833437 w 5495925"/>
              <a:gd name="connsiteY33" fmla="*/ 95250 h 833438"/>
              <a:gd name="connsiteX34" fmla="*/ 833437 w 5495925"/>
              <a:gd name="connsiteY34" fmla="*/ 76200 h 833438"/>
              <a:gd name="connsiteX35" fmla="*/ 523875 w 5495925"/>
              <a:gd name="connsiteY35" fmla="*/ 76200 h 833438"/>
              <a:gd name="connsiteX36" fmla="*/ 523875 w 5495925"/>
              <a:gd name="connsiteY36" fmla="*/ 57150 h 833438"/>
              <a:gd name="connsiteX37" fmla="*/ 481012 w 5495925"/>
              <a:gd name="connsiteY37" fmla="*/ 57150 h 833438"/>
              <a:gd name="connsiteX38" fmla="*/ 481012 w 5495925"/>
              <a:gd name="connsiteY38" fmla="*/ 0 h 833438"/>
              <a:gd name="connsiteX39" fmla="*/ 0 w 5495925"/>
              <a:gd name="connsiteY39" fmla="*/ 0 h 833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495925" h="833438">
                <a:moveTo>
                  <a:pt x="5495925" y="833438"/>
                </a:moveTo>
                <a:lnTo>
                  <a:pt x="3767137" y="833438"/>
                </a:lnTo>
                <a:lnTo>
                  <a:pt x="3767137" y="766763"/>
                </a:lnTo>
                <a:lnTo>
                  <a:pt x="3633787" y="766763"/>
                </a:lnTo>
                <a:lnTo>
                  <a:pt x="3633787" y="728663"/>
                </a:lnTo>
                <a:lnTo>
                  <a:pt x="3228975" y="728663"/>
                </a:lnTo>
                <a:lnTo>
                  <a:pt x="3228975" y="647700"/>
                </a:lnTo>
                <a:lnTo>
                  <a:pt x="3186112" y="647700"/>
                </a:lnTo>
                <a:lnTo>
                  <a:pt x="3186112" y="623888"/>
                </a:lnTo>
                <a:lnTo>
                  <a:pt x="2747962" y="623888"/>
                </a:lnTo>
                <a:lnTo>
                  <a:pt x="2747962" y="590550"/>
                </a:lnTo>
                <a:lnTo>
                  <a:pt x="2662237" y="590550"/>
                </a:lnTo>
                <a:lnTo>
                  <a:pt x="2662237" y="514350"/>
                </a:lnTo>
                <a:lnTo>
                  <a:pt x="2447925" y="514350"/>
                </a:lnTo>
                <a:lnTo>
                  <a:pt x="2447925" y="485775"/>
                </a:lnTo>
                <a:lnTo>
                  <a:pt x="2166937" y="485775"/>
                </a:lnTo>
                <a:lnTo>
                  <a:pt x="2166937" y="433388"/>
                </a:lnTo>
                <a:lnTo>
                  <a:pt x="2124075" y="433388"/>
                </a:lnTo>
                <a:lnTo>
                  <a:pt x="2124075" y="385763"/>
                </a:lnTo>
                <a:lnTo>
                  <a:pt x="1700212" y="385763"/>
                </a:lnTo>
                <a:lnTo>
                  <a:pt x="1700212" y="333375"/>
                </a:lnTo>
                <a:lnTo>
                  <a:pt x="1647825" y="333375"/>
                </a:lnTo>
                <a:lnTo>
                  <a:pt x="1647825" y="290513"/>
                </a:lnTo>
                <a:lnTo>
                  <a:pt x="1600200" y="290513"/>
                </a:lnTo>
                <a:lnTo>
                  <a:pt x="1600200" y="247650"/>
                </a:lnTo>
                <a:lnTo>
                  <a:pt x="1543050" y="247650"/>
                </a:lnTo>
                <a:lnTo>
                  <a:pt x="1543050" y="200025"/>
                </a:lnTo>
                <a:lnTo>
                  <a:pt x="1309687" y="200025"/>
                </a:lnTo>
                <a:lnTo>
                  <a:pt x="1309687" y="200025"/>
                </a:lnTo>
                <a:lnTo>
                  <a:pt x="1138237" y="200025"/>
                </a:lnTo>
                <a:lnTo>
                  <a:pt x="1138237" y="166688"/>
                </a:lnTo>
                <a:lnTo>
                  <a:pt x="1042987" y="166688"/>
                </a:lnTo>
                <a:lnTo>
                  <a:pt x="1042987" y="95250"/>
                </a:lnTo>
                <a:lnTo>
                  <a:pt x="833437" y="95250"/>
                </a:lnTo>
                <a:lnTo>
                  <a:pt x="833437" y="76200"/>
                </a:lnTo>
                <a:lnTo>
                  <a:pt x="523875" y="76200"/>
                </a:lnTo>
                <a:lnTo>
                  <a:pt x="523875" y="57150"/>
                </a:lnTo>
                <a:lnTo>
                  <a:pt x="481012" y="57150"/>
                </a:lnTo>
                <a:lnTo>
                  <a:pt x="481012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17F18A9E-8E27-48C1-BB2E-A919B75F2FD4}"/>
              </a:ext>
            </a:extLst>
          </p:cNvPr>
          <p:cNvSpPr/>
          <p:nvPr/>
        </p:nvSpPr>
        <p:spPr bwMode="auto">
          <a:xfrm>
            <a:off x="3195638" y="1657350"/>
            <a:ext cx="4457700" cy="2500313"/>
          </a:xfrm>
          <a:custGeom>
            <a:avLst/>
            <a:gdLst>
              <a:gd name="connsiteX0" fmla="*/ 4457700 w 4457700"/>
              <a:gd name="connsiteY0" fmla="*/ 2500313 h 2500313"/>
              <a:gd name="connsiteX1" fmla="*/ 4348162 w 4457700"/>
              <a:gd name="connsiteY1" fmla="*/ 2500313 h 2500313"/>
              <a:gd name="connsiteX2" fmla="*/ 4348162 w 4457700"/>
              <a:gd name="connsiteY2" fmla="*/ 1938338 h 2500313"/>
              <a:gd name="connsiteX3" fmla="*/ 4324350 w 4457700"/>
              <a:gd name="connsiteY3" fmla="*/ 1938338 h 2500313"/>
              <a:gd name="connsiteX4" fmla="*/ 4324350 w 4457700"/>
              <a:gd name="connsiteY4" fmla="*/ 1647825 h 2500313"/>
              <a:gd name="connsiteX5" fmla="*/ 3810000 w 4457700"/>
              <a:gd name="connsiteY5" fmla="*/ 1647825 h 2500313"/>
              <a:gd name="connsiteX6" fmla="*/ 3810000 w 4457700"/>
              <a:gd name="connsiteY6" fmla="*/ 1585913 h 2500313"/>
              <a:gd name="connsiteX7" fmla="*/ 3719512 w 4457700"/>
              <a:gd name="connsiteY7" fmla="*/ 1585913 h 2500313"/>
              <a:gd name="connsiteX8" fmla="*/ 3719512 w 4457700"/>
              <a:gd name="connsiteY8" fmla="*/ 1490663 h 2500313"/>
              <a:gd name="connsiteX9" fmla="*/ 3248025 w 4457700"/>
              <a:gd name="connsiteY9" fmla="*/ 1490663 h 2500313"/>
              <a:gd name="connsiteX10" fmla="*/ 3248025 w 4457700"/>
              <a:gd name="connsiteY10" fmla="*/ 1352550 h 2500313"/>
              <a:gd name="connsiteX11" fmla="*/ 2881312 w 4457700"/>
              <a:gd name="connsiteY11" fmla="*/ 1352550 h 2500313"/>
              <a:gd name="connsiteX12" fmla="*/ 2881312 w 4457700"/>
              <a:gd name="connsiteY12" fmla="*/ 1328738 h 2500313"/>
              <a:gd name="connsiteX13" fmla="*/ 2728912 w 4457700"/>
              <a:gd name="connsiteY13" fmla="*/ 1328738 h 2500313"/>
              <a:gd name="connsiteX14" fmla="*/ 2728912 w 4457700"/>
              <a:gd name="connsiteY14" fmla="*/ 1300163 h 2500313"/>
              <a:gd name="connsiteX15" fmla="*/ 2686050 w 4457700"/>
              <a:gd name="connsiteY15" fmla="*/ 1300163 h 2500313"/>
              <a:gd name="connsiteX16" fmla="*/ 2686050 w 4457700"/>
              <a:gd name="connsiteY16" fmla="*/ 1162050 h 2500313"/>
              <a:gd name="connsiteX17" fmla="*/ 2414587 w 4457700"/>
              <a:gd name="connsiteY17" fmla="*/ 1162050 h 2500313"/>
              <a:gd name="connsiteX18" fmla="*/ 2414587 w 4457700"/>
              <a:gd name="connsiteY18" fmla="*/ 1138238 h 2500313"/>
              <a:gd name="connsiteX19" fmla="*/ 2328862 w 4457700"/>
              <a:gd name="connsiteY19" fmla="*/ 1138238 h 2500313"/>
              <a:gd name="connsiteX20" fmla="*/ 2328862 w 4457700"/>
              <a:gd name="connsiteY20" fmla="*/ 1138238 h 2500313"/>
              <a:gd name="connsiteX21" fmla="*/ 2214562 w 4457700"/>
              <a:gd name="connsiteY21" fmla="*/ 1138238 h 2500313"/>
              <a:gd name="connsiteX22" fmla="*/ 2214562 w 4457700"/>
              <a:gd name="connsiteY22" fmla="*/ 1085850 h 2500313"/>
              <a:gd name="connsiteX23" fmla="*/ 2176462 w 4457700"/>
              <a:gd name="connsiteY23" fmla="*/ 1085850 h 2500313"/>
              <a:gd name="connsiteX24" fmla="*/ 2176462 w 4457700"/>
              <a:gd name="connsiteY24" fmla="*/ 1023938 h 2500313"/>
              <a:gd name="connsiteX25" fmla="*/ 2176462 w 4457700"/>
              <a:gd name="connsiteY25" fmla="*/ 1023938 h 2500313"/>
              <a:gd name="connsiteX26" fmla="*/ 2176462 w 4457700"/>
              <a:gd name="connsiteY26" fmla="*/ 1023938 h 2500313"/>
              <a:gd name="connsiteX27" fmla="*/ 2138362 w 4457700"/>
              <a:gd name="connsiteY27" fmla="*/ 1023938 h 2500313"/>
              <a:gd name="connsiteX28" fmla="*/ 2138362 w 4457700"/>
              <a:gd name="connsiteY28" fmla="*/ 866775 h 2500313"/>
              <a:gd name="connsiteX29" fmla="*/ 2085975 w 4457700"/>
              <a:gd name="connsiteY29" fmla="*/ 866775 h 2500313"/>
              <a:gd name="connsiteX30" fmla="*/ 2085975 w 4457700"/>
              <a:gd name="connsiteY30" fmla="*/ 823913 h 2500313"/>
              <a:gd name="connsiteX31" fmla="*/ 1685925 w 4457700"/>
              <a:gd name="connsiteY31" fmla="*/ 823913 h 2500313"/>
              <a:gd name="connsiteX32" fmla="*/ 1685925 w 4457700"/>
              <a:gd name="connsiteY32" fmla="*/ 776288 h 2500313"/>
              <a:gd name="connsiteX33" fmla="*/ 1633537 w 4457700"/>
              <a:gd name="connsiteY33" fmla="*/ 776288 h 2500313"/>
              <a:gd name="connsiteX34" fmla="*/ 1633537 w 4457700"/>
              <a:gd name="connsiteY34" fmla="*/ 704850 h 2500313"/>
              <a:gd name="connsiteX35" fmla="*/ 1595437 w 4457700"/>
              <a:gd name="connsiteY35" fmla="*/ 704850 h 2500313"/>
              <a:gd name="connsiteX36" fmla="*/ 1595437 w 4457700"/>
              <a:gd name="connsiteY36" fmla="*/ 595313 h 2500313"/>
              <a:gd name="connsiteX37" fmla="*/ 1581149 w 4457700"/>
              <a:gd name="connsiteY37" fmla="*/ 581025 h 2500313"/>
              <a:gd name="connsiteX38" fmla="*/ 1581149 w 4457700"/>
              <a:gd name="connsiteY38" fmla="*/ 490538 h 2500313"/>
              <a:gd name="connsiteX39" fmla="*/ 1443037 w 4457700"/>
              <a:gd name="connsiteY39" fmla="*/ 490538 h 2500313"/>
              <a:gd name="connsiteX40" fmla="*/ 1443037 w 4457700"/>
              <a:gd name="connsiteY40" fmla="*/ 452438 h 2500313"/>
              <a:gd name="connsiteX41" fmla="*/ 1081087 w 4457700"/>
              <a:gd name="connsiteY41" fmla="*/ 452438 h 2500313"/>
              <a:gd name="connsiteX42" fmla="*/ 1081087 w 4457700"/>
              <a:gd name="connsiteY42" fmla="*/ 395288 h 2500313"/>
              <a:gd name="connsiteX43" fmla="*/ 1057275 w 4457700"/>
              <a:gd name="connsiteY43" fmla="*/ 395288 h 2500313"/>
              <a:gd name="connsiteX44" fmla="*/ 1057275 w 4457700"/>
              <a:gd name="connsiteY44" fmla="*/ 300038 h 2500313"/>
              <a:gd name="connsiteX45" fmla="*/ 1028700 w 4457700"/>
              <a:gd name="connsiteY45" fmla="*/ 300038 h 2500313"/>
              <a:gd name="connsiteX46" fmla="*/ 1028700 w 4457700"/>
              <a:gd name="connsiteY46" fmla="*/ 252413 h 2500313"/>
              <a:gd name="connsiteX47" fmla="*/ 919162 w 4457700"/>
              <a:gd name="connsiteY47" fmla="*/ 252413 h 2500313"/>
              <a:gd name="connsiteX48" fmla="*/ 919162 w 4457700"/>
              <a:gd name="connsiteY48" fmla="*/ 252413 h 2500313"/>
              <a:gd name="connsiteX49" fmla="*/ 919162 w 4457700"/>
              <a:gd name="connsiteY49" fmla="*/ 223838 h 2500313"/>
              <a:gd name="connsiteX50" fmla="*/ 804862 w 4457700"/>
              <a:gd name="connsiteY50" fmla="*/ 223838 h 2500313"/>
              <a:gd name="connsiteX51" fmla="*/ 804862 w 4457700"/>
              <a:gd name="connsiteY51" fmla="*/ 190500 h 2500313"/>
              <a:gd name="connsiteX52" fmla="*/ 571500 w 4457700"/>
              <a:gd name="connsiteY52" fmla="*/ 190500 h 2500313"/>
              <a:gd name="connsiteX53" fmla="*/ 571500 w 4457700"/>
              <a:gd name="connsiteY53" fmla="*/ 157163 h 2500313"/>
              <a:gd name="connsiteX54" fmla="*/ 509587 w 4457700"/>
              <a:gd name="connsiteY54" fmla="*/ 157163 h 2500313"/>
              <a:gd name="connsiteX55" fmla="*/ 509587 w 4457700"/>
              <a:gd name="connsiteY55" fmla="*/ 28575 h 2500313"/>
              <a:gd name="connsiteX56" fmla="*/ 476250 w 4457700"/>
              <a:gd name="connsiteY56" fmla="*/ 28575 h 2500313"/>
              <a:gd name="connsiteX57" fmla="*/ 476250 w 4457700"/>
              <a:gd name="connsiteY57" fmla="*/ 28575 h 2500313"/>
              <a:gd name="connsiteX58" fmla="*/ 476250 w 4457700"/>
              <a:gd name="connsiteY58" fmla="*/ 28575 h 2500313"/>
              <a:gd name="connsiteX59" fmla="*/ 476250 w 4457700"/>
              <a:gd name="connsiteY59" fmla="*/ 0 h 2500313"/>
              <a:gd name="connsiteX60" fmla="*/ 0 w 4457700"/>
              <a:gd name="connsiteY60" fmla="*/ 0 h 2500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4457700" h="2500313">
                <a:moveTo>
                  <a:pt x="4457700" y="2500313"/>
                </a:moveTo>
                <a:lnTo>
                  <a:pt x="4348162" y="2500313"/>
                </a:lnTo>
                <a:lnTo>
                  <a:pt x="4348162" y="1938338"/>
                </a:lnTo>
                <a:lnTo>
                  <a:pt x="4324350" y="1938338"/>
                </a:lnTo>
                <a:lnTo>
                  <a:pt x="4324350" y="1647825"/>
                </a:lnTo>
                <a:lnTo>
                  <a:pt x="3810000" y="1647825"/>
                </a:lnTo>
                <a:lnTo>
                  <a:pt x="3810000" y="1585913"/>
                </a:lnTo>
                <a:lnTo>
                  <a:pt x="3719512" y="1585913"/>
                </a:lnTo>
                <a:lnTo>
                  <a:pt x="3719512" y="1490663"/>
                </a:lnTo>
                <a:lnTo>
                  <a:pt x="3248025" y="1490663"/>
                </a:lnTo>
                <a:lnTo>
                  <a:pt x="3248025" y="1352550"/>
                </a:lnTo>
                <a:lnTo>
                  <a:pt x="2881312" y="1352550"/>
                </a:lnTo>
                <a:lnTo>
                  <a:pt x="2881312" y="1328738"/>
                </a:lnTo>
                <a:lnTo>
                  <a:pt x="2728912" y="1328738"/>
                </a:lnTo>
                <a:lnTo>
                  <a:pt x="2728912" y="1300163"/>
                </a:lnTo>
                <a:lnTo>
                  <a:pt x="2686050" y="1300163"/>
                </a:lnTo>
                <a:lnTo>
                  <a:pt x="2686050" y="1162050"/>
                </a:lnTo>
                <a:lnTo>
                  <a:pt x="2414587" y="1162050"/>
                </a:lnTo>
                <a:lnTo>
                  <a:pt x="2414587" y="1138238"/>
                </a:lnTo>
                <a:lnTo>
                  <a:pt x="2328862" y="1138238"/>
                </a:lnTo>
                <a:lnTo>
                  <a:pt x="2328862" y="1138238"/>
                </a:lnTo>
                <a:lnTo>
                  <a:pt x="2214562" y="1138238"/>
                </a:lnTo>
                <a:lnTo>
                  <a:pt x="2214562" y="1085850"/>
                </a:lnTo>
                <a:lnTo>
                  <a:pt x="2176462" y="1085850"/>
                </a:lnTo>
                <a:lnTo>
                  <a:pt x="2176462" y="1023938"/>
                </a:lnTo>
                <a:lnTo>
                  <a:pt x="2176462" y="1023938"/>
                </a:lnTo>
                <a:lnTo>
                  <a:pt x="2176462" y="1023938"/>
                </a:lnTo>
                <a:lnTo>
                  <a:pt x="2138362" y="1023938"/>
                </a:lnTo>
                <a:lnTo>
                  <a:pt x="2138362" y="866775"/>
                </a:lnTo>
                <a:lnTo>
                  <a:pt x="2085975" y="866775"/>
                </a:lnTo>
                <a:lnTo>
                  <a:pt x="2085975" y="823913"/>
                </a:lnTo>
                <a:lnTo>
                  <a:pt x="1685925" y="823913"/>
                </a:lnTo>
                <a:lnTo>
                  <a:pt x="1685925" y="776288"/>
                </a:lnTo>
                <a:lnTo>
                  <a:pt x="1633537" y="776288"/>
                </a:lnTo>
                <a:lnTo>
                  <a:pt x="1633537" y="704850"/>
                </a:lnTo>
                <a:lnTo>
                  <a:pt x="1595437" y="704850"/>
                </a:lnTo>
                <a:lnTo>
                  <a:pt x="1595437" y="595313"/>
                </a:lnTo>
                <a:lnTo>
                  <a:pt x="1581149" y="581025"/>
                </a:lnTo>
                <a:lnTo>
                  <a:pt x="1581149" y="490538"/>
                </a:lnTo>
                <a:lnTo>
                  <a:pt x="1443037" y="490538"/>
                </a:lnTo>
                <a:lnTo>
                  <a:pt x="1443037" y="452438"/>
                </a:lnTo>
                <a:lnTo>
                  <a:pt x="1081087" y="452438"/>
                </a:lnTo>
                <a:lnTo>
                  <a:pt x="1081087" y="395288"/>
                </a:lnTo>
                <a:lnTo>
                  <a:pt x="1057275" y="395288"/>
                </a:lnTo>
                <a:lnTo>
                  <a:pt x="1057275" y="300038"/>
                </a:lnTo>
                <a:lnTo>
                  <a:pt x="1028700" y="300038"/>
                </a:lnTo>
                <a:lnTo>
                  <a:pt x="1028700" y="252413"/>
                </a:lnTo>
                <a:lnTo>
                  <a:pt x="919162" y="252413"/>
                </a:lnTo>
                <a:lnTo>
                  <a:pt x="919162" y="252413"/>
                </a:lnTo>
                <a:lnTo>
                  <a:pt x="919162" y="223838"/>
                </a:lnTo>
                <a:lnTo>
                  <a:pt x="804862" y="223838"/>
                </a:lnTo>
                <a:lnTo>
                  <a:pt x="804862" y="190500"/>
                </a:lnTo>
                <a:lnTo>
                  <a:pt x="571500" y="190500"/>
                </a:lnTo>
                <a:lnTo>
                  <a:pt x="571500" y="157163"/>
                </a:lnTo>
                <a:lnTo>
                  <a:pt x="509587" y="157163"/>
                </a:lnTo>
                <a:lnTo>
                  <a:pt x="509587" y="28575"/>
                </a:lnTo>
                <a:lnTo>
                  <a:pt x="476250" y="28575"/>
                </a:lnTo>
                <a:lnTo>
                  <a:pt x="476250" y="28575"/>
                </a:lnTo>
                <a:lnTo>
                  <a:pt x="476250" y="28575"/>
                </a:lnTo>
                <a:lnTo>
                  <a:pt x="476250" y="0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chemeClr val="accent3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6ED9C3E9-8292-4822-B942-757D0B02D7A3}"/>
              </a:ext>
            </a:extLst>
          </p:cNvPr>
          <p:cNvSpPr txBox="1"/>
          <p:nvPr/>
        </p:nvSpPr>
        <p:spPr bwMode="auto">
          <a:xfrm>
            <a:off x="3872605" y="1562774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87DE17A8-2FC5-469D-866B-EA70CDD45DED}"/>
              </a:ext>
            </a:extLst>
          </p:cNvPr>
          <p:cNvSpPr txBox="1"/>
          <p:nvPr/>
        </p:nvSpPr>
        <p:spPr bwMode="auto">
          <a:xfrm>
            <a:off x="4194111" y="165100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154A8C34-A6B2-48B5-AD1C-5D04DC2100FD}"/>
              </a:ext>
            </a:extLst>
          </p:cNvPr>
          <p:cNvSpPr txBox="1"/>
          <p:nvPr/>
        </p:nvSpPr>
        <p:spPr bwMode="auto">
          <a:xfrm>
            <a:off x="4311478" y="167428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EF446BC1-874F-4BD6-A0BB-B8D220C9696B}"/>
              </a:ext>
            </a:extLst>
          </p:cNvPr>
          <p:cNvSpPr txBox="1"/>
          <p:nvPr/>
        </p:nvSpPr>
        <p:spPr bwMode="auto">
          <a:xfrm>
            <a:off x="4350968" y="1668538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14688BE7-0C3C-43D8-A975-EA2C49F89EC4}"/>
              </a:ext>
            </a:extLst>
          </p:cNvPr>
          <p:cNvSpPr txBox="1"/>
          <p:nvPr/>
        </p:nvSpPr>
        <p:spPr bwMode="auto">
          <a:xfrm>
            <a:off x="5079022" y="186931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4F92B17F-2D8B-4970-BEB5-C432B10B6DEE}"/>
              </a:ext>
            </a:extLst>
          </p:cNvPr>
          <p:cNvSpPr txBox="1"/>
          <p:nvPr/>
        </p:nvSpPr>
        <p:spPr bwMode="auto">
          <a:xfrm>
            <a:off x="5136540" y="186931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4FE4A807-66B9-40D4-8540-4493F0A1E9B8}"/>
              </a:ext>
            </a:extLst>
          </p:cNvPr>
          <p:cNvSpPr txBox="1"/>
          <p:nvPr/>
        </p:nvSpPr>
        <p:spPr bwMode="auto">
          <a:xfrm>
            <a:off x="4630819" y="168343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FB1B190E-6C2B-4151-984C-8BF67B2F55B0}"/>
              </a:ext>
            </a:extLst>
          </p:cNvPr>
          <p:cNvSpPr txBox="1"/>
          <p:nvPr/>
        </p:nvSpPr>
        <p:spPr bwMode="auto">
          <a:xfrm>
            <a:off x="4663418" y="1700034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55FB8FF6-5DD7-4EBC-9851-898A2AA3B0A1}"/>
              </a:ext>
            </a:extLst>
          </p:cNvPr>
          <p:cNvSpPr txBox="1"/>
          <p:nvPr/>
        </p:nvSpPr>
        <p:spPr bwMode="auto">
          <a:xfrm>
            <a:off x="4692177" y="172508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9814E375-DDF0-4350-B15E-D842E39510DB}"/>
              </a:ext>
            </a:extLst>
          </p:cNvPr>
          <p:cNvSpPr txBox="1"/>
          <p:nvPr/>
        </p:nvSpPr>
        <p:spPr bwMode="auto">
          <a:xfrm>
            <a:off x="4731856" y="175685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32567D01-FF5D-4625-8BB4-B2BC261F4CBE}"/>
              </a:ext>
            </a:extLst>
          </p:cNvPr>
          <p:cNvSpPr txBox="1"/>
          <p:nvPr/>
        </p:nvSpPr>
        <p:spPr bwMode="auto">
          <a:xfrm>
            <a:off x="4759436" y="1787284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4B898724-6703-4984-A741-18518D369897}"/>
              </a:ext>
            </a:extLst>
          </p:cNvPr>
          <p:cNvSpPr txBox="1"/>
          <p:nvPr/>
        </p:nvSpPr>
        <p:spPr bwMode="auto">
          <a:xfrm>
            <a:off x="4784827" y="1818335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650002A5-15C5-41C9-B3B2-6F4A5927ACC6}"/>
              </a:ext>
            </a:extLst>
          </p:cNvPr>
          <p:cNvSpPr txBox="1"/>
          <p:nvPr/>
        </p:nvSpPr>
        <p:spPr bwMode="auto">
          <a:xfrm>
            <a:off x="4827473" y="1840173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A65FD4ED-AB46-4A20-9D17-C435BD00833C}"/>
              </a:ext>
            </a:extLst>
          </p:cNvPr>
          <p:cNvSpPr txBox="1"/>
          <p:nvPr/>
        </p:nvSpPr>
        <p:spPr bwMode="auto">
          <a:xfrm>
            <a:off x="5193490" y="1869225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013ED92C-BFCA-4D72-91CC-CEFBB6D2845C}"/>
              </a:ext>
            </a:extLst>
          </p:cNvPr>
          <p:cNvSpPr txBox="1"/>
          <p:nvPr/>
        </p:nvSpPr>
        <p:spPr bwMode="auto">
          <a:xfrm>
            <a:off x="5212440" y="1870123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F017CEB9-B166-4C6D-A264-356E10F4831B}"/>
              </a:ext>
            </a:extLst>
          </p:cNvPr>
          <p:cNvSpPr txBox="1"/>
          <p:nvPr/>
        </p:nvSpPr>
        <p:spPr bwMode="auto">
          <a:xfrm>
            <a:off x="5238945" y="187003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15882FE3-E872-4327-B98F-EF1C990D419C}"/>
              </a:ext>
            </a:extLst>
          </p:cNvPr>
          <p:cNvSpPr txBox="1"/>
          <p:nvPr/>
        </p:nvSpPr>
        <p:spPr bwMode="auto">
          <a:xfrm>
            <a:off x="5250332" y="1920685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6DBCC68E-6F51-4DA0-AE72-DDC8715B5721}"/>
              </a:ext>
            </a:extLst>
          </p:cNvPr>
          <p:cNvSpPr txBox="1"/>
          <p:nvPr/>
        </p:nvSpPr>
        <p:spPr bwMode="auto">
          <a:xfrm>
            <a:off x="5380473" y="1965445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CA6D73AF-CD9D-4228-9455-A8BE63C6CAAD}"/>
              </a:ext>
            </a:extLst>
          </p:cNvPr>
          <p:cNvSpPr txBox="1"/>
          <p:nvPr/>
        </p:nvSpPr>
        <p:spPr bwMode="auto">
          <a:xfrm>
            <a:off x="5356526" y="196644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35E36564-300E-40D6-AAA0-CCD7C19B4BD9}"/>
              </a:ext>
            </a:extLst>
          </p:cNvPr>
          <p:cNvSpPr txBox="1"/>
          <p:nvPr/>
        </p:nvSpPr>
        <p:spPr bwMode="auto">
          <a:xfrm>
            <a:off x="5318634" y="196932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EF39178C-3983-4CEE-A438-464B7E786917}"/>
              </a:ext>
            </a:extLst>
          </p:cNvPr>
          <p:cNvSpPr txBox="1"/>
          <p:nvPr/>
        </p:nvSpPr>
        <p:spPr bwMode="auto">
          <a:xfrm>
            <a:off x="5262769" y="1920685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E032269C-3078-4FF7-8B91-B4EE6A5193C7}"/>
              </a:ext>
            </a:extLst>
          </p:cNvPr>
          <p:cNvSpPr txBox="1"/>
          <p:nvPr/>
        </p:nvSpPr>
        <p:spPr bwMode="auto">
          <a:xfrm>
            <a:off x="5284772" y="1950830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6CD9419F-63B0-46E0-BDB2-8D798A5250E0}"/>
              </a:ext>
            </a:extLst>
          </p:cNvPr>
          <p:cNvSpPr txBox="1"/>
          <p:nvPr/>
        </p:nvSpPr>
        <p:spPr bwMode="auto">
          <a:xfrm>
            <a:off x="5304054" y="1950830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CED77D3-1713-4A38-ACE0-A6324226C07A}"/>
              </a:ext>
            </a:extLst>
          </p:cNvPr>
          <p:cNvSpPr txBox="1"/>
          <p:nvPr/>
        </p:nvSpPr>
        <p:spPr bwMode="auto">
          <a:xfrm>
            <a:off x="5696950" y="199500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FE754DC7-F220-45A9-AD82-9FB872532DB8}"/>
              </a:ext>
            </a:extLst>
          </p:cNvPr>
          <p:cNvSpPr txBox="1"/>
          <p:nvPr/>
        </p:nvSpPr>
        <p:spPr bwMode="auto">
          <a:xfrm>
            <a:off x="5718746" y="199500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24AB0160-F0CE-411D-8DCE-67AA91F27164}"/>
              </a:ext>
            </a:extLst>
          </p:cNvPr>
          <p:cNvSpPr txBox="1"/>
          <p:nvPr/>
        </p:nvSpPr>
        <p:spPr bwMode="auto">
          <a:xfrm>
            <a:off x="5760781" y="199500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8F2308C3-9E9B-4957-B020-C0FAA7AECA40}"/>
              </a:ext>
            </a:extLst>
          </p:cNvPr>
          <p:cNvSpPr txBox="1"/>
          <p:nvPr/>
        </p:nvSpPr>
        <p:spPr bwMode="auto">
          <a:xfrm>
            <a:off x="5777794" y="199500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34250E0D-D16E-48C9-8BA9-E30EB111DC60}"/>
              </a:ext>
            </a:extLst>
          </p:cNvPr>
          <p:cNvSpPr txBox="1"/>
          <p:nvPr/>
        </p:nvSpPr>
        <p:spPr bwMode="auto">
          <a:xfrm>
            <a:off x="5798985" y="2016730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5E635C93-43D6-4A42-8B67-1A309183E408}"/>
              </a:ext>
            </a:extLst>
          </p:cNvPr>
          <p:cNvSpPr txBox="1"/>
          <p:nvPr/>
        </p:nvSpPr>
        <p:spPr bwMode="auto">
          <a:xfrm>
            <a:off x="5817653" y="202097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43AC262F-6F88-430F-AC5E-DEA8401E933B}"/>
              </a:ext>
            </a:extLst>
          </p:cNvPr>
          <p:cNvSpPr txBox="1"/>
          <p:nvPr/>
        </p:nvSpPr>
        <p:spPr bwMode="auto">
          <a:xfrm>
            <a:off x="5824034" y="207406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535D9A14-A3DF-47D3-877E-470AEE4A500F}"/>
              </a:ext>
            </a:extLst>
          </p:cNvPr>
          <p:cNvSpPr txBox="1"/>
          <p:nvPr/>
        </p:nvSpPr>
        <p:spPr bwMode="auto">
          <a:xfrm>
            <a:off x="5839914" y="207406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823FF81A-81DC-4BCA-B1FE-3A8FD19FE30D}"/>
              </a:ext>
            </a:extLst>
          </p:cNvPr>
          <p:cNvSpPr txBox="1"/>
          <p:nvPr/>
        </p:nvSpPr>
        <p:spPr bwMode="auto">
          <a:xfrm>
            <a:off x="5887228" y="2111303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C9444D4B-D343-4BCF-873A-CE1B9CC13D1E}"/>
              </a:ext>
            </a:extLst>
          </p:cNvPr>
          <p:cNvSpPr txBox="1"/>
          <p:nvPr/>
        </p:nvSpPr>
        <p:spPr bwMode="auto">
          <a:xfrm>
            <a:off x="6024555" y="2107404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F68DD0CB-6EF1-4061-8D35-AB1506D3B7D4}"/>
              </a:ext>
            </a:extLst>
          </p:cNvPr>
          <p:cNvSpPr txBox="1"/>
          <p:nvPr/>
        </p:nvSpPr>
        <p:spPr bwMode="auto">
          <a:xfrm>
            <a:off x="6146822" y="211677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A1896DFD-7778-4D4C-8765-ACB521E7C27A}"/>
              </a:ext>
            </a:extLst>
          </p:cNvPr>
          <p:cNvSpPr txBox="1"/>
          <p:nvPr/>
        </p:nvSpPr>
        <p:spPr bwMode="auto">
          <a:xfrm>
            <a:off x="5909181" y="2111303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7E23F322-4A1B-4402-8019-E7EB524A1B5F}"/>
              </a:ext>
            </a:extLst>
          </p:cNvPr>
          <p:cNvSpPr txBox="1"/>
          <p:nvPr/>
        </p:nvSpPr>
        <p:spPr bwMode="auto">
          <a:xfrm>
            <a:off x="5967892" y="210754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A6EF9321-24C5-40DB-9D55-B22F743E6F26}"/>
              </a:ext>
            </a:extLst>
          </p:cNvPr>
          <p:cNvSpPr txBox="1"/>
          <p:nvPr/>
        </p:nvSpPr>
        <p:spPr bwMode="auto">
          <a:xfrm>
            <a:off x="5928436" y="211577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9CCF7C89-AEDC-4C5B-9587-5BBA918F0D3D}"/>
              </a:ext>
            </a:extLst>
          </p:cNvPr>
          <p:cNvSpPr txBox="1"/>
          <p:nvPr/>
        </p:nvSpPr>
        <p:spPr bwMode="auto">
          <a:xfrm>
            <a:off x="6244503" y="2103802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62B9A339-7FA0-4DA2-A9BF-86E2F05CE0AE}"/>
              </a:ext>
            </a:extLst>
          </p:cNvPr>
          <p:cNvSpPr txBox="1"/>
          <p:nvPr/>
        </p:nvSpPr>
        <p:spPr bwMode="auto">
          <a:xfrm>
            <a:off x="6268543" y="210882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5DAF784D-7958-4CBD-A54E-9AD87BE5E538}"/>
              </a:ext>
            </a:extLst>
          </p:cNvPr>
          <p:cNvSpPr txBox="1"/>
          <p:nvPr/>
        </p:nvSpPr>
        <p:spPr bwMode="auto">
          <a:xfrm>
            <a:off x="6516442" y="2215350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9DCB7B4B-2579-4DC4-8B1E-79F7CF5B1DF0}"/>
              </a:ext>
            </a:extLst>
          </p:cNvPr>
          <p:cNvSpPr txBox="1"/>
          <p:nvPr/>
        </p:nvSpPr>
        <p:spPr bwMode="auto">
          <a:xfrm>
            <a:off x="6558766" y="2215625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C3BD9581-9A6A-4D5E-B16F-13378E04E6E4}"/>
              </a:ext>
            </a:extLst>
          </p:cNvPr>
          <p:cNvSpPr txBox="1"/>
          <p:nvPr/>
        </p:nvSpPr>
        <p:spPr bwMode="auto">
          <a:xfrm>
            <a:off x="6290697" y="211102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39BF8FCC-521D-4378-8D06-5750E396DA70}"/>
              </a:ext>
            </a:extLst>
          </p:cNvPr>
          <p:cNvSpPr txBox="1"/>
          <p:nvPr/>
        </p:nvSpPr>
        <p:spPr bwMode="auto">
          <a:xfrm>
            <a:off x="6402384" y="2212023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A7DA034B-83D2-4CF1-9575-5715C8772F74}"/>
              </a:ext>
            </a:extLst>
          </p:cNvPr>
          <p:cNvSpPr txBox="1"/>
          <p:nvPr/>
        </p:nvSpPr>
        <p:spPr bwMode="auto">
          <a:xfrm>
            <a:off x="6318218" y="211102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AEA16F1E-BEE5-4455-804D-5F96A3E712D3}"/>
              </a:ext>
            </a:extLst>
          </p:cNvPr>
          <p:cNvSpPr txBox="1"/>
          <p:nvPr/>
        </p:nvSpPr>
        <p:spPr bwMode="auto">
          <a:xfrm>
            <a:off x="6324926" y="2152685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380BE679-D4D2-4497-A51F-ADA42516E4B6}"/>
              </a:ext>
            </a:extLst>
          </p:cNvPr>
          <p:cNvSpPr txBox="1"/>
          <p:nvPr/>
        </p:nvSpPr>
        <p:spPr bwMode="auto">
          <a:xfrm>
            <a:off x="6343736" y="216867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3D68D165-0B84-4841-81D8-36D060C3256E}"/>
              </a:ext>
            </a:extLst>
          </p:cNvPr>
          <p:cNvSpPr txBox="1"/>
          <p:nvPr/>
        </p:nvSpPr>
        <p:spPr bwMode="auto">
          <a:xfrm>
            <a:off x="6386060" y="220960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5A0D470A-418B-4BDC-A3B1-B6E1B83B427B}"/>
              </a:ext>
            </a:extLst>
          </p:cNvPr>
          <p:cNvSpPr txBox="1"/>
          <p:nvPr/>
        </p:nvSpPr>
        <p:spPr bwMode="auto">
          <a:xfrm>
            <a:off x="6464635" y="221033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5208D889-04A8-4E9B-B247-F858A121F829}"/>
              </a:ext>
            </a:extLst>
          </p:cNvPr>
          <p:cNvSpPr txBox="1"/>
          <p:nvPr/>
        </p:nvSpPr>
        <p:spPr bwMode="auto">
          <a:xfrm>
            <a:off x="6341529" y="2203395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F86193BD-4F1C-42E7-B171-DABEA657D24B}"/>
              </a:ext>
            </a:extLst>
          </p:cNvPr>
          <p:cNvSpPr txBox="1"/>
          <p:nvPr/>
        </p:nvSpPr>
        <p:spPr bwMode="auto">
          <a:xfrm>
            <a:off x="6365898" y="221050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DCC1BEE8-998C-4B92-810C-D8F36D94BBD4}"/>
              </a:ext>
            </a:extLst>
          </p:cNvPr>
          <p:cNvSpPr txBox="1"/>
          <p:nvPr/>
        </p:nvSpPr>
        <p:spPr bwMode="auto">
          <a:xfrm>
            <a:off x="6421069" y="2208085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2CDFF792-7364-42B6-9CCC-47E7ACB7BEAE}"/>
              </a:ext>
            </a:extLst>
          </p:cNvPr>
          <p:cNvSpPr txBox="1"/>
          <p:nvPr/>
        </p:nvSpPr>
        <p:spPr bwMode="auto">
          <a:xfrm>
            <a:off x="6432875" y="220777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2A82CDB5-A67A-40A7-A9D9-01F517B36EBB}"/>
              </a:ext>
            </a:extLst>
          </p:cNvPr>
          <p:cNvSpPr txBox="1"/>
          <p:nvPr/>
        </p:nvSpPr>
        <p:spPr bwMode="auto">
          <a:xfrm>
            <a:off x="6448344" y="220505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D5BE4C35-D465-4C98-A47F-F65214F854CC}"/>
              </a:ext>
            </a:extLst>
          </p:cNvPr>
          <p:cNvSpPr txBox="1"/>
          <p:nvPr/>
        </p:nvSpPr>
        <p:spPr bwMode="auto">
          <a:xfrm>
            <a:off x="6649779" y="221203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31564996-1F58-4614-994C-1891853552C1}"/>
              </a:ext>
            </a:extLst>
          </p:cNvPr>
          <p:cNvSpPr txBox="1"/>
          <p:nvPr/>
        </p:nvSpPr>
        <p:spPr bwMode="auto">
          <a:xfrm>
            <a:off x="6703827" y="221305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9007E3BE-4860-4D6F-BEEC-AC683AE7845D}"/>
              </a:ext>
            </a:extLst>
          </p:cNvPr>
          <p:cNvSpPr txBox="1"/>
          <p:nvPr/>
        </p:nvSpPr>
        <p:spPr bwMode="auto">
          <a:xfrm>
            <a:off x="6779174" y="2249668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45574B10-0E91-42A3-83D5-5CB18AE2A302}"/>
              </a:ext>
            </a:extLst>
          </p:cNvPr>
          <p:cNvSpPr txBox="1"/>
          <p:nvPr/>
        </p:nvSpPr>
        <p:spPr bwMode="auto">
          <a:xfrm>
            <a:off x="6848149" y="225540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806EBE83-D049-4AB9-AAD2-68C06F7EB123}"/>
              </a:ext>
            </a:extLst>
          </p:cNvPr>
          <p:cNvSpPr txBox="1"/>
          <p:nvPr/>
        </p:nvSpPr>
        <p:spPr bwMode="auto">
          <a:xfrm>
            <a:off x="6870486" y="2258602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0A6334A3-63F2-420B-8EA2-A5A9E26AF628}"/>
              </a:ext>
            </a:extLst>
          </p:cNvPr>
          <p:cNvSpPr txBox="1"/>
          <p:nvPr/>
        </p:nvSpPr>
        <p:spPr bwMode="auto">
          <a:xfrm>
            <a:off x="6868768" y="230689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CBA4E982-35DC-4799-BC1F-21E4D7989C2E}"/>
              </a:ext>
            </a:extLst>
          </p:cNvPr>
          <p:cNvSpPr txBox="1"/>
          <p:nvPr/>
        </p:nvSpPr>
        <p:spPr bwMode="auto">
          <a:xfrm>
            <a:off x="7049245" y="2309905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D0C965E9-15D1-4A8B-A74B-5E809DB5ABC7}"/>
              </a:ext>
            </a:extLst>
          </p:cNvPr>
          <p:cNvSpPr txBox="1"/>
          <p:nvPr/>
        </p:nvSpPr>
        <p:spPr bwMode="auto">
          <a:xfrm>
            <a:off x="6891602" y="230399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28ADAD5B-A0CC-485B-B9F1-97B22B29E689}"/>
              </a:ext>
            </a:extLst>
          </p:cNvPr>
          <p:cNvSpPr txBox="1"/>
          <p:nvPr/>
        </p:nvSpPr>
        <p:spPr bwMode="auto">
          <a:xfrm>
            <a:off x="6909831" y="230399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36888C3B-17F9-4DE8-B2D8-3C3ED317AEA8}"/>
              </a:ext>
            </a:extLst>
          </p:cNvPr>
          <p:cNvSpPr txBox="1"/>
          <p:nvPr/>
        </p:nvSpPr>
        <p:spPr bwMode="auto">
          <a:xfrm>
            <a:off x="7337444" y="230699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1A4C1514-2D34-415B-A7A9-0A3D13589EFC}"/>
              </a:ext>
            </a:extLst>
          </p:cNvPr>
          <p:cNvSpPr txBox="1"/>
          <p:nvPr/>
        </p:nvSpPr>
        <p:spPr bwMode="auto">
          <a:xfrm>
            <a:off x="6924977" y="2309545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5F18FD53-831F-4B50-BCCB-289C72B6B7EA}"/>
              </a:ext>
            </a:extLst>
          </p:cNvPr>
          <p:cNvSpPr txBox="1"/>
          <p:nvPr/>
        </p:nvSpPr>
        <p:spPr bwMode="auto">
          <a:xfrm>
            <a:off x="6974419" y="230205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347B7517-EA52-4BC3-B96C-24C1F4A65CD5}"/>
              </a:ext>
            </a:extLst>
          </p:cNvPr>
          <p:cNvSpPr txBox="1"/>
          <p:nvPr/>
        </p:nvSpPr>
        <p:spPr bwMode="auto">
          <a:xfrm>
            <a:off x="6939065" y="2309343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BC0163EA-1DFB-4621-8028-42897F38BD72}"/>
              </a:ext>
            </a:extLst>
          </p:cNvPr>
          <p:cNvSpPr txBox="1"/>
          <p:nvPr/>
        </p:nvSpPr>
        <p:spPr bwMode="auto">
          <a:xfrm>
            <a:off x="6960755" y="2301250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C6512A58-8200-4C6E-A817-842FD2874A40}"/>
              </a:ext>
            </a:extLst>
          </p:cNvPr>
          <p:cNvSpPr txBox="1"/>
          <p:nvPr/>
        </p:nvSpPr>
        <p:spPr bwMode="auto">
          <a:xfrm>
            <a:off x="7920065" y="230699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4363C261-3CA2-4306-B68B-F410EF003CB9}"/>
              </a:ext>
            </a:extLst>
          </p:cNvPr>
          <p:cNvSpPr txBox="1"/>
          <p:nvPr/>
        </p:nvSpPr>
        <p:spPr bwMode="auto">
          <a:xfrm>
            <a:off x="7957986" y="230699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4F2AA8C1-43DA-486C-9E85-B9706451C494}"/>
              </a:ext>
            </a:extLst>
          </p:cNvPr>
          <p:cNvSpPr txBox="1"/>
          <p:nvPr/>
        </p:nvSpPr>
        <p:spPr bwMode="auto">
          <a:xfrm>
            <a:off x="8054035" y="230699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122CE03F-86EA-417F-B8CC-20E1F9BD8DE6}"/>
              </a:ext>
            </a:extLst>
          </p:cNvPr>
          <p:cNvSpPr txBox="1"/>
          <p:nvPr/>
        </p:nvSpPr>
        <p:spPr bwMode="auto">
          <a:xfrm>
            <a:off x="7501673" y="230699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3FA9DF0D-F4F0-415E-AA0C-F6985F5ECB20}"/>
              </a:ext>
            </a:extLst>
          </p:cNvPr>
          <p:cNvSpPr txBox="1"/>
          <p:nvPr/>
        </p:nvSpPr>
        <p:spPr bwMode="auto">
          <a:xfrm>
            <a:off x="8589482" y="230699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51DEBA8D-11F1-4F64-8FF5-32C35207A9C9}"/>
              </a:ext>
            </a:extLst>
          </p:cNvPr>
          <p:cNvSpPr txBox="1"/>
          <p:nvPr/>
        </p:nvSpPr>
        <p:spPr bwMode="auto">
          <a:xfrm>
            <a:off x="7408947" y="230699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24FD6321-1F1B-4070-9916-B088B8671580}"/>
              </a:ext>
            </a:extLst>
          </p:cNvPr>
          <p:cNvSpPr txBox="1"/>
          <p:nvPr/>
        </p:nvSpPr>
        <p:spPr bwMode="auto">
          <a:xfrm>
            <a:off x="7580143" y="230699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161F23DD-6844-4AE4-BCD2-D3CF4AAA8C4E}"/>
              </a:ext>
            </a:extLst>
          </p:cNvPr>
          <p:cNvSpPr txBox="1"/>
          <p:nvPr/>
        </p:nvSpPr>
        <p:spPr bwMode="auto">
          <a:xfrm>
            <a:off x="7427790" y="230699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04FCEC14-39BD-475E-924A-D26E83A69836}"/>
              </a:ext>
            </a:extLst>
          </p:cNvPr>
          <p:cNvSpPr txBox="1"/>
          <p:nvPr/>
        </p:nvSpPr>
        <p:spPr bwMode="auto">
          <a:xfrm>
            <a:off x="7545950" y="230699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D683927E-53F3-43C8-806D-FC034DE1C63B}"/>
              </a:ext>
            </a:extLst>
          </p:cNvPr>
          <p:cNvSpPr txBox="1"/>
          <p:nvPr/>
        </p:nvSpPr>
        <p:spPr bwMode="auto">
          <a:xfrm>
            <a:off x="7531051" y="230699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2760FB5D-4167-4B17-991D-73918605480C}"/>
              </a:ext>
            </a:extLst>
          </p:cNvPr>
          <p:cNvSpPr txBox="1"/>
          <p:nvPr/>
        </p:nvSpPr>
        <p:spPr bwMode="auto">
          <a:xfrm>
            <a:off x="7452996" y="230699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E4A9416A-8439-406F-9563-3E82454A4E38}"/>
              </a:ext>
            </a:extLst>
          </p:cNvPr>
          <p:cNvSpPr txBox="1"/>
          <p:nvPr/>
        </p:nvSpPr>
        <p:spPr bwMode="auto">
          <a:xfrm>
            <a:off x="7466771" y="230699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A7516C39-AA99-44D2-88F5-B84EABC58772}"/>
              </a:ext>
            </a:extLst>
          </p:cNvPr>
          <p:cNvSpPr txBox="1"/>
          <p:nvPr/>
        </p:nvSpPr>
        <p:spPr bwMode="auto">
          <a:xfrm>
            <a:off x="7483739" y="230699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79" name="TextBox 278">
            <a:extLst>
              <a:ext uri="{FF2B5EF4-FFF2-40B4-BE49-F238E27FC236}">
                <a16:creationId xmlns:a16="http://schemas.microsoft.com/office/drawing/2014/main" id="{6DBED442-2536-4049-943E-0F97BEC36970}"/>
              </a:ext>
            </a:extLst>
          </p:cNvPr>
          <p:cNvSpPr txBox="1"/>
          <p:nvPr/>
        </p:nvSpPr>
        <p:spPr bwMode="auto">
          <a:xfrm>
            <a:off x="7441574" y="230699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158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19E5A8F1-6E52-418E-A647-912983BCF78C}"/>
              </a:ext>
            </a:extLst>
          </p:cNvPr>
          <p:cNvSpPr txBox="1"/>
          <p:nvPr/>
        </p:nvSpPr>
        <p:spPr bwMode="auto">
          <a:xfrm>
            <a:off x="3112994" y="148555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83" name="TextBox 282">
            <a:extLst>
              <a:ext uri="{FF2B5EF4-FFF2-40B4-BE49-F238E27FC236}">
                <a16:creationId xmlns:a16="http://schemas.microsoft.com/office/drawing/2014/main" id="{4A7888BB-ECEE-4D61-9849-DB28179FD266}"/>
              </a:ext>
            </a:extLst>
          </p:cNvPr>
          <p:cNvSpPr txBox="1"/>
          <p:nvPr/>
        </p:nvSpPr>
        <p:spPr bwMode="auto">
          <a:xfrm>
            <a:off x="3570776" y="1492742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3E99E425-498C-4060-9A09-8F05D8DABE15}"/>
              </a:ext>
            </a:extLst>
          </p:cNvPr>
          <p:cNvSpPr txBox="1"/>
          <p:nvPr/>
        </p:nvSpPr>
        <p:spPr bwMode="auto">
          <a:xfrm>
            <a:off x="3749259" y="167428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87" name="TextBox 286">
            <a:extLst>
              <a:ext uri="{FF2B5EF4-FFF2-40B4-BE49-F238E27FC236}">
                <a16:creationId xmlns:a16="http://schemas.microsoft.com/office/drawing/2014/main" id="{1F716E36-6E70-4E9F-990F-82316B7A489F}"/>
              </a:ext>
            </a:extLst>
          </p:cNvPr>
          <p:cNvSpPr txBox="1"/>
          <p:nvPr/>
        </p:nvSpPr>
        <p:spPr bwMode="auto">
          <a:xfrm>
            <a:off x="3635234" y="159057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89" name="TextBox 288">
            <a:extLst>
              <a:ext uri="{FF2B5EF4-FFF2-40B4-BE49-F238E27FC236}">
                <a16:creationId xmlns:a16="http://schemas.microsoft.com/office/drawing/2014/main" id="{32074E67-708F-4A6C-95DE-669FA13D6B4C}"/>
              </a:ext>
            </a:extLst>
          </p:cNvPr>
          <p:cNvSpPr txBox="1"/>
          <p:nvPr/>
        </p:nvSpPr>
        <p:spPr bwMode="auto">
          <a:xfrm>
            <a:off x="3639259" y="161698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62D89554-20B4-4602-B680-C3D96BF6FBE8}"/>
              </a:ext>
            </a:extLst>
          </p:cNvPr>
          <p:cNvSpPr txBox="1"/>
          <p:nvPr/>
        </p:nvSpPr>
        <p:spPr bwMode="auto">
          <a:xfrm>
            <a:off x="3984955" y="1702748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FDFAE537-2513-4C01-88B9-BB40933FA0CF}"/>
              </a:ext>
            </a:extLst>
          </p:cNvPr>
          <p:cNvSpPr txBox="1"/>
          <p:nvPr/>
        </p:nvSpPr>
        <p:spPr bwMode="auto">
          <a:xfrm>
            <a:off x="4052508" y="172200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0BFA12BD-5CC4-4692-B422-BF1C92D5087D}"/>
              </a:ext>
            </a:extLst>
          </p:cNvPr>
          <p:cNvSpPr txBox="1"/>
          <p:nvPr/>
        </p:nvSpPr>
        <p:spPr bwMode="auto">
          <a:xfrm>
            <a:off x="3858023" y="168813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97" name="TextBox 296">
            <a:extLst>
              <a:ext uri="{FF2B5EF4-FFF2-40B4-BE49-F238E27FC236}">
                <a16:creationId xmlns:a16="http://schemas.microsoft.com/office/drawing/2014/main" id="{5E59C27C-9FC3-43BB-A302-ACD6CC839FAA}"/>
              </a:ext>
            </a:extLst>
          </p:cNvPr>
          <p:cNvSpPr txBox="1"/>
          <p:nvPr/>
        </p:nvSpPr>
        <p:spPr bwMode="auto">
          <a:xfrm>
            <a:off x="3878207" y="168768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299" name="TextBox 298">
            <a:extLst>
              <a:ext uri="{FF2B5EF4-FFF2-40B4-BE49-F238E27FC236}">
                <a16:creationId xmlns:a16="http://schemas.microsoft.com/office/drawing/2014/main" id="{7B4933DE-0330-4FC0-BDAC-5338F9A3438B}"/>
              </a:ext>
            </a:extLst>
          </p:cNvPr>
          <p:cNvSpPr txBox="1"/>
          <p:nvPr/>
        </p:nvSpPr>
        <p:spPr bwMode="auto">
          <a:xfrm>
            <a:off x="4128984" y="174440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AAB46BC0-1E5F-4121-B27C-FD87796C63F4}"/>
              </a:ext>
            </a:extLst>
          </p:cNvPr>
          <p:cNvSpPr txBox="1"/>
          <p:nvPr/>
        </p:nvSpPr>
        <p:spPr bwMode="auto">
          <a:xfrm>
            <a:off x="4175109" y="1798053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5DBA8482-5C90-4364-9B56-B0D504F8E574}"/>
              </a:ext>
            </a:extLst>
          </p:cNvPr>
          <p:cNvSpPr txBox="1"/>
          <p:nvPr/>
        </p:nvSpPr>
        <p:spPr bwMode="auto">
          <a:xfrm>
            <a:off x="4175268" y="1814843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05" name="TextBox 304">
            <a:extLst>
              <a:ext uri="{FF2B5EF4-FFF2-40B4-BE49-F238E27FC236}">
                <a16:creationId xmlns:a16="http://schemas.microsoft.com/office/drawing/2014/main" id="{0756BFDF-BC9B-4929-AC27-37CD62491B31}"/>
              </a:ext>
            </a:extLst>
          </p:cNvPr>
          <p:cNvSpPr txBox="1"/>
          <p:nvPr/>
        </p:nvSpPr>
        <p:spPr bwMode="auto">
          <a:xfrm>
            <a:off x="4174875" y="1858518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4D38D78D-0568-47DC-BA0F-0C7135D2801E}"/>
              </a:ext>
            </a:extLst>
          </p:cNvPr>
          <p:cNvSpPr txBox="1"/>
          <p:nvPr/>
        </p:nvSpPr>
        <p:spPr bwMode="auto">
          <a:xfrm>
            <a:off x="4620327" y="196197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09" name="TextBox 308">
            <a:extLst>
              <a:ext uri="{FF2B5EF4-FFF2-40B4-BE49-F238E27FC236}">
                <a16:creationId xmlns:a16="http://schemas.microsoft.com/office/drawing/2014/main" id="{83E8BACD-A2CD-4D21-B826-D16ACE33F84E}"/>
              </a:ext>
            </a:extLst>
          </p:cNvPr>
          <p:cNvSpPr txBox="1"/>
          <p:nvPr/>
        </p:nvSpPr>
        <p:spPr bwMode="auto">
          <a:xfrm>
            <a:off x="4647763" y="196197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7716459D-0792-4742-9EAC-E3E28E5CB5D8}"/>
              </a:ext>
            </a:extLst>
          </p:cNvPr>
          <p:cNvSpPr txBox="1"/>
          <p:nvPr/>
        </p:nvSpPr>
        <p:spPr bwMode="auto">
          <a:xfrm>
            <a:off x="4670174" y="197432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id="{3F4E6BB8-9A42-4866-A76C-2AB0C811A275}"/>
              </a:ext>
            </a:extLst>
          </p:cNvPr>
          <p:cNvSpPr txBox="1"/>
          <p:nvPr/>
        </p:nvSpPr>
        <p:spPr bwMode="auto">
          <a:xfrm>
            <a:off x="4696078" y="2007170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15" name="TextBox 314">
            <a:extLst>
              <a:ext uri="{FF2B5EF4-FFF2-40B4-BE49-F238E27FC236}">
                <a16:creationId xmlns:a16="http://schemas.microsoft.com/office/drawing/2014/main" id="{2F4905EC-3324-4F4B-8110-33BDA5BB2793}"/>
              </a:ext>
            </a:extLst>
          </p:cNvPr>
          <p:cNvSpPr txBox="1"/>
          <p:nvPr/>
        </p:nvSpPr>
        <p:spPr bwMode="auto">
          <a:xfrm>
            <a:off x="4703583" y="2046073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17" name="TextBox 316">
            <a:extLst>
              <a:ext uri="{FF2B5EF4-FFF2-40B4-BE49-F238E27FC236}">
                <a16:creationId xmlns:a16="http://schemas.microsoft.com/office/drawing/2014/main" id="{85436806-5F66-4F73-A927-6D8AD3BDF093}"/>
              </a:ext>
            </a:extLst>
          </p:cNvPr>
          <p:cNvSpPr txBox="1"/>
          <p:nvPr/>
        </p:nvSpPr>
        <p:spPr bwMode="auto">
          <a:xfrm>
            <a:off x="4698396" y="206025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19" name="TextBox 318">
            <a:extLst>
              <a:ext uri="{FF2B5EF4-FFF2-40B4-BE49-F238E27FC236}">
                <a16:creationId xmlns:a16="http://schemas.microsoft.com/office/drawing/2014/main" id="{C72C2336-CC77-4F62-B823-2F3FBF7FD748}"/>
              </a:ext>
            </a:extLst>
          </p:cNvPr>
          <p:cNvSpPr txBox="1"/>
          <p:nvPr/>
        </p:nvSpPr>
        <p:spPr bwMode="auto">
          <a:xfrm>
            <a:off x="4963093" y="229810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21" name="TextBox 320">
            <a:extLst>
              <a:ext uri="{FF2B5EF4-FFF2-40B4-BE49-F238E27FC236}">
                <a16:creationId xmlns:a16="http://schemas.microsoft.com/office/drawing/2014/main" id="{B4AC0FF7-B109-44AD-99D4-314F02A69F74}"/>
              </a:ext>
            </a:extLst>
          </p:cNvPr>
          <p:cNvSpPr txBox="1"/>
          <p:nvPr/>
        </p:nvSpPr>
        <p:spPr bwMode="auto">
          <a:xfrm>
            <a:off x="4714744" y="210754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A6DDC00F-22CA-4D0E-BBBC-F4782B2022FE}"/>
              </a:ext>
            </a:extLst>
          </p:cNvPr>
          <p:cNvSpPr txBox="1"/>
          <p:nvPr/>
        </p:nvSpPr>
        <p:spPr bwMode="auto">
          <a:xfrm>
            <a:off x="4717663" y="2129890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25" name="TextBox 324">
            <a:extLst>
              <a:ext uri="{FF2B5EF4-FFF2-40B4-BE49-F238E27FC236}">
                <a16:creationId xmlns:a16="http://schemas.microsoft.com/office/drawing/2014/main" id="{E283253D-38F5-43EF-8964-E71E8152A442}"/>
              </a:ext>
            </a:extLst>
          </p:cNvPr>
          <p:cNvSpPr txBox="1"/>
          <p:nvPr/>
        </p:nvSpPr>
        <p:spPr bwMode="auto">
          <a:xfrm>
            <a:off x="4847465" y="2305963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FE90F7F5-E954-4D93-8A1B-875D827BC177}"/>
              </a:ext>
            </a:extLst>
          </p:cNvPr>
          <p:cNvSpPr txBox="1"/>
          <p:nvPr/>
        </p:nvSpPr>
        <p:spPr bwMode="auto">
          <a:xfrm>
            <a:off x="4827226" y="229720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5FC19392-3B3B-46BE-AFF5-2AE1092B30EE}"/>
              </a:ext>
            </a:extLst>
          </p:cNvPr>
          <p:cNvSpPr txBox="1"/>
          <p:nvPr/>
        </p:nvSpPr>
        <p:spPr bwMode="auto">
          <a:xfrm>
            <a:off x="4717566" y="214868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31" name="TextBox 330">
            <a:extLst>
              <a:ext uri="{FF2B5EF4-FFF2-40B4-BE49-F238E27FC236}">
                <a16:creationId xmlns:a16="http://schemas.microsoft.com/office/drawing/2014/main" id="{3A375B60-A190-4139-BA34-4A8EC20E8996}"/>
              </a:ext>
            </a:extLst>
          </p:cNvPr>
          <p:cNvSpPr txBox="1"/>
          <p:nvPr/>
        </p:nvSpPr>
        <p:spPr bwMode="auto">
          <a:xfrm>
            <a:off x="4869966" y="230108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id="{12E7BB53-378A-4590-B4B5-76C448F235F9}"/>
              </a:ext>
            </a:extLst>
          </p:cNvPr>
          <p:cNvSpPr txBox="1"/>
          <p:nvPr/>
        </p:nvSpPr>
        <p:spPr bwMode="auto">
          <a:xfrm>
            <a:off x="4736895" y="2182122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2267C6B4-BC75-4DCD-8D83-47771A821C0A}"/>
              </a:ext>
            </a:extLst>
          </p:cNvPr>
          <p:cNvSpPr txBox="1"/>
          <p:nvPr/>
        </p:nvSpPr>
        <p:spPr bwMode="auto">
          <a:xfrm>
            <a:off x="4752346" y="2211924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37" name="TextBox 336">
            <a:extLst>
              <a:ext uri="{FF2B5EF4-FFF2-40B4-BE49-F238E27FC236}">
                <a16:creationId xmlns:a16="http://schemas.microsoft.com/office/drawing/2014/main" id="{1F0264EE-6B89-42E5-A291-F9E0A3E6AB26}"/>
              </a:ext>
            </a:extLst>
          </p:cNvPr>
          <p:cNvSpPr txBox="1"/>
          <p:nvPr/>
        </p:nvSpPr>
        <p:spPr bwMode="auto">
          <a:xfrm>
            <a:off x="4756268" y="2231070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CB445DF0-D350-4C76-80EA-CE9E217AAD94}"/>
              </a:ext>
            </a:extLst>
          </p:cNvPr>
          <p:cNvSpPr txBox="1"/>
          <p:nvPr/>
        </p:nvSpPr>
        <p:spPr bwMode="auto">
          <a:xfrm>
            <a:off x="4782835" y="225540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41" name="TextBox 340">
            <a:extLst>
              <a:ext uri="{FF2B5EF4-FFF2-40B4-BE49-F238E27FC236}">
                <a16:creationId xmlns:a16="http://schemas.microsoft.com/office/drawing/2014/main" id="{3A25B4FC-F73B-4859-A5D4-D12EEE02C020}"/>
              </a:ext>
            </a:extLst>
          </p:cNvPr>
          <p:cNvSpPr txBox="1"/>
          <p:nvPr/>
        </p:nvSpPr>
        <p:spPr bwMode="auto">
          <a:xfrm>
            <a:off x="5152253" y="2310058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43" name="TextBox 342">
            <a:extLst>
              <a:ext uri="{FF2B5EF4-FFF2-40B4-BE49-F238E27FC236}">
                <a16:creationId xmlns:a16="http://schemas.microsoft.com/office/drawing/2014/main" id="{3D80940F-7CEE-447D-829A-49196D0D7BCD}"/>
              </a:ext>
            </a:extLst>
          </p:cNvPr>
          <p:cNvSpPr txBox="1"/>
          <p:nvPr/>
        </p:nvSpPr>
        <p:spPr bwMode="auto">
          <a:xfrm>
            <a:off x="5186146" y="2311405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45" name="TextBox 344">
            <a:extLst>
              <a:ext uri="{FF2B5EF4-FFF2-40B4-BE49-F238E27FC236}">
                <a16:creationId xmlns:a16="http://schemas.microsoft.com/office/drawing/2014/main" id="{AD00BED2-38C0-4401-BCF1-72800211C6CB}"/>
              </a:ext>
            </a:extLst>
          </p:cNvPr>
          <p:cNvSpPr txBox="1"/>
          <p:nvPr/>
        </p:nvSpPr>
        <p:spPr bwMode="auto">
          <a:xfrm>
            <a:off x="5221231" y="2316490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47" name="TextBox 346">
            <a:extLst>
              <a:ext uri="{FF2B5EF4-FFF2-40B4-BE49-F238E27FC236}">
                <a16:creationId xmlns:a16="http://schemas.microsoft.com/office/drawing/2014/main" id="{8E30AF58-955D-4ED8-AE4F-C25401041D34}"/>
              </a:ext>
            </a:extLst>
          </p:cNvPr>
          <p:cNvSpPr txBox="1"/>
          <p:nvPr/>
        </p:nvSpPr>
        <p:spPr bwMode="auto">
          <a:xfrm>
            <a:off x="5244574" y="2362714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704AFFB7-E84F-4332-A835-1E09DA2DCC78}"/>
              </a:ext>
            </a:extLst>
          </p:cNvPr>
          <p:cNvSpPr txBox="1"/>
          <p:nvPr/>
        </p:nvSpPr>
        <p:spPr bwMode="auto">
          <a:xfrm>
            <a:off x="5256380" y="238494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51" name="TextBox 350">
            <a:extLst>
              <a:ext uri="{FF2B5EF4-FFF2-40B4-BE49-F238E27FC236}">
                <a16:creationId xmlns:a16="http://schemas.microsoft.com/office/drawing/2014/main" id="{3C20401A-DF3E-4049-8D2A-A99CB5ABA6DE}"/>
              </a:ext>
            </a:extLst>
          </p:cNvPr>
          <p:cNvSpPr txBox="1"/>
          <p:nvPr/>
        </p:nvSpPr>
        <p:spPr bwMode="auto">
          <a:xfrm>
            <a:off x="5252062" y="2399644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53" name="TextBox 352">
            <a:extLst>
              <a:ext uri="{FF2B5EF4-FFF2-40B4-BE49-F238E27FC236}">
                <a16:creationId xmlns:a16="http://schemas.microsoft.com/office/drawing/2014/main" id="{841C3080-BF02-4A5F-8A9F-26D4E3223821}"/>
              </a:ext>
            </a:extLst>
          </p:cNvPr>
          <p:cNvSpPr txBox="1"/>
          <p:nvPr/>
        </p:nvSpPr>
        <p:spPr bwMode="auto">
          <a:xfrm>
            <a:off x="5259649" y="2435838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55" name="TextBox 354">
            <a:extLst>
              <a:ext uri="{FF2B5EF4-FFF2-40B4-BE49-F238E27FC236}">
                <a16:creationId xmlns:a16="http://schemas.microsoft.com/office/drawing/2014/main" id="{6DD5306B-BE25-4C18-9494-0945E3E784A5}"/>
              </a:ext>
            </a:extLst>
          </p:cNvPr>
          <p:cNvSpPr txBox="1"/>
          <p:nvPr/>
        </p:nvSpPr>
        <p:spPr bwMode="auto">
          <a:xfrm>
            <a:off x="5271850" y="248933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0E9F4376-0B2A-451A-8D1F-CAB0B007371E}"/>
              </a:ext>
            </a:extLst>
          </p:cNvPr>
          <p:cNvSpPr txBox="1"/>
          <p:nvPr/>
        </p:nvSpPr>
        <p:spPr bwMode="auto">
          <a:xfrm>
            <a:off x="5291076" y="2542595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59" name="TextBox 358">
            <a:extLst>
              <a:ext uri="{FF2B5EF4-FFF2-40B4-BE49-F238E27FC236}">
                <a16:creationId xmlns:a16="http://schemas.microsoft.com/office/drawing/2014/main" id="{D9E9AC6E-5486-4D02-8138-94B5EAB6EFE6}"/>
              </a:ext>
            </a:extLst>
          </p:cNvPr>
          <p:cNvSpPr txBox="1"/>
          <p:nvPr/>
        </p:nvSpPr>
        <p:spPr bwMode="auto">
          <a:xfrm>
            <a:off x="5304277" y="2557072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61" name="TextBox 360">
            <a:extLst>
              <a:ext uri="{FF2B5EF4-FFF2-40B4-BE49-F238E27FC236}">
                <a16:creationId xmlns:a16="http://schemas.microsoft.com/office/drawing/2014/main" id="{01EC8FFE-C94B-462C-B653-424900EFE0C5}"/>
              </a:ext>
            </a:extLst>
          </p:cNvPr>
          <p:cNvSpPr txBox="1"/>
          <p:nvPr/>
        </p:nvSpPr>
        <p:spPr bwMode="auto">
          <a:xfrm>
            <a:off x="5343464" y="2596268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63" name="TextBox 362">
            <a:extLst>
              <a:ext uri="{FF2B5EF4-FFF2-40B4-BE49-F238E27FC236}">
                <a16:creationId xmlns:a16="http://schemas.microsoft.com/office/drawing/2014/main" id="{10ACAD73-DCA4-4421-93D2-7D16B206865C}"/>
              </a:ext>
            </a:extLst>
          </p:cNvPr>
          <p:cNvSpPr txBox="1"/>
          <p:nvPr/>
        </p:nvSpPr>
        <p:spPr bwMode="auto">
          <a:xfrm>
            <a:off x="5363034" y="260868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65" name="TextBox 364">
            <a:extLst>
              <a:ext uri="{FF2B5EF4-FFF2-40B4-BE49-F238E27FC236}">
                <a16:creationId xmlns:a16="http://schemas.microsoft.com/office/drawing/2014/main" id="{19A8EE02-3C41-4822-BDAD-630BC63A1B93}"/>
              </a:ext>
            </a:extLst>
          </p:cNvPr>
          <p:cNvSpPr txBox="1"/>
          <p:nvPr/>
        </p:nvSpPr>
        <p:spPr bwMode="auto">
          <a:xfrm>
            <a:off x="5752556" y="2642992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67" name="TextBox 366">
            <a:extLst>
              <a:ext uri="{FF2B5EF4-FFF2-40B4-BE49-F238E27FC236}">
                <a16:creationId xmlns:a16="http://schemas.microsoft.com/office/drawing/2014/main" id="{71A1A47E-0DC5-463F-A207-9CFA7A4B5121}"/>
              </a:ext>
            </a:extLst>
          </p:cNvPr>
          <p:cNvSpPr txBox="1"/>
          <p:nvPr/>
        </p:nvSpPr>
        <p:spPr bwMode="auto">
          <a:xfrm>
            <a:off x="5784216" y="264476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69" name="TextBox 368">
            <a:extLst>
              <a:ext uri="{FF2B5EF4-FFF2-40B4-BE49-F238E27FC236}">
                <a16:creationId xmlns:a16="http://schemas.microsoft.com/office/drawing/2014/main" id="{90008F3E-10B8-4111-A0AC-C78238234C0C}"/>
              </a:ext>
            </a:extLst>
          </p:cNvPr>
          <p:cNvSpPr txBox="1"/>
          <p:nvPr/>
        </p:nvSpPr>
        <p:spPr bwMode="auto">
          <a:xfrm>
            <a:off x="5786711" y="2696474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71" name="TextBox 370">
            <a:extLst>
              <a:ext uri="{FF2B5EF4-FFF2-40B4-BE49-F238E27FC236}">
                <a16:creationId xmlns:a16="http://schemas.microsoft.com/office/drawing/2014/main" id="{A59F84D9-0ACB-4E36-BE83-57AD2D4B7A8B}"/>
              </a:ext>
            </a:extLst>
          </p:cNvPr>
          <p:cNvSpPr txBox="1"/>
          <p:nvPr/>
        </p:nvSpPr>
        <p:spPr bwMode="auto">
          <a:xfrm>
            <a:off x="5805755" y="272613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73" name="TextBox 372">
            <a:extLst>
              <a:ext uri="{FF2B5EF4-FFF2-40B4-BE49-F238E27FC236}">
                <a16:creationId xmlns:a16="http://schemas.microsoft.com/office/drawing/2014/main" id="{9F39DFDF-DE4A-4DE9-B22F-D9F61C1C9406}"/>
              </a:ext>
            </a:extLst>
          </p:cNvPr>
          <p:cNvSpPr txBox="1"/>
          <p:nvPr/>
        </p:nvSpPr>
        <p:spPr bwMode="auto">
          <a:xfrm>
            <a:off x="5901105" y="2810408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75" name="TextBox 374">
            <a:extLst>
              <a:ext uri="{FF2B5EF4-FFF2-40B4-BE49-F238E27FC236}">
                <a16:creationId xmlns:a16="http://schemas.microsoft.com/office/drawing/2014/main" id="{3A82B01A-3352-4A77-ADFD-591C1752D770}"/>
              </a:ext>
            </a:extLst>
          </p:cNvPr>
          <p:cNvSpPr txBox="1"/>
          <p:nvPr/>
        </p:nvSpPr>
        <p:spPr bwMode="auto">
          <a:xfrm>
            <a:off x="5813369" y="274903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77" name="TextBox 376">
            <a:extLst>
              <a:ext uri="{FF2B5EF4-FFF2-40B4-BE49-F238E27FC236}">
                <a16:creationId xmlns:a16="http://schemas.microsoft.com/office/drawing/2014/main" id="{BA6118C2-270F-4913-9882-3CBDCFE18902}"/>
              </a:ext>
            </a:extLst>
          </p:cNvPr>
          <p:cNvSpPr txBox="1"/>
          <p:nvPr/>
        </p:nvSpPr>
        <p:spPr bwMode="auto">
          <a:xfrm>
            <a:off x="5847940" y="278658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79" name="TextBox 378">
            <a:extLst>
              <a:ext uri="{FF2B5EF4-FFF2-40B4-BE49-F238E27FC236}">
                <a16:creationId xmlns:a16="http://schemas.microsoft.com/office/drawing/2014/main" id="{D9662CDC-F59C-478F-AEAE-A6C3CF842D02}"/>
              </a:ext>
            </a:extLst>
          </p:cNvPr>
          <p:cNvSpPr txBox="1"/>
          <p:nvPr/>
        </p:nvSpPr>
        <p:spPr bwMode="auto">
          <a:xfrm>
            <a:off x="5863902" y="2806878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4EFA96A9-0707-4B06-AEB5-11F9EAC69D22}"/>
              </a:ext>
            </a:extLst>
          </p:cNvPr>
          <p:cNvSpPr txBox="1"/>
          <p:nvPr/>
        </p:nvSpPr>
        <p:spPr bwMode="auto">
          <a:xfrm>
            <a:off x="5885919" y="280603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83" name="TextBox 382">
            <a:extLst>
              <a:ext uri="{FF2B5EF4-FFF2-40B4-BE49-F238E27FC236}">
                <a16:creationId xmlns:a16="http://schemas.microsoft.com/office/drawing/2014/main" id="{25E3C3B4-C576-4B53-AD24-7402C6EECC5A}"/>
              </a:ext>
            </a:extLst>
          </p:cNvPr>
          <p:cNvSpPr txBox="1"/>
          <p:nvPr/>
        </p:nvSpPr>
        <p:spPr bwMode="auto">
          <a:xfrm>
            <a:off x="5977633" y="282014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3F80F2C5-EA79-4233-B592-92A67EC8D498}"/>
              </a:ext>
            </a:extLst>
          </p:cNvPr>
          <p:cNvSpPr txBox="1"/>
          <p:nvPr/>
        </p:nvSpPr>
        <p:spPr bwMode="auto">
          <a:xfrm>
            <a:off x="6015567" y="282789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175A3ED6-0DD9-4E8C-B4FC-4FB0B4570589}"/>
              </a:ext>
            </a:extLst>
          </p:cNvPr>
          <p:cNvSpPr txBox="1"/>
          <p:nvPr/>
        </p:nvSpPr>
        <p:spPr bwMode="auto">
          <a:xfrm>
            <a:off x="6122151" y="2832205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B8AEE588-2022-4B9E-96CD-0C3511D83CD7}"/>
              </a:ext>
            </a:extLst>
          </p:cNvPr>
          <p:cNvSpPr txBox="1"/>
          <p:nvPr/>
        </p:nvSpPr>
        <p:spPr bwMode="auto">
          <a:xfrm>
            <a:off x="6166860" y="2835555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AB415DB2-96EA-4FB1-A145-B1DE12E1DBCE}"/>
              </a:ext>
            </a:extLst>
          </p:cNvPr>
          <p:cNvSpPr txBox="1"/>
          <p:nvPr/>
        </p:nvSpPr>
        <p:spPr bwMode="auto">
          <a:xfrm>
            <a:off x="6266195" y="282789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93" name="TextBox 392">
            <a:extLst>
              <a:ext uri="{FF2B5EF4-FFF2-40B4-BE49-F238E27FC236}">
                <a16:creationId xmlns:a16="http://schemas.microsoft.com/office/drawing/2014/main" id="{3348F11A-95BE-41F3-A196-DB3A353B557A}"/>
              </a:ext>
            </a:extLst>
          </p:cNvPr>
          <p:cNvSpPr txBox="1"/>
          <p:nvPr/>
        </p:nvSpPr>
        <p:spPr bwMode="auto">
          <a:xfrm>
            <a:off x="6314242" y="283892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95" name="TextBox 394">
            <a:extLst>
              <a:ext uri="{FF2B5EF4-FFF2-40B4-BE49-F238E27FC236}">
                <a16:creationId xmlns:a16="http://schemas.microsoft.com/office/drawing/2014/main" id="{79132DEF-130C-46D1-B53A-BC73C02CB624}"/>
              </a:ext>
            </a:extLst>
          </p:cNvPr>
          <p:cNvSpPr txBox="1"/>
          <p:nvPr/>
        </p:nvSpPr>
        <p:spPr bwMode="auto">
          <a:xfrm>
            <a:off x="6364458" y="2874562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97" name="TextBox 396">
            <a:extLst>
              <a:ext uri="{FF2B5EF4-FFF2-40B4-BE49-F238E27FC236}">
                <a16:creationId xmlns:a16="http://schemas.microsoft.com/office/drawing/2014/main" id="{61ACC769-64E4-48ED-BDE7-E54DBAE3BC2D}"/>
              </a:ext>
            </a:extLst>
          </p:cNvPr>
          <p:cNvSpPr txBox="1"/>
          <p:nvPr/>
        </p:nvSpPr>
        <p:spPr bwMode="auto">
          <a:xfrm>
            <a:off x="6339252" y="283909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99" name="TextBox 398">
            <a:extLst>
              <a:ext uri="{FF2B5EF4-FFF2-40B4-BE49-F238E27FC236}">
                <a16:creationId xmlns:a16="http://schemas.microsoft.com/office/drawing/2014/main" id="{BF8C608A-DB38-46B5-8044-C8FFC34EA1FA}"/>
              </a:ext>
            </a:extLst>
          </p:cNvPr>
          <p:cNvSpPr txBox="1"/>
          <p:nvPr/>
        </p:nvSpPr>
        <p:spPr bwMode="auto">
          <a:xfrm>
            <a:off x="6367084" y="291011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01" name="TextBox 400">
            <a:extLst>
              <a:ext uri="{FF2B5EF4-FFF2-40B4-BE49-F238E27FC236}">
                <a16:creationId xmlns:a16="http://schemas.microsoft.com/office/drawing/2014/main" id="{EBEDC653-F1A9-4002-AC1B-8DE4A842B94E}"/>
              </a:ext>
            </a:extLst>
          </p:cNvPr>
          <p:cNvSpPr txBox="1"/>
          <p:nvPr/>
        </p:nvSpPr>
        <p:spPr bwMode="auto">
          <a:xfrm>
            <a:off x="6367084" y="2945670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03" name="TextBox 402">
            <a:extLst>
              <a:ext uri="{FF2B5EF4-FFF2-40B4-BE49-F238E27FC236}">
                <a16:creationId xmlns:a16="http://schemas.microsoft.com/office/drawing/2014/main" id="{D01C8B1F-303A-49A5-A0D8-59578380BDA7}"/>
              </a:ext>
            </a:extLst>
          </p:cNvPr>
          <p:cNvSpPr txBox="1"/>
          <p:nvPr/>
        </p:nvSpPr>
        <p:spPr bwMode="auto">
          <a:xfrm>
            <a:off x="6394781" y="2976890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05" name="TextBox 404">
            <a:extLst>
              <a:ext uri="{FF2B5EF4-FFF2-40B4-BE49-F238E27FC236}">
                <a16:creationId xmlns:a16="http://schemas.microsoft.com/office/drawing/2014/main" id="{1D56D50D-751D-497B-86CD-7B28BA6F2471}"/>
              </a:ext>
            </a:extLst>
          </p:cNvPr>
          <p:cNvSpPr txBox="1"/>
          <p:nvPr/>
        </p:nvSpPr>
        <p:spPr bwMode="auto">
          <a:xfrm>
            <a:off x="6417602" y="2969625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07" name="TextBox 406">
            <a:extLst>
              <a:ext uri="{FF2B5EF4-FFF2-40B4-BE49-F238E27FC236}">
                <a16:creationId xmlns:a16="http://schemas.microsoft.com/office/drawing/2014/main" id="{5E060920-3D74-49BB-B118-DFF2969000E0}"/>
              </a:ext>
            </a:extLst>
          </p:cNvPr>
          <p:cNvSpPr txBox="1"/>
          <p:nvPr/>
        </p:nvSpPr>
        <p:spPr bwMode="auto">
          <a:xfrm>
            <a:off x="6570037" y="2976890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09" name="TextBox 408">
            <a:extLst>
              <a:ext uri="{FF2B5EF4-FFF2-40B4-BE49-F238E27FC236}">
                <a16:creationId xmlns:a16="http://schemas.microsoft.com/office/drawing/2014/main" id="{B643361B-0665-4B2B-9261-2A604098A62D}"/>
              </a:ext>
            </a:extLst>
          </p:cNvPr>
          <p:cNvSpPr txBox="1"/>
          <p:nvPr/>
        </p:nvSpPr>
        <p:spPr bwMode="auto">
          <a:xfrm>
            <a:off x="6452157" y="2973258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11" name="TextBox 410">
            <a:extLst>
              <a:ext uri="{FF2B5EF4-FFF2-40B4-BE49-F238E27FC236}">
                <a16:creationId xmlns:a16="http://schemas.microsoft.com/office/drawing/2014/main" id="{13FCFE42-EF1E-43DF-8BC6-138DDA67806C}"/>
              </a:ext>
            </a:extLst>
          </p:cNvPr>
          <p:cNvSpPr txBox="1"/>
          <p:nvPr/>
        </p:nvSpPr>
        <p:spPr bwMode="auto">
          <a:xfrm>
            <a:off x="6471242" y="2973258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13" name="TextBox 412">
            <a:extLst>
              <a:ext uri="{FF2B5EF4-FFF2-40B4-BE49-F238E27FC236}">
                <a16:creationId xmlns:a16="http://schemas.microsoft.com/office/drawing/2014/main" id="{BDFD4946-1A0E-4C10-9EF2-DDC44A03D8D3}"/>
              </a:ext>
            </a:extLst>
          </p:cNvPr>
          <p:cNvSpPr txBox="1"/>
          <p:nvPr/>
        </p:nvSpPr>
        <p:spPr bwMode="auto">
          <a:xfrm>
            <a:off x="6494095" y="2973258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15" name="TextBox 414">
            <a:extLst>
              <a:ext uri="{FF2B5EF4-FFF2-40B4-BE49-F238E27FC236}">
                <a16:creationId xmlns:a16="http://schemas.microsoft.com/office/drawing/2014/main" id="{0D9DB9D0-BA34-4AEB-B040-D4D61943FECB}"/>
              </a:ext>
            </a:extLst>
          </p:cNvPr>
          <p:cNvSpPr txBox="1"/>
          <p:nvPr/>
        </p:nvSpPr>
        <p:spPr bwMode="auto">
          <a:xfrm>
            <a:off x="6829549" y="3054509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17" name="TextBox 416">
            <a:extLst>
              <a:ext uri="{FF2B5EF4-FFF2-40B4-BE49-F238E27FC236}">
                <a16:creationId xmlns:a16="http://schemas.microsoft.com/office/drawing/2014/main" id="{00F7ED81-076C-4152-BEED-27171C7790EB}"/>
              </a:ext>
            </a:extLst>
          </p:cNvPr>
          <p:cNvSpPr txBox="1"/>
          <p:nvPr/>
        </p:nvSpPr>
        <p:spPr bwMode="auto">
          <a:xfrm>
            <a:off x="6861905" y="3057290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19" name="TextBox 418">
            <a:extLst>
              <a:ext uri="{FF2B5EF4-FFF2-40B4-BE49-F238E27FC236}">
                <a16:creationId xmlns:a16="http://schemas.microsoft.com/office/drawing/2014/main" id="{290C9E7F-9EB4-4591-B0C3-613592D3DFEC}"/>
              </a:ext>
            </a:extLst>
          </p:cNvPr>
          <p:cNvSpPr txBox="1"/>
          <p:nvPr/>
        </p:nvSpPr>
        <p:spPr bwMode="auto">
          <a:xfrm>
            <a:off x="6891477" y="3057290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21" name="TextBox 420">
            <a:extLst>
              <a:ext uri="{FF2B5EF4-FFF2-40B4-BE49-F238E27FC236}">
                <a16:creationId xmlns:a16="http://schemas.microsoft.com/office/drawing/2014/main" id="{5E2FC1CE-CDC7-4BD1-90BD-5F4EDFF98D39}"/>
              </a:ext>
            </a:extLst>
          </p:cNvPr>
          <p:cNvSpPr txBox="1"/>
          <p:nvPr/>
        </p:nvSpPr>
        <p:spPr bwMode="auto">
          <a:xfrm>
            <a:off x="7323259" y="312591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23" name="TextBox 422">
            <a:extLst>
              <a:ext uri="{FF2B5EF4-FFF2-40B4-BE49-F238E27FC236}">
                <a16:creationId xmlns:a16="http://schemas.microsoft.com/office/drawing/2014/main" id="{7DE68A43-2EE0-42B8-B5F7-5D7BE8928ADD}"/>
              </a:ext>
            </a:extLst>
          </p:cNvPr>
          <p:cNvSpPr txBox="1"/>
          <p:nvPr/>
        </p:nvSpPr>
        <p:spPr bwMode="auto">
          <a:xfrm>
            <a:off x="7447140" y="3400203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25" name="TextBox 424">
            <a:extLst>
              <a:ext uri="{FF2B5EF4-FFF2-40B4-BE49-F238E27FC236}">
                <a16:creationId xmlns:a16="http://schemas.microsoft.com/office/drawing/2014/main" id="{575C0A31-39A1-444C-A6F5-061BC31FD0E1}"/>
              </a:ext>
            </a:extLst>
          </p:cNvPr>
          <p:cNvSpPr txBox="1"/>
          <p:nvPr/>
        </p:nvSpPr>
        <p:spPr bwMode="auto">
          <a:xfrm>
            <a:off x="7521848" y="3984265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27" name="TextBox 426">
            <a:extLst>
              <a:ext uri="{FF2B5EF4-FFF2-40B4-BE49-F238E27FC236}">
                <a16:creationId xmlns:a16="http://schemas.microsoft.com/office/drawing/2014/main" id="{5A1ABC1D-A5DD-4150-A74B-93929CC25AC4}"/>
              </a:ext>
            </a:extLst>
          </p:cNvPr>
          <p:cNvSpPr txBox="1"/>
          <p:nvPr/>
        </p:nvSpPr>
        <p:spPr bwMode="auto">
          <a:xfrm>
            <a:off x="7542140" y="398495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29" name="TextBox 428">
            <a:extLst>
              <a:ext uri="{FF2B5EF4-FFF2-40B4-BE49-F238E27FC236}">
                <a16:creationId xmlns:a16="http://schemas.microsoft.com/office/drawing/2014/main" id="{FC96D73F-D224-4397-86B5-6503A2ADE878}"/>
              </a:ext>
            </a:extLst>
          </p:cNvPr>
          <p:cNvSpPr txBox="1"/>
          <p:nvPr/>
        </p:nvSpPr>
        <p:spPr bwMode="auto">
          <a:xfrm>
            <a:off x="6917318" y="311442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31" name="TextBox 430">
            <a:extLst>
              <a:ext uri="{FF2B5EF4-FFF2-40B4-BE49-F238E27FC236}">
                <a16:creationId xmlns:a16="http://schemas.microsoft.com/office/drawing/2014/main" id="{23F1915E-B97D-4821-A1BD-CAAD922BF352}"/>
              </a:ext>
            </a:extLst>
          </p:cNvPr>
          <p:cNvSpPr txBox="1"/>
          <p:nvPr/>
        </p:nvSpPr>
        <p:spPr bwMode="auto">
          <a:xfrm>
            <a:off x="7035799" y="3125831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33" name="TextBox 432">
            <a:extLst>
              <a:ext uri="{FF2B5EF4-FFF2-40B4-BE49-F238E27FC236}">
                <a16:creationId xmlns:a16="http://schemas.microsoft.com/office/drawing/2014/main" id="{B6F3D7CA-B6E4-4FC5-BA77-17F4D69B4012}"/>
              </a:ext>
            </a:extLst>
          </p:cNvPr>
          <p:cNvSpPr txBox="1"/>
          <p:nvPr/>
        </p:nvSpPr>
        <p:spPr bwMode="auto">
          <a:xfrm>
            <a:off x="6935880" y="311795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35" name="TextBox 434">
            <a:extLst>
              <a:ext uri="{FF2B5EF4-FFF2-40B4-BE49-F238E27FC236}">
                <a16:creationId xmlns:a16="http://schemas.microsoft.com/office/drawing/2014/main" id="{10D73C1E-E458-4050-B154-E32592805524}"/>
              </a:ext>
            </a:extLst>
          </p:cNvPr>
          <p:cNvSpPr txBox="1"/>
          <p:nvPr/>
        </p:nvSpPr>
        <p:spPr bwMode="auto">
          <a:xfrm>
            <a:off x="6951761" y="3122183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37" name="TextBox 436">
            <a:extLst>
              <a:ext uri="{FF2B5EF4-FFF2-40B4-BE49-F238E27FC236}">
                <a16:creationId xmlns:a16="http://schemas.microsoft.com/office/drawing/2014/main" id="{F033E017-D4E7-4C11-95F1-699267938F91}"/>
              </a:ext>
            </a:extLst>
          </p:cNvPr>
          <p:cNvSpPr txBox="1"/>
          <p:nvPr/>
        </p:nvSpPr>
        <p:spPr bwMode="auto">
          <a:xfrm>
            <a:off x="6990253" y="3121624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39" name="TextBox 438">
            <a:extLst>
              <a:ext uri="{FF2B5EF4-FFF2-40B4-BE49-F238E27FC236}">
                <a16:creationId xmlns:a16="http://schemas.microsoft.com/office/drawing/2014/main" id="{245B0EDD-6223-4ABB-935C-FBC5CF460DCD}"/>
              </a:ext>
            </a:extLst>
          </p:cNvPr>
          <p:cNvSpPr txBox="1"/>
          <p:nvPr/>
        </p:nvSpPr>
        <p:spPr bwMode="auto">
          <a:xfrm>
            <a:off x="7394451" y="3117957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41" name="TextBox 440">
            <a:extLst>
              <a:ext uri="{FF2B5EF4-FFF2-40B4-BE49-F238E27FC236}">
                <a16:creationId xmlns:a16="http://schemas.microsoft.com/office/drawing/2014/main" id="{8D51F2B5-70DF-440D-8B9A-4DADD19D77DB}"/>
              </a:ext>
            </a:extLst>
          </p:cNvPr>
          <p:cNvSpPr txBox="1"/>
          <p:nvPr/>
        </p:nvSpPr>
        <p:spPr bwMode="auto">
          <a:xfrm>
            <a:off x="7413280" y="3121136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443" name="TextBox 442">
            <a:extLst>
              <a:ext uri="{FF2B5EF4-FFF2-40B4-BE49-F238E27FC236}">
                <a16:creationId xmlns:a16="http://schemas.microsoft.com/office/drawing/2014/main" id="{6F5AA58C-EE52-4D19-9AEF-C3BE8634A47D}"/>
              </a:ext>
            </a:extLst>
          </p:cNvPr>
          <p:cNvSpPr txBox="1"/>
          <p:nvPr/>
        </p:nvSpPr>
        <p:spPr bwMode="auto">
          <a:xfrm>
            <a:off x="7432376" y="3124802"/>
            <a:ext cx="1604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+</a:t>
            </a:r>
          </a:p>
        </p:txBody>
      </p:sp>
      <p:sp>
        <p:nvSpPr>
          <p:cNvPr id="3" name="Title 10">
            <a:extLst>
              <a:ext uri="{FF2B5EF4-FFF2-40B4-BE49-F238E27FC236}">
                <a16:creationId xmlns:a16="http://schemas.microsoft.com/office/drawing/2014/main" id="{47B9AD01-53D2-453E-9161-9BE51F276E3F}"/>
              </a:ext>
            </a:extLst>
          </p:cNvPr>
          <p:cNvSpPr txBox="1">
            <a:spLocks/>
          </p:cNvSpPr>
          <p:nvPr/>
        </p:nvSpPr>
        <p:spPr bwMode="auto">
          <a:xfrm>
            <a:off x="0" y="-17672"/>
            <a:ext cx="12192000" cy="1279921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>
              <a:defRPr/>
            </a:pPr>
            <a:r>
              <a:rPr lang="en-US" sz="3200" dirty="0">
                <a:solidFill>
                  <a:schemeClr val="bg1"/>
                </a:solidFill>
              </a:rPr>
              <a:t>ARCHES: </a:t>
            </a:r>
            <a:r>
              <a:rPr lang="en-US" sz="3200" dirty="0" err="1">
                <a:solidFill>
                  <a:schemeClr val="bg1"/>
                </a:solidFill>
              </a:rPr>
              <a:t>rPFS</a:t>
            </a:r>
            <a:r>
              <a:rPr lang="en-US" sz="3200" dirty="0">
                <a:solidFill>
                  <a:schemeClr val="bg1"/>
                </a:solidFill>
              </a:rPr>
              <a:t>, Primary Outcome</a:t>
            </a:r>
          </a:p>
        </p:txBody>
      </p:sp>
      <p:sp>
        <p:nvSpPr>
          <p:cNvPr id="242" name="Title 10">
            <a:extLst>
              <a:ext uri="{FF2B5EF4-FFF2-40B4-BE49-F238E27FC236}">
                <a16:creationId xmlns:a16="http://schemas.microsoft.com/office/drawing/2014/main" id="{0CBD81CC-3F7D-4F70-B3A8-99A63545DC31}"/>
              </a:ext>
            </a:extLst>
          </p:cNvPr>
          <p:cNvSpPr txBox="1">
            <a:spLocks/>
          </p:cNvSpPr>
          <p:nvPr/>
        </p:nvSpPr>
        <p:spPr bwMode="auto">
          <a:xfrm>
            <a:off x="0" y="-32608"/>
            <a:ext cx="12192000" cy="1279921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>
              <a:defRPr/>
            </a:pPr>
            <a:r>
              <a:rPr lang="en-US" sz="3200" dirty="0">
                <a:solidFill>
                  <a:schemeClr val="bg1"/>
                </a:solidFill>
              </a:rPr>
              <a:t>ARCHES: </a:t>
            </a:r>
            <a:r>
              <a:rPr lang="en-US" sz="3200" dirty="0" err="1">
                <a:solidFill>
                  <a:schemeClr val="bg1"/>
                </a:solidFill>
              </a:rPr>
              <a:t>rPFS</a:t>
            </a:r>
            <a:r>
              <a:rPr lang="en-US" sz="3200" dirty="0">
                <a:solidFill>
                  <a:schemeClr val="bg1"/>
                </a:solidFill>
              </a:rPr>
              <a:t>, Primary Outcome</a:t>
            </a:r>
          </a:p>
        </p:txBody>
      </p:sp>
    </p:spTree>
    <p:extLst>
      <p:ext uri="{BB962C8B-B14F-4D97-AF65-F5344CB8AC3E}">
        <p14:creationId xmlns:p14="http://schemas.microsoft.com/office/powerpoint/2010/main" val="6975852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Unvan 1">
            <a:extLst>
              <a:ext uri="{FF2B5EF4-FFF2-40B4-BE49-F238E27FC236}">
                <a16:creationId xmlns:a16="http://schemas.microsoft.com/office/drawing/2014/main" id="{B3325570-4C0A-4235-B3BF-51B3146A6B6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err="1"/>
              <a:t>Neler</a:t>
            </a:r>
            <a:r>
              <a:rPr lang="en-US" altLang="en-US" dirty="0"/>
              <a:t> </a:t>
            </a:r>
            <a:r>
              <a:rPr lang="en-US" altLang="en-US" dirty="0" err="1"/>
              <a:t>konuşalım</a:t>
            </a:r>
            <a:r>
              <a:rPr lang="en-US" altLang="en-US" dirty="0"/>
              <a:t>?</a:t>
            </a:r>
          </a:p>
        </p:txBody>
      </p:sp>
      <p:graphicFrame>
        <p:nvGraphicFramePr>
          <p:cNvPr id="8" name="İçerik Yer Tutucusu 7">
            <a:extLst>
              <a:ext uri="{FF2B5EF4-FFF2-40B4-BE49-F238E27FC236}">
                <a16:creationId xmlns:a16="http://schemas.microsoft.com/office/drawing/2014/main" id="{938B2B5E-597C-48F3-8125-A0CB8904B30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1788142"/>
              </p:ext>
            </p:extLst>
          </p:nvPr>
        </p:nvGraphicFramePr>
        <p:xfrm>
          <a:off x="2209800" y="1981200"/>
          <a:ext cx="7772400" cy="4114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Arrow: Right 4">
            <a:extLst>
              <a:ext uri="{FF2B5EF4-FFF2-40B4-BE49-F238E27FC236}">
                <a16:creationId xmlns:a16="http://schemas.microsoft.com/office/drawing/2014/main" id="{8F82F2EE-2141-4D18-8477-592179E1135D}"/>
              </a:ext>
            </a:extLst>
          </p:cNvPr>
          <p:cNvSpPr/>
          <p:nvPr/>
        </p:nvSpPr>
        <p:spPr>
          <a:xfrm>
            <a:off x="8813186" y="1408362"/>
            <a:ext cx="1620180" cy="1964758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en-GB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Özet</a:t>
            </a:r>
            <a:endParaRPr lang="en-GB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96906620-D118-4419-A1DB-6FBF0F909A0D}"/>
              </a:ext>
            </a:extLst>
          </p:cNvPr>
          <p:cNvSpPr/>
          <p:nvPr/>
        </p:nvSpPr>
        <p:spPr>
          <a:xfrm>
            <a:off x="8816554" y="4094355"/>
            <a:ext cx="1620180" cy="1964758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/>
          </a:bodyPr>
          <a:lstStyle/>
          <a:p>
            <a:pPr algn="ctr"/>
            <a:r>
              <a:rPr lang="en-GB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Soru</a:t>
            </a:r>
            <a:r>
              <a:rPr lang="en-GB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GB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Katkı</a:t>
            </a:r>
            <a:endParaRPr lang="en-GB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20" name="Text Box 11">
            <a:extLst>
              <a:ext uri="{FF2B5EF4-FFF2-40B4-BE49-F238E27FC236}">
                <a16:creationId xmlns:a16="http://schemas.microsoft.com/office/drawing/2014/main" id="{DBDDA247-7765-48E4-AB04-229BE46454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51" y="6379390"/>
            <a:ext cx="856456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F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Chi. NEJM. 2019;381:13. </a:t>
            </a:r>
            <a:endParaRPr kumimoji="0" lang="en-US" altLang="en-US" sz="1200" b="0" i="0" u="none" strike="noStrike" kern="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</a:endParaRPr>
          </a:p>
        </p:txBody>
      </p:sp>
      <p:sp>
        <p:nvSpPr>
          <p:cNvPr id="23555" name="Title 10">
            <a:extLst>
              <a:ext uri="{FF2B5EF4-FFF2-40B4-BE49-F238E27FC236}">
                <a16:creationId xmlns:a16="http://schemas.microsoft.com/office/drawing/2014/main" id="{D8D1E7D9-6F6E-4AE1-B0A1-C3C5EDF72F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1704" y="5523956"/>
            <a:ext cx="10869613" cy="1103313"/>
          </a:xfrm>
        </p:spPr>
        <p:txBody>
          <a:bodyPr/>
          <a:lstStyle/>
          <a:p>
            <a:br>
              <a:rPr lang="en-US" altLang="en-US" dirty="0"/>
            </a:br>
            <a:endParaRPr lang="en-US" altLang="en-US" dirty="0"/>
          </a:p>
        </p:txBody>
      </p:sp>
      <p:sp>
        <p:nvSpPr>
          <p:cNvPr id="23556" name="Rectangle 3">
            <a:extLst>
              <a:ext uri="{FF2B5EF4-FFF2-40B4-BE49-F238E27FC236}">
                <a16:creationId xmlns:a16="http://schemas.microsoft.com/office/drawing/2014/main" id="{94E243A6-78F8-4E2F-87D2-C9887EC2D0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8812" y="1516364"/>
            <a:ext cx="10874375" cy="4651375"/>
          </a:xfrm>
        </p:spPr>
        <p:txBody>
          <a:bodyPr/>
          <a:lstStyle/>
          <a:p>
            <a:pPr marL="0" indent="0">
              <a:spcBef>
                <a:spcPts val="400"/>
              </a:spcBef>
              <a:spcAft>
                <a:spcPts val="200"/>
              </a:spcAft>
              <a:buNone/>
            </a:pPr>
            <a:br>
              <a:rPr lang="en-US" altLang="en-US" sz="2200" dirty="0"/>
            </a:br>
            <a:endParaRPr lang="en-US" altLang="en-US" sz="2200" dirty="0"/>
          </a:p>
          <a:p>
            <a:pPr>
              <a:spcBef>
                <a:spcPts val="400"/>
              </a:spcBef>
              <a:spcAft>
                <a:spcPts val="200"/>
              </a:spcAft>
            </a:pPr>
            <a:endParaRPr lang="en-US" altLang="en-US" sz="2200" dirty="0"/>
          </a:p>
          <a:p>
            <a:pPr>
              <a:spcBef>
                <a:spcPts val="400"/>
              </a:spcBef>
              <a:spcAft>
                <a:spcPts val="200"/>
              </a:spcAft>
            </a:pPr>
            <a:endParaRPr lang="en-US" altLang="en-US" sz="2200" dirty="0"/>
          </a:p>
          <a:p>
            <a:pPr>
              <a:spcBef>
                <a:spcPts val="400"/>
              </a:spcBef>
              <a:spcAft>
                <a:spcPts val="200"/>
              </a:spcAft>
            </a:pPr>
            <a:endParaRPr lang="en-US" altLang="en-US" sz="2200" dirty="0"/>
          </a:p>
          <a:p>
            <a:pPr>
              <a:spcBef>
                <a:spcPts val="400"/>
              </a:spcBef>
              <a:spcAft>
                <a:spcPts val="200"/>
              </a:spcAft>
            </a:pPr>
            <a:endParaRPr lang="en-US" altLang="en-US" sz="2200" dirty="0"/>
          </a:p>
          <a:p>
            <a:pPr>
              <a:spcBef>
                <a:spcPts val="400"/>
              </a:spcBef>
              <a:spcAft>
                <a:spcPts val="200"/>
              </a:spcAft>
            </a:pPr>
            <a:endParaRPr lang="en-US" altLang="en-US" sz="2200" dirty="0"/>
          </a:p>
          <a:p>
            <a:pPr>
              <a:spcBef>
                <a:spcPts val="400"/>
              </a:spcBef>
              <a:spcAft>
                <a:spcPts val="200"/>
              </a:spcAft>
            </a:pPr>
            <a:endParaRPr lang="en-US" altLang="en-US" sz="2200" dirty="0"/>
          </a:p>
          <a:p>
            <a:pPr>
              <a:spcBef>
                <a:spcPts val="400"/>
              </a:spcBef>
              <a:spcAft>
                <a:spcPts val="200"/>
              </a:spcAft>
            </a:pPr>
            <a:r>
              <a:rPr lang="en-US" altLang="en-US" sz="1800" dirty="0"/>
              <a:t>Primary endpoints: OS, radiographic PFS</a:t>
            </a:r>
          </a:p>
          <a:p>
            <a:pPr>
              <a:spcBef>
                <a:spcPts val="400"/>
              </a:spcBef>
              <a:spcAft>
                <a:spcPts val="200"/>
              </a:spcAft>
            </a:pPr>
            <a:r>
              <a:rPr lang="en-US" altLang="en-US" sz="1800" dirty="0"/>
              <a:t>Secondary endpoints: time to pain progression, time to SRE, time to chronic opioid use, time to cytotoxic chemotherapy</a:t>
            </a:r>
          </a:p>
          <a:p>
            <a:pPr>
              <a:spcBef>
                <a:spcPts val="400"/>
              </a:spcBef>
              <a:spcAft>
                <a:spcPts val="200"/>
              </a:spcAft>
            </a:pPr>
            <a:r>
              <a:rPr lang="en-US" altLang="en-US" sz="1800" dirty="0"/>
              <a:t>Exploratory endpoints including: time to PSA progression, PFS2</a:t>
            </a:r>
          </a:p>
        </p:txBody>
      </p:sp>
      <p:sp>
        <p:nvSpPr>
          <p:cNvPr id="64514" name="Text Box 45">
            <a:extLst>
              <a:ext uri="{FF2B5EF4-FFF2-40B4-BE49-F238E27FC236}">
                <a16:creationId xmlns:a16="http://schemas.microsoft.com/office/drawing/2014/main" id="{0B410525-86C2-4B5F-A575-D1F2049E24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266" y="2746580"/>
            <a:ext cx="3464801" cy="132343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Patients with metastatic castration-sensitive prostate cancer; ECOG PS 0/1; prior ADT ≤ 6 mos for mCSPC or ≤ 3 yrs for local disea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(N = 1052)</a:t>
            </a:r>
            <a:endParaRPr kumimoji="0" lang="en-US" alt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</a:endParaRPr>
          </a:p>
        </p:txBody>
      </p:sp>
      <p:sp>
        <p:nvSpPr>
          <p:cNvPr id="33796" name="Rectangle 49">
            <a:extLst>
              <a:ext uri="{FF2B5EF4-FFF2-40B4-BE49-F238E27FC236}">
                <a16:creationId xmlns:a16="http://schemas.microsoft.com/office/drawing/2014/main" id="{675462E9-8597-4953-8AB9-A6DA325AC7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2512" y="2508983"/>
            <a:ext cx="3587805" cy="930456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Apalutamide 240 mg QD + ADT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</a:b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(n = 525)</a:t>
            </a:r>
          </a:p>
        </p:txBody>
      </p:sp>
      <p:sp>
        <p:nvSpPr>
          <p:cNvPr id="7173" name="Rectangle 50">
            <a:extLst>
              <a:ext uri="{FF2B5EF4-FFF2-40B4-BE49-F238E27FC236}">
                <a16:creationId xmlns:a16="http://schemas.microsoft.com/office/drawing/2014/main" id="{8A641FEB-5769-4DA4-AFF7-36309C4458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2986" y="3505527"/>
            <a:ext cx="3587805" cy="932688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none" anchor="ctr" anchorCtr="1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Placebo + AD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-128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(n = 527)</a:t>
            </a:r>
          </a:p>
        </p:txBody>
      </p:sp>
      <p:sp>
        <p:nvSpPr>
          <p:cNvPr id="64518" name="Line 53">
            <a:extLst>
              <a:ext uri="{FF2B5EF4-FFF2-40B4-BE49-F238E27FC236}">
                <a16:creationId xmlns:a16="http://schemas.microsoft.com/office/drawing/2014/main" id="{9296FDCD-6B7E-4A8F-AF6C-F31C2CAA257A}"/>
              </a:ext>
            </a:extLst>
          </p:cNvPr>
          <p:cNvSpPr>
            <a:spLocks noChangeShapeType="1"/>
          </p:cNvSpPr>
          <p:nvPr/>
        </p:nvSpPr>
        <p:spPr bwMode="auto">
          <a:xfrm>
            <a:off x="4172172" y="3537230"/>
            <a:ext cx="466725" cy="34925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4519" name="Line 54">
            <a:extLst>
              <a:ext uri="{FF2B5EF4-FFF2-40B4-BE49-F238E27FC236}">
                <a16:creationId xmlns:a16="http://schemas.microsoft.com/office/drawing/2014/main" id="{1241FF0F-8E92-4110-813F-0D0E3F567BE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72172" y="2937156"/>
            <a:ext cx="466725" cy="346075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Text Box 45">
            <a:extLst>
              <a:ext uri="{FF2B5EF4-FFF2-40B4-BE49-F238E27FC236}">
                <a16:creationId xmlns:a16="http://schemas.microsoft.com/office/drawing/2014/main" id="{A11F5A35-9D9A-47B1-B119-BCE2788FC4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63289" y="1896566"/>
            <a:ext cx="397764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leason score (≤ 7 vs &gt; 7), region (NA/EU vs other), prior docetaxel (yes vs no)</a:t>
            </a:r>
          </a:p>
        </p:txBody>
      </p:sp>
      <p:sp>
        <p:nvSpPr>
          <p:cNvPr id="17" name="Line 52">
            <a:extLst>
              <a:ext uri="{FF2B5EF4-FFF2-40B4-BE49-F238E27FC236}">
                <a16:creationId xmlns:a16="http://schemas.microsoft.com/office/drawing/2014/main" id="{7F6AA4A4-4C04-49D8-9422-3D64DA48340A}"/>
              </a:ext>
            </a:extLst>
          </p:cNvPr>
          <p:cNvSpPr>
            <a:spLocks noChangeShapeType="1"/>
          </p:cNvSpPr>
          <p:nvPr/>
        </p:nvSpPr>
        <p:spPr bwMode="auto">
          <a:xfrm>
            <a:off x="4252113" y="2419786"/>
            <a:ext cx="0" cy="612417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8" name="Text Box 45">
            <a:extLst>
              <a:ext uri="{FF2B5EF4-FFF2-40B4-BE49-F238E27FC236}">
                <a16:creationId xmlns:a16="http://schemas.microsoft.com/office/drawing/2014/main" id="{A4101E43-C739-4132-9469-BF23F57A64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2527" y="3336250"/>
            <a:ext cx="46117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D</a:t>
            </a:r>
          </a:p>
        </p:txBody>
      </p:sp>
      <p:sp>
        <p:nvSpPr>
          <p:cNvPr id="19" name="Line 52">
            <a:extLst>
              <a:ext uri="{FF2B5EF4-FFF2-40B4-BE49-F238E27FC236}">
                <a16:creationId xmlns:a16="http://schemas.microsoft.com/office/drawing/2014/main" id="{242BBC88-192A-4A1E-A1EE-FF8CD2B7B74A}"/>
              </a:ext>
            </a:extLst>
          </p:cNvPr>
          <p:cNvSpPr>
            <a:spLocks noChangeShapeType="1"/>
          </p:cNvSpPr>
          <p:nvPr/>
        </p:nvSpPr>
        <p:spPr bwMode="auto">
          <a:xfrm>
            <a:off x="8611553" y="3505527"/>
            <a:ext cx="778016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Title 10">
            <a:extLst>
              <a:ext uri="{FF2B5EF4-FFF2-40B4-BE49-F238E27FC236}">
                <a16:creationId xmlns:a16="http://schemas.microsoft.com/office/drawing/2014/main" id="{BB7A3D08-9ABC-4BBD-9D92-36117908CB7C}"/>
              </a:ext>
            </a:extLst>
          </p:cNvPr>
          <p:cNvSpPr txBox="1">
            <a:spLocks/>
          </p:cNvSpPr>
          <p:nvPr/>
        </p:nvSpPr>
        <p:spPr bwMode="auto">
          <a:xfrm>
            <a:off x="0" y="-17672"/>
            <a:ext cx="12192000" cy="1825038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>
              <a:defRPr/>
            </a:pPr>
            <a:r>
              <a:rPr lang="en-US" altLang="en-US" sz="4000" dirty="0">
                <a:solidFill>
                  <a:schemeClr val="bg1"/>
                </a:solidFill>
              </a:rPr>
              <a:t>TITAN:</a:t>
            </a:r>
          </a:p>
          <a:p>
            <a:pPr>
              <a:defRPr/>
            </a:pPr>
            <a:r>
              <a:rPr lang="en-US" altLang="en-US" sz="3200" dirty="0">
                <a:solidFill>
                  <a:schemeClr val="bg1"/>
                </a:solidFill>
              </a:rPr>
              <a:t> Apalutamide + ADT vs Placebo + ADT in </a:t>
            </a:r>
            <a:r>
              <a:rPr lang="en-US" altLang="en-US" sz="3200" dirty="0" err="1">
                <a:solidFill>
                  <a:schemeClr val="bg1"/>
                </a:solidFill>
              </a:rPr>
              <a:t>mHSPC</a:t>
            </a:r>
            <a:br>
              <a:rPr lang="en-US" altLang="en-US" sz="3200" dirty="0">
                <a:solidFill>
                  <a:schemeClr val="bg1"/>
                </a:solidFill>
              </a:rPr>
            </a:br>
            <a:r>
              <a:rPr lang="en-US" altLang="en-US" sz="2000" dirty="0">
                <a:solidFill>
                  <a:schemeClr val="bg1"/>
                </a:solidFill>
              </a:rPr>
              <a:t>International, randomized, double-blind, placebo-controlled phase III trial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9664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F08C4C-F12C-432C-B7D2-0C23A09774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FS</a:t>
            </a:r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8C7B955F-1033-455D-B314-C5CFBDC93D5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635597"/>
            <a:ext cx="5386388" cy="3029843"/>
          </a:xfr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310DF75-2436-411B-8D4A-6E96B7662B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GB" dirty="0"/>
              <a:t>OS</a:t>
            </a:r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C71D2859-4788-4B7B-9F33-43FE76CCB8AF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838" y="2634705"/>
            <a:ext cx="5389562" cy="3031628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C9A6E9C7-D5AC-414E-9915-ED97D0F6D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000" dirty="0"/>
              <a:t>TITAN:</a:t>
            </a:r>
            <a:br>
              <a:rPr lang="en-GB" sz="4000" dirty="0"/>
            </a:br>
            <a:r>
              <a:rPr lang="en-GB" sz="4000" dirty="0"/>
              <a:t> </a:t>
            </a:r>
            <a:r>
              <a:rPr lang="en-GB" sz="3200" dirty="0"/>
              <a:t>Apalutamide + ADT vs Placebo + ADT in </a:t>
            </a:r>
            <a:r>
              <a:rPr lang="en-GB" sz="3200" dirty="0" err="1"/>
              <a:t>mHSPC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30497597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9253329-C1DC-45EA-AD7E-701C8A3B6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Dosetaksel</a:t>
            </a:r>
            <a:r>
              <a:rPr lang="en-GB" dirty="0"/>
              <a:t> </a:t>
            </a:r>
            <a:r>
              <a:rPr lang="en-GB" dirty="0" err="1"/>
              <a:t>ya</a:t>
            </a:r>
            <a:r>
              <a:rPr lang="en-GB" dirty="0"/>
              <a:t> da AR </a:t>
            </a:r>
            <a:r>
              <a:rPr lang="en-GB" dirty="0" err="1"/>
              <a:t>inhibitörleri</a:t>
            </a:r>
            <a:endParaRPr lang="en-GB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1AE8843-0F80-4C9A-A6B3-2361C4214F9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83012845"/>
              </p:ext>
            </p:extLst>
          </p:nvPr>
        </p:nvGraphicFramePr>
        <p:xfrm>
          <a:off x="914400" y="1484784"/>
          <a:ext cx="10582200" cy="4611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965172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B58F948-5F66-461D-BC32-3623E40680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907379"/>
          </a:xfrm>
        </p:spPr>
        <p:txBody>
          <a:bodyPr/>
          <a:lstStyle/>
          <a:p>
            <a:r>
              <a:rPr lang="en-US" dirty="0"/>
              <a:t>STAMPEDE: </a:t>
            </a:r>
            <a:br>
              <a:rPr lang="en-US" dirty="0"/>
            </a:br>
            <a:r>
              <a:rPr lang="en-US" altLang="en-US" sz="3200" dirty="0"/>
              <a:t>Randomized, open-label, </a:t>
            </a:r>
            <a:r>
              <a:rPr lang="en-US" altLang="en-US" sz="3200" dirty="0" err="1"/>
              <a:t>multiarm</a:t>
            </a:r>
            <a:r>
              <a:rPr lang="en-US" altLang="en-US" sz="3200" dirty="0"/>
              <a:t>, multistage phase II/III </a:t>
            </a:r>
            <a:br>
              <a:rPr lang="en-US" altLang="en-US" sz="3200" dirty="0"/>
            </a:br>
            <a:r>
              <a:rPr lang="en-US" altLang="en-US" sz="3200" dirty="0"/>
              <a:t>(N = 1917)</a:t>
            </a:r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2047199-1F28-428F-851C-08047AFBB8A0}"/>
              </a:ext>
            </a:extLst>
          </p:cNvPr>
          <p:cNvGrpSpPr/>
          <p:nvPr/>
        </p:nvGrpSpPr>
        <p:grpSpPr>
          <a:xfrm>
            <a:off x="1793747" y="2492896"/>
            <a:ext cx="8604506" cy="4097987"/>
            <a:chOff x="1836186" y="2041608"/>
            <a:chExt cx="8604506" cy="409798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7EF0976-62DF-4CB5-876F-C173CEE1137A}"/>
                </a:ext>
              </a:extLst>
            </p:cNvPr>
            <p:cNvSpPr txBox="1"/>
            <p:nvPr/>
          </p:nvSpPr>
          <p:spPr bwMode="auto">
            <a:xfrm>
              <a:off x="4531035" y="2041608"/>
              <a:ext cx="311604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atients Eligible for STAMPEDE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01372B1-1642-4FAC-81EF-CACB7B6147F6}"/>
                </a:ext>
              </a:extLst>
            </p:cNvPr>
            <p:cNvGrpSpPr/>
            <p:nvPr/>
          </p:nvGrpSpPr>
          <p:grpSpPr>
            <a:xfrm>
              <a:off x="3758577" y="2392086"/>
              <a:ext cx="4712958" cy="446481"/>
              <a:chOff x="3758577" y="2392086"/>
              <a:chExt cx="4712958" cy="446481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72B110A3-CB66-457D-89A6-9352DEBA493C}"/>
                  </a:ext>
                </a:extLst>
              </p:cNvPr>
              <p:cNvCxnSpPr/>
              <p:nvPr/>
            </p:nvCxnSpPr>
            <p:spPr bwMode="auto">
              <a:xfrm>
                <a:off x="6051847" y="2392086"/>
                <a:ext cx="0" cy="194102"/>
              </a:xfrm>
              <a:prstGeom prst="line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3B1275CF-0E0A-40F5-9CC2-37128384384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758577" y="2591735"/>
                <a:ext cx="4712958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6" name="Straight Arrow Connector 35">
                <a:extLst>
                  <a:ext uri="{FF2B5EF4-FFF2-40B4-BE49-F238E27FC236}">
                    <a16:creationId xmlns:a16="http://schemas.microsoft.com/office/drawing/2014/main" id="{163BADD4-9DAC-40E6-88E9-EDE12AAB7E9C}"/>
                  </a:ext>
                </a:extLst>
              </p:cNvPr>
              <p:cNvCxnSpPr/>
              <p:nvPr/>
            </p:nvCxnSpPr>
            <p:spPr bwMode="auto">
              <a:xfrm>
                <a:off x="8471535" y="2580578"/>
                <a:ext cx="0" cy="246832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37" name="Straight Arrow Connector 36">
                <a:extLst>
                  <a:ext uri="{FF2B5EF4-FFF2-40B4-BE49-F238E27FC236}">
                    <a16:creationId xmlns:a16="http://schemas.microsoft.com/office/drawing/2014/main" id="{C2E6F754-72B8-4D24-9418-EDEA2177384C}"/>
                  </a:ext>
                </a:extLst>
              </p:cNvPr>
              <p:cNvCxnSpPr/>
              <p:nvPr/>
            </p:nvCxnSpPr>
            <p:spPr bwMode="auto">
              <a:xfrm>
                <a:off x="3770731" y="2591735"/>
                <a:ext cx="0" cy="246832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</p:grp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5C0F704-17BC-4640-BFDC-6DF31DFB733E}"/>
                </a:ext>
              </a:extLst>
            </p:cNvPr>
            <p:cNvSpPr txBox="1"/>
            <p:nvPr/>
          </p:nvSpPr>
          <p:spPr bwMode="auto">
            <a:xfrm>
              <a:off x="2220819" y="2790117"/>
              <a:ext cx="3099823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Newly Diagnosed M1 Patients</a:t>
              </a:r>
              <a:endParaRPr kumimoji="0" lang="en-US" sz="18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B4BFD73-E50F-469A-BA5F-A01B9DF0CE15}"/>
                </a:ext>
              </a:extLst>
            </p:cNvPr>
            <p:cNvSpPr/>
            <p:nvPr/>
          </p:nvSpPr>
          <p:spPr bwMode="auto">
            <a:xfrm>
              <a:off x="1836187" y="3168333"/>
              <a:ext cx="3890071" cy="304602"/>
            </a:xfrm>
            <a:prstGeom prst="rect">
              <a:avLst/>
            </a:prstGeom>
            <a:solidFill>
              <a:srgbClr val="015873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Randomization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C3A5067-C8D1-491F-B58D-F6DA3D0641AA}"/>
                </a:ext>
              </a:extLst>
            </p:cNvPr>
            <p:cNvSpPr/>
            <p:nvPr/>
          </p:nvSpPr>
          <p:spPr bwMode="auto">
            <a:xfrm>
              <a:off x="1836186" y="4059502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D60DCDF-FB2C-45DB-AA4A-A55AEA25B731}"/>
                </a:ext>
              </a:extLst>
            </p:cNvPr>
            <p:cNvSpPr/>
            <p:nvPr/>
          </p:nvSpPr>
          <p:spPr bwMode="auto">
            <a:xfrm>
              <a:off x="2634349" y="4059502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zoledronic acid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15AD693-8201-49E9-9D49-8E3BC656095E}"/>
                </a:ext>
              </a:extLst>
            </p:cNvPr>
            <p:cNvSpPr/>
            <p:nvPr/>
          </p:nvSpPr>
          <p:spPr bwMode="auto">
            <a:xfrm>
              <a:off x="1836186" y="4511216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2E88F8F-8155-418E-BCD0-E69BA6985A14}"/>
                </a:ext>
              </a:extLst>
            </p:cNvPr>
            <p:cNvSpPr/>
            <p:nvPr/>
          </p:nvSpPr>
          <p:spPr bwMode="auto">
            <a:xfrm>
              <a:off x="2634349" y="4511216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docetaxel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6FBD357-A6E4-492A-80CF-CE1AD522D8AB}"/>
                </a:ext>
              </a:extLst>
            </p:cNvPr>
            <p:cNvSpPr/>
            <p:nvPr/>
          </p:nvSpPr>
          <p:spPr bwMode="auto">
            <a:xfrm>
              <a:off x="1836186" y="4962853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6554157-F588-4521-8530-A5D8B3B0896E}"/>
                </a:ext>
              </a:extLst>
            </p:cNvPr>
            <p:cNvSpPr/>
            <p:nvPr/>
          </p:nvSpPr>
          <p:spPr bwMode="auto">
            <a:xfrm>
              <a:off x="2634349" y="4962853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ZA + docetaxel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CE20484-D4F2-42CD-B9C2-428CB65BF829}"/>
                </a:ext>
              </a:extLst>
            </p:cNvPr>
            <p:cNvSpPr/>
            <p:nvPr/>
          </p:nvSpPr>
          <p:spPr bwMode="auto">
            <a:xfrm>
              <a:off x="1836186" y="5401683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G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0F0B02F-6C8D-46FF-8F96-0CBDE79506DC}"/>
                </a:ext>
              </a:extLst>
            </p:cNvPr>
            <p:cNvSpPr/>
            <p:nvPr/>
          </p:nvSpPr>
          <p:spPr bwMode="auto">
            <a:xfrm>
              <a:off x="2634349" y="5401683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abiraterone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00075F9-6642-42E9-BEB7-763D222AC2AC}"/>
                </a:ext>
              </a:extLst>
            </p:cNvPr>
            <p:cNvSpPr/>
            <p:nvPr/>
          </p:nvSpPr>
          <p:spPr bwMode="auto">
            <a:xfrm>
              <a:off x="1836186" y="5834993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H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E3DB02-772B-407A-95D6-810FFD09DA66}"/>
                </a:ext>
              </a:extLst>
            </p:cNvPr>
            <p:cNvSpPr/>
            <p:nvPr/>
          </p:nvSpPr>
          <p:spPr bwMode="auto">
            <a:xfrm>
              <a:off x="2634349" y="5834993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RT to prostat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85D348E-AB40-47E6-95A2-8D3DDC7979BB}"/>
                </a:ext>
              </a:extLst>
            </p:cNvPr>
            <p:cNvSpPr/>
            <p:nvPr/>
          </p:nvSpPr>
          <p:spPr bwMode="auto">
            <a:xfrm>
              <a:off x="1836186" y="3605222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13F09E0-23F6-489F-954C-1C3489BB2263}"/>
                </a:ext>
              </a:extLst>
            </p:cNvPr>
            <p:cNvSpPr/>
            <p:nvPr/>
          </p:nvSpPr>
          <p:spPr bwMode="auto">
            <a:xfrm>
              <a:off x="2634349" y="3605222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DT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2D2BD4C-BFDD-4ED7-ACA9-EC063CEE69C2}"/>
                </a:ext>
              </a:extLst>
            </p:cNvPr>
            <p:cNvSpPr/>
            <p:nvPr/>
          </p:nvSpPr>
          <p:spPr bwMode="auto">
            <a:xfrm>
              <a:off x="6550620" y="4078780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616D180-FCB8-422D-835A-F76C6F83F5C0}"/>
                </a:ext>
              </a:extLst>
            </p:cNvPr>
            <p:cNvSpPr/>
            <p:nvPr/>
          </p:nvSpPr>
          <p:spPr bwMode="auto">
            <a:xfrm>
              <a:off x="7348783" y="4078780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zoledronic acid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6FE1EFD-3A10-4DA3-9E53-B836C599A8C6}"/>
                </a:ext>
              </a:extLst>
            </p:cNvPr>
            <p:cNvSpPr/>
            <p:nvPr/>
          </p:nvSpPr>
          <p:spPr bwMode="auto">
            <a:xfrm>
              <a:off x="6550620" y="4530494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537EB5A-B10C-442C-9DA7-0452F7A4E5E1}"/>
                </a:ext>
              </a:extLst>
            </p:cNvPr>
            <p:cNvSpPr/>
            <p:nvPr/>
          </p:nvSpPr>
          <p:spPr bwMode="auto">
            <a:xfrm>
              <a:off x="7348783" y="4530494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docetaxel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6BE215A-464E-4A8B-BBB4-E6F18EC7655B}"/>
                </a:ext>
              </a:extLst>
            </p:cNvPr>
            <p:cNvSpPr/>
            <p:nvPr/>
          </p:nvSpPr>
          <p:spPr bwMode="auto">
            <a:xfrm>
              <a:off x="6550620" y="4982131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A45B518-D0D3-43B5-86E3-B0919CB78CB1}"/>
                </a:ext>
              </a:extLst>
            </p:cNvPr>
            <p:cNvSpPr/>
            <p:nvPr/>
          </p:nvSpPr>
          <p:spPr bwMode="auto">
            <a:xfrm>
              <a:off x="7348783" y="4982131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ZA + docetaxel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C4FC4B5-021A-4E28-8D6F-3818A814B634}"/>
                </a:ext>
              </a:extLst>
            </p:cNvPr>
            <p:cNvSpPr/>
            <p:nvPr/>
          </p:nvSpPr>
          <p:spPr bwMode="auto">
            <a:xfrm>
              <a:off x="6550620" y="5420961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G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9C979F3-E508-447C-BB98-BA0E67E03D7F}"/>
                </a:ext>
              </a:extLst>
            </p:cNvPr>
            <p:cNvSpPr/>
            <p:nvPr/>
          </p:nvSpPr>
          <p:spPr bwMode="auto">
            <a:xfrm>
              <a:off x="7348783" y="5420961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rm A + abiraterone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01975D3-E328-451D-AD6D-82022C9D8FCD}"/>
                </a:ext>
              </a:extLst>
            </p:cNvPr>
            <p:cNvSpPr/>
            <p:nvPr/>
          </p:nvSpPr>
          <p:spPr bwMode="auto">
            <a:xfrm>
              <a:off x="6550620" y="3624500"/>
              <a:ext cx="798163" cy="304602"/>
            </a:xfrm>
            <a:prstGeom prst="rect">
              <a:avLst/>
            </a:prstGeom>
            <a:solidFill>
              <a:srgbClr val="E1471D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4160673-5673-4260-9D17-2B4B2DB093C8}"/>
                </a:ext>
              </a:extLst>
            </p:cNvPr>
            <p:cNvSpPr/>
            <p:nvPr/>
          </p:nvSpPr>
          <p:spPr bwMode="auto">
            <a:xfrm>
              <a:off x="7348783" y="3624500"/>
              <a:ext cx="3091909" cy="304602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DT (+ RT if N0 M0)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E1D64CD-DCDB-4A6B-BCED-390251834D58}"/>
                </a:ext>
              </a:extLst>
            </p:cNvPr>
            <p:cNvSpPr/>
            <p:nvPr/>
          </p:nvSpPr>
          <p:spPr bwMode="auto">
            <a:xfrm>
              <a:off x="6550620" y="3163208"/>
              <a:ext cx="3890071" cy="304602"/>
            </a:xfrm>
            <a:prstGeom prst="rect">
              <a:avLst/>
            </a:prstGeom>
            <a:solidFill>
              <a:srgbClr val="015873"/>
            </a:solidFill>
            <a:ln w="0">
              <a:solidFill>
                <a:srgbClr val="00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Randomization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9623DDD-DE16-4DC5-A606-C753A0BE2174}"/>
                </a:ext>
              </a:extLst>
            </p:cNvPr>
            <p:cNvSpPr txBox="1"/>
            <p:nvPr/>
          </p:nvSpPr>
          <p:spPr bwMode="auto">
            <a:xfrm>
              <a:off x="7571799" y="2779145"/>
              <a:ext cx="182979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All Other Patients</a:t>
              </a:r>
              <a:endParaRPr kumimoji="0" lang="en-US" sz="18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32942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Title 1">
            <a:extLst>
              <a:ext uri="{FF2B5EF4-FFF2-40B4-BE49-F238E27FC236}">
                <a16:creationId xmlns:a16="http://schemas.microsoft.com/office/drawing/2014/main" id="{E4D69260-BEC1-486C-8A35-950BBA1B9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it-IT" dirty="0">
                <a:latin typeface="Calibri" pitchFamily="34" charset="0"/>
              </a:rPr>
              <a:t>	STAMPEDE: </a:t>
            </a:r>
            <a:br>
              <a:rPr lang="it-IT" dirty="0">
                <a:latin typeface="Calibri" pitchFamily="34" charset="0"/>
              </a:rPr>
            </a:br>
            <a:r>
              <a:rPr lang="it-IT" dirty="0">
                <a:latin typeface="Calibri" pitchFamily="34" charset="0"/>
              </a:rPr>
              <a:t>	Docetaxel ya da Abiraterone</a:t>
            </a:r>
            <a:endParaRPr lang="en-US" sz="2800" dirty="0">
              <a:latin typeface="Calibri" pitchFamily="34" charset="0"/>
            </a:endParaRPr>
          </a:p>
        </p:txBody>
      </p:sp>
      <p:sp>
        <p:nvSpPr>
          <p:cNvPr id="3" name="Text Box 15">
            <a:extLst>
              <a:ext uri="{FF2B5EF4-FFF2-40B4-BE49-F238E27FC236}">
                <a16:creationId xmlns:a16="http://schemas.microsoft.com/office/drawing/2014/main" id="{9ECA9F13-BAE1-4F43-BC22-6C3216A7D1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0108" y="6362195"/>
            <a:ext cx="7851318" cy="276999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+mn-cs"/>
              </a:rPr>
              <a:t>Sydes. Ann Oncol. 2018;29:1235.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26997993-2228-4A8E-9B4F-B6CC86C3B1A4}"/>
              </a:ext>
            </a:extLst>
          </p:cNvPr>
          <p:cNvGrpSpPr/>
          <p:nvPr/>
        </p:nvGrpSpPr>
        <p:grpSpPr>
          <a:xfrm>
            <a:off x="255390" y="1309734"/>
            <a:ext cx="11523419" cy="5263852"/>
            <a:chOff x="255390" y="1309734"/>
            <a:chExt cx="11523419" cy="5263852"/>
          </a:xfrm>
        </p:grpSpPr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7DAEE991-1EF7-439A-B2A0-E70CFD7875CF}"/>
                </a:ext>
              </a:extLst>
            </p:cNvPr>
            <p:cNvSpPr/>
            <p:nvPr/>
          </p:nvSpPr>
          <p:spPr bwMode="auto">
            <a:xfrm>
              <a:off x="3241343" y="2141463"/>
              <a:ext cx="987552" cy="3888399"/>
            </a:xfrm>
            <a:prstGeom prst="rect">
              <a:avLst/>
            </a:prstGeom>
            <a:solidFill>
              <a:srgbClr val="E1471D">
                <a:alpha val="25000"/>
              </a:srgbClr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14C33BB0-04B0-4B6A-9B7E-1D64561E00CB}"/>
                </a:ext>
              </a:extLst>
            </p:cNvPr>
            <p:cNvSpPr/>
            <p:nvPr/>
          </p:nvSpPr>
          <p:spPr bwMode="auto">
            <a:xfrm>
              <a:off x="2235453" y="2141463"/>
              <a:ext cx="989180" cy="3888399"/>
            </a:xfrm>
            <a:prstGeom prst="rect">
              <a:avLst/>
            </a:prstGeom>
            <a:solidFill>
              <a:srgbClr val="4DA1BB">
                <a:alpha val="25000"/>
              </a:srgbClr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8DD7CD98-DD3A-4631-80D4-5097C1D564EF}"/>
                </a:ext>
              </a:extLst>
            </p:cNvPr>
            <p:cNvSpPr/>
            <p:nvPr/>
          </p:nvSpPr>
          <p:spPr bwMode="auto">
            <a:xfrm>
              <a:off x="6195060" y="2244090"/>
              <a:ext cx="5242560" cy="746760"/>
            </a:xfrm>
            <a:custGeom>
              <a:avLst/>
              <a:gdLst>
                <a:gd name="connsiteX0" fmla="*/ 5242560 w 5242560"/>
                <a:gd name="connsiteY0" fmla="*/ 746760 h 746760"/>
                <a:gd name="connsiteX1" fmla="*/ 4922520 w 5242560"/>
                <a:gd name="connsiteY1" fmla="*/ 746760 h 746760"/>
                <a:gd name="connsiteX2" fmla="*/ 4922520 w 5242560"/>
                <a:gd name="connsiteY2" fmla="*/ 712470 h 746760"/>
                <a:gd name="connsiteX3" fmla="*/ 4697730 w 5242560"/>
                <a:gd name="connsiteY3" fmla="*/ 712470 h 746760"/>
                <a:gd name="connsiteX4" fmla="*/ 4697730 w 5242560"/>
                <a:gd name="connsiteY4" fmla="*/ 685800 h 746760"/>
                <a:gd name="connsiteX5" fmla="*/ 4476750 w 5242560"/>
                <a:gd name="connsiteY5" fmla="*/ 685800 h 746760"/>
                <a:gd name="connsiteX6" fmla="*/ 4476750 w 5242560"/>
                <a:gd name="connsiteY6" fmla="*/ 651510 h 746760"/>
                <a:gd name="connsiteX7" fmla="*/ 4316730 w 5242560"/>
                <a:gd name="connsiteY7" fmla="*/ 651510 h 746760"/>
                <a:gd name="connsiteX8" fmla="*/ 4316730 w 5242560"/>
                <a:gd name="connsiteY8" fmla="*/ 621030 h 746760"/>
                <a:gd name="connsiteX9" fmla="*/ 4271010 w 5242560"/>
                <a:gd name="connsiteY9" fmla="*/ 621030 h 746760"/>
                <a:gd name="connsiteX10" fmla="*/ 4271010 w 5242560"/>
                <a:gd name="connsiteY10" fmla="*/ 594360 h 746760"/>
                <a:gd name="connsiteX11" fmla="*/ 4179570 w 5242560"/>
                <a:gd name="connsiteY11" fmla="*/ 594360 h 746760"/>
                <a:gd name="connsiteX12" fmla="*/ 4179570 w 5242560"/>
                <a:gd name="connsiteY12" fmla="*/ 594360 h 746760"/>
                <a:gd name="connsiteX13" fmla="*/ 4137660 w 5242560"/>
                <a:gd name="connsiteY13" fmla="*/ 594360 h 746760"/>
                <a:gd name="connsiteX14" fmla="*/ 4137660 w 5242560"/>
                <a:gd name="connsiteY14" fmla="*/ 552450 h 746760"/>
                <a:gd name="connsiteX15" fmla="*/ 4057650 w 5242560"/>
                <a:gd name="connsiteY15" fmla="*/ 552450 h 746760"/>
                <a:gd name="connsiteX16" fmla="*/ 4057650 w 5242560"/>
                <a:gd name="connsiteY16" fmla="*/ 529590 h 746760"/>
                <a:gd name="connsiteX17" fmla="*/ 3970020 w 5242560"/>
                <a:gd name="connsiteY17" fmla="*/ 529590 h 746760"/>
                <a:gd name="connsiteX18" fmla="*/ 3970020 w 5242560"/>
                <a:gd name="connsiteY18" fmla="*/ 521970 h 746760"/>
                <a:gd name="connsiteX19" fmla="*/ 3905250 w 5242560"/>
                <a:gd name="connsiteY19" fmla="*/ 521970 h 746760"/>
                <a:gd name="connsiteX20" fmla="*/ 3905250 w 5242560"/>
                <a:gd name="connsiteY20" fmla="*/ 521970 h 746760"/>
                <a:gd name="connsiteX21" fmla="*/ 3749040 w 5242560"/>
                <a:gd name="connsiteY21" fmla="*/ 521970 h 746760"/>
                <a:gd name="connsiteX22" fmla="*/ 3749040 w 5242560"/>
                <a:gd name="connsiteY22" fmla="*/ 483870 h 746760"/>
                <a:gd name="connsiteX23" fmla="*/ 3672840 w 5242560"/>
                <a:gd name="connsiteY23" fmla="*/ 483870 h 746760"/>
                <a:gd name="connsiteX24" fmla="*/ 3672840 w 5242560"/>
                <a:gd name="connsiteY24" fmla="*/ 472440 h 746760"/>
                <a:gd name="connsiteX25" fmla="*/ 3478530 w 5242560"/>
                <a:gd name="connsiteY25" fmla="*/ 472440 h 746760"/>
                <a:gd name="connsiteX26" fmla="*/ 3478530 w 5242560"/>
                <a:gd name="connsiteY26" fmla="*/ 453390 h 746760"/>
                <a:gd name="connsiteX27" fmla="*/ 3329940 w 5242560"/>
                <a:gd name="connsiteY27" fmla="*/ 453390 h 746760"/>
                <a:gd name="connsiteX28" fmla="*/ 3329940 w 5242560"/>
                <a:gd name="connsiteY28" fmla="*/ 434340 h 746760"/>
                <a:gd name="connsiteX29" fmla="*/ 3036570 w 5242560"/>
                <a:gd name="connsiteY29" fmla="*/ 434340 h 746760"/>
                <a:gd name="connsiteX30" fmla="*/ 3036570 w 5242560"/>
                <a:gd name="connsiteY30" fmla="*/ 407670 h 746760"/>
                <a:gd name="connsiteX31" fmla="*/ 2788920 w 5242560"/>
                <a:gd name="connsiteY31" fmla="*/ 407670 h 746760"/>
                <a:gd name="connsiteX32" fmla="*/ 2697480 w 5242560"/>
                <a:gd name="connsiteY32" fmla="*/ 407670 h 746760"/>
                <a:gd name="connsiteX33" fmla="*/ 2697480 w 5242560"/>
                <a:gd name="connsiteY33" fmla="*/ 369570 h 746760"/>
                <a:gd name="connsiteX34" fmla="*/ 2659380 w 5242560"/>
                <a:gd name="connsiteY34" fmla="*/ 369570 h 746760"/>
                <a:gd name="connsiteX35" fmla="*/ 2659380 w 5242560"/>
                <a:gd name="connsiteY35" fmla="*/ 354330 h 746760"/>
                <a:gd name="connsiteX36" fmla="*/ 2526030 w 5242560"/>
                <a:gd name="connsiteY36" fmla="*/ 354330 h 746760"/>
                <a:gd name="connsiteX37" fmla="*/ 2526030 w 5242560"/>
                <a:gd name="connsiteY37" fmla="*/ 323850 h 746760"/>
                <a:gd name="connsiteX38" fmla="*/ 2487930 w 5242560"/>
                <a:gd name="connsiteY38" fmla="*/ 323850 h 746760"/>
                <a:gd name="connsiteX39" fmla="*/ 2487930 w 5242560"/>
                <a:gd name="connsiteY39" fmla="*/ 278130 h 746760"/>
                <a:gd name="connsiteX40" fmla="*/ 2209800 w 5242560"/>
                <a:gd name="connsiteY40" fmla="*/ 278130 h 746760"/>
                <a:gd name="connsiteX41" fmla="*/ 2209800 w 5242560"/>
                <a:gd name="connsiteY41" fmla="*/ 278130 h 746760"/>
                <a:gd name="connsiteX42" fmla="*/ 2106930 w 5242560"/>
                <a:gd name="connsiteY42" fmla="*/ 278130 h 746760"/>
                <a:gd name="connsiteX43" fmla="*/ 2106930 w 5242560"/>
                <a:gd name="connsiteY43" fmla="*/ 228600 h 746760"/>
                <a:gd name="connsiteX44" fmla="*/ 2057400 w 5242560"/>
                <a:gd name="connsiteY44" fmla="*/ 228600 h 746760"/>
                <a:gd name="connsiteX45" fmla="*/ 2057400 w 5242560"/>
                <a:gd name="connsiteY45" fmla="*/ 201930 h 746760"/>
                <a:gd name="connsiteX46" fmla="*/ 1809750 w 5242560"/>
                <a:gd name="connsiteY46" fmla="*/ 201930 h 746760"/>
                <a:gd name="connsiteX47" fmla="*/ 1809750 w 5242560"/>
                <a:gd name="connsiteY47" fmla="*/ 156210 h 746760"/>
                <a:gd name="connsiteX48" fmla="*/ 1634490 w 5242560"/>
                <a:gd name="connsiteY48" fmla="*/ 156210 h 746760"/>
                <a:gd name="connsiteX49" fmla="*/ 1634490 w 5242560"/>
                <a:gd name="connsiteY49" fmla="*/ 156210 h 746760"/>
                <a:gd name="connsiteX50" fmla="*/ 1249680 w 5242560"/>
                <a:gd name="connsiteY50" fmla="*/ 156210 h 746760"/>
                <a:gd name="connsiteX51" fmla="*/ 1249680 w 5242560"/>
                <a:gd name="connsiteY51" fmla="*/ 118110 h 746760"/>
                <a:gd name="connsiteX52" fmla="*/ 1150620 w 5242560"/>
                <a:gd name="connsiteY52" fmla="*/ 118110 h 746760"/>
                <a:gd name="connsiteX53" fmla="*/ 1150620 w 5242560"/>
                <a:gd name="connsiteY53" fmla="*/ 118110 h 746760"/>
                <a:gd name="connsiteX54" fmla="*/ 998220 w 5242560"/>
                <a:gd name="connsiteY54" fmla="*/ 118110 h 746760"/>
                <a:gd name="connsiteX55" fmla="*/ 998220 w 5242560"/>
                <a:gd name="connsiteY55" fmla="*/ 76200 h 746760"/>
                <a:gd name="connsiteX56" fmla="*/ 758190 w 5242560"/>
                <a:gd name="connsiteY56" fmla="*/ 76200 h 746760"/>
                <a:gd name="connsiteX57" fmla="*/ 758190 w 5242560"/>
                <a:gd name="connsiteY57" fmla="*/ 45720 h 746760"/>
                <a:gd name="connsiteX58" fmla="*/ 662940 w 5242560"/>
                <a:gd name="connsiteY58" fmla="*/ 45720 h 746760"/>
                <a:gd name="connsiteX59" fmla="*/ 662940 w 5242560"/>
                <a:gd name="connsiteY59" fmla="*/ 30480 h 746760"/>
                <a:gd name="connsiteX60" fmla="*/ 514350 w 5242560"/>
                <a:gd name="connsiteY60" fmla="*/ 30480 h 746760"/>
                <a:gd name="connsiteX61" fmla="*/ 514350 w 5242560"/>
                <a:gd name="connsiteY61" fmla="*/ 0 h 746760"/>
                <a:gd name="connsiteX62" fmla="*/ 0 w 5242560"/>
                <a:gd name="connsiteY62" fmla="*/ 0 h 746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5242560" h="746760">
                  <a:moveTo>
                    <a:pt x="5242560" y="746760"/>
                  </a:moveTo>
                  <a:lnTo>
                    <a:pt x="4922520" y="746760"/>
                  </a:lnTo>
                  <a:lnTo>
                    <a:pt x="4922520" y="712470"/>
                  </a:lnTo>
                  <a:lnTo>
                    <a:pt x="4697730" y="712470"/>
                  </a:lnTo>
                  <a:lnTo>
                    <a:pt x="4697730" y="685800"/>
                  </a:lnTo>
                  <a:lnTo>
                    <a:pt x="4476750" y="685800"/>
                  </a:lnTo>
                  <a:lnTo>
                    <a:pt x="4476750" y="651510"/>
                  </a:lnTo>
                  <a:lnTo>
                    <a:pt x="4316730" y="651510"/>
                  </a:lnTo>
                  <a:lnTo>
                    <a:pt x="4316730" y="621030"/>
                  </a:lnTo>
                  <a:lnTo>
                    <a:pt x="4271010" y="621030"/>
                  </a:lnTo>
                  <a:lnTo>
                    <a:pt x="4271010" y="594360"/>
                  </a:lnTo>
                  <a:lnTo>
                    <a:pt x="4179570" y="594360"/>
                  </a:lnTo>
                  <a:lnTo>
                    <a:pt x="4179570" y="594360"/>
                  </a:lnTo>
                  <a:lnTo>
                    <a:pt x="4137660" y="594360"/>
                  </a:lnTo>
                  <a:lnTo>
                    <a:pt x="4137660" y="552450"/>
                  </a:lnTo>
                  <a:lnTo>
                    <a:pt x="4057650" y="552450"/>
                  </a:lnTo>
                  <a:lnTo>
                    <a:pt x="4057650" y="529590"/>
                  </a:lnTo>
                  <a:lnTo>
                    <a:pt x="3970020" y="529590"/>
                  </a:lnTo>
                  <a:lnTo>
                    <a:pt x="3970020" y="521970"/>
                  </a:lnTo>
                  <a:lnTo>
                    <a:pt x="3905250" y="521970"/>
                  </a:lnTo>
                  <a:lnTo>
                    <a:pt x="3905250" y="521970"/>
                  </a:lnTo>
                  <a:lnTo>
                    <a:pt x="3749040" y="521970"/>
                  </a:lnTo>
                  <a:lnTo>
                    <a:pt x="3749040" y="483870"/>
                  </a:lnTo>
                  <a:lnTo>
                    <a:pt x="3672840" y="483870"/>
                  </a:lnTo>
                  <a:lnTo>
                    <a:pt x="3672840" y="472440"/>
                  </a:lnTo>
                  <a:lnTo>
                    <a:pt x="3478530" y="472440"/>
                  </a:lnTo>
                  <a:lnTo>
                    <a:pt x="3478530" y="453390"/>
                  </a:lnTo>
                  <a:lnTo>
                    <a:pt x="3329940" y="453390"/>
                  </a:lnTo>
                  <a:lnTo>
                    <a:pt x="3329940" y="434340"/>
                  </a:lnTo>
                  <a:lnTo>
                    <a:pt x="3036570" y="434340"/>
                  </a:lnTo>
                  <a:lnTo>
                    <a:pt x="3036570" y="407670"/>
                  </a:lnTo>
                  <a:lnTo>
                    <a:pt x="2788920" y="407670"/>
                  </a:lnTo>
                  <a:lnTo>
                    <a:pt x="2697480" y="407670"/>
                  </a:lnTo>
                  <a:lnTo>
                    <a:pt x="2697480" y="369570"/>
                  </a:lnTo>
                  <a:lnTo>
                    <a:pt x="2659380" y="369570"/>
                  </a:lnTo>
                  <a:lnTo>
                    <a:pt x="2659380" y="354330"/>
                  </a:lnTo>
                  <a:lnTo>
                    <a:pt x="2526030" y="354330"/>
                  </a:lnTo>
                  <a:lnTo>
                    <a:pt x="2526030" y="323850"/>
                  </a:lnTo>
                  <a:lnTo>
                    <a:pt x="2487930" y="323850"/>
                  </a:lnTo>
                  <a:lnTo>
                    <a:pt x="2487930" y="278130"/>
                  </a:lnTo>
                  <a:lnTo>
                    <a:pt x="2209800" y="278130"/>
                  </a:lnTo>
                  <a:lnTo>
                    <a:pt x="2209800" y="278130"/>
                  </a:lnTo>
                  <a:lnTo>
                    <a:pt x="2106930" y="278130"/>
                  </a:lnTo>
                  <a:lnTo>
                    <a:pt x="2106930" y="228600"/>
                  </a:lnTo>
                  <a:lnTo>
                    <a:pt x="2057400" y="228600"/>
                  </a:lnTo>
                  <a:lnTo>
                    <a:pt x="2057400" y="201930"/>
                  </a:lnTo>
                  <a:lnTo>
                    <a:pt x="1809750" y="201930"/>
                  </a:lnTo>
                  <a:lnTo>
                    <a:pt x="1809750" y="156210"/>
                  </a:lnTo>
                  <a:lnTo>
                    <a:pt x="1634490" y="156210"/>
                  </a:lnTo>
                  <a:lnTo>
                    <a:pt x="1634490" y="156210"/>
                  </a:lnTo>
                  <a:lnTo>
                    <a:pt x="1249680" y="156210"/>
                  </a:lnTo>
                  <a:lnTo>
                    <a:pt x="1249680" y="118110"/>
                  </a:lnTo>
                  <a:lnTo>
                    <a:pt x="1150620" y="118110"/>
                  </a:lnTo>
                  <a:lnTo>
                    <a:pt x="1150620" y="118110"/>
                  </a:lnTo>
                  <a:lnTo>
                    <a:pt x="998220" y="118110"/>
                  </a:lnTo>
                  <a:lnTo>
                    <a:pt x="998220" y="76200"/>
                  </a:lnTo>
                  <a:lnTo>
                    <a:pt x="758190" y="76200"/>
                  </a:lnTo>
                  <a:lnTo>
                    <a:pt x="758190" y="45720"/>
                  </a:lnTo>
                  <a:lnTo>
                    <a:pt x="662940" y="45720"/>
                  </a:lnTo>
                  <a:lnTo>
                    <a:pt x="662940" y="30480"/>
                  </a:lnTo>
                  <a:lnTo>
                    <a:pt x="514350" y="30480"/>
                  </a:lnTo>
                  <a:lnTo>
                    <a:pt x="514350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rgbClr val="E1471D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BCD9F749-D3FD-4B24-A932-C928491CC7A8}"/>
                </a:ext>
              </a:extLst>
            </p:cNvPr>
            <p:cNvGrpSpPr/>
            <p:nvPr/>
          </p:nvGrpSpPr>
          <p:grpSpPr>
            <a:xfrm>
              <a:off x="5993130" y="2244090"/>
              <a:ext cx="5444490" cy="853440"/>
              <a:chOff x="5993130" y="2244090"/>
              <a:chExt cx="5444490" cy="853440"/>
            </a:xfrm>
          </p:grpSpPr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42F894E9-438B-4592-BB13-7CB2BD343CBB}"/>
                  </a:ext>
                </a:extLst>
              </p:cNvPr>
              <p:cNvSpPr/>
              <p:nvPr/>
            </p:nvSpPr>
            <p:spPr bwMode="auto">
              <a:xfrm>
                <a:off x="5993130" y="2244090"/>
                <a:ext cx="3535680" cy="514350"/>
              </a:xfrm>
              <a:custGeom>
                <a:avLst/>
                <a:gdLst>
                  <a:gd name="connsiteX0" fmla="*/ 0 w 3535680"/>
                  <a:gd name="connsiteY0" fmla="*/ 0 h 514350"/>
                  <a:gd name="connsiteX1" fmla="*/ 186690 w 3535680"/>
                  <a:gd name="connsiteY1" fmla="*/ 0 h 514350"/>
                  <a:gd name="connsiteX2" fmla="*/ 198120 w 3535680"/>
                  <a:gd name="connsiteY2" fmla="*/ 11430 h 514350"/>
                  <a:gd name="connsiteX3" fmla="*/ 514350 w 3535680"/>
                  <a:gd name="connsiteY3" fmla="*/ 11430 h 514350"/>
                  <a:gd name="connsiteX4" fmla="*/ 525780 w 3535680"/>
                  <a:gd name="connsiteY4" fmla="*/ 11430 h 514350"/>
                  <a:gd name="connsiteX5" fmla="*/ 670560 w 3535680"/>
                  <a:gd name="connsiteY5" fmla="*/ 11430 h 514350"/>
                  <a:gd name="connsiteX6" fmla="*/ 670560 w 3535680"/>
                  <a:gd name="connsiteY6" fmla="*/ 30480 h 514350"/>
                  <a:gd name="connsiteX7" fmla="*/ 1097280 w 3535680"/>
                  <a:gd name="connsiteY7" fmla="*/ 30480 h 514350"/>
                  <a:gd name="connsiteX8" fmla="*/ 1097280 w 3535680"/>
                  <a:gd name="connsiteY8" fmla="*/ 30480 h 514350"/>
                  <a:gd name="connsiteX9" fmla="*/ 1181100 w 3535680"/>
                  <a:gd name="connsiteY9" fmla="*/ 30480 h 514350"/>
                  <a:gd name="connsiteX10" fmla="*/ 1181100 w 3535680"/>
                  <a:gd name="connsiteY10" fmla="*/ 49530 h 514350"/>
                  <a:gd name="connsiteX11" fmla="*/ 1242060 w 3535680"/>
                  <a:gd name="connsiteY11" fmla="*/ 49530 h 514350"/>
                  <a:gd name="connsiteX12" fmla="*/ 1242060 w 3535680"/>
                  <a:gd name="connsiteY12" fmla="*/ 76200 h 514350"/>
                  <a:gd name="connsiteX13" fmla="*/ 1303020 w 3535680"/>
                  <a:gd name="connsiteY13" fmla="*/ 76200 h 514350"/>
                  <a:gd name="connsiteX14" fmla="*/ 1314450 w 3535680"/>
                  <a:gd name="connsiteY14" fmla="*/ 87630 h 514350"/>
                  <a:gd name="connsiteX15" fmla="*/ 1402080 w 3535680"/>
                  <a:gd name="connsiteY15" fmla="*/ 87630 h 514350"/>
                  <a:gd name="connsiteX16" fmla="*/ 1402080 w 3535680"/>
                  <a:gd name="connsiteY16" fmla="*/ 106680 h 514350"/>
                  <a:gd name="connsiteX17" fmla="*/ 1535430 w 3535680"/>
                  <a:gd name="connsiteY17" fmla="*/ 106680 h 514350"/>
                  <a:gd name="connsiteX18" fmla="*/ 1535430 w 3535680"/>
                  <a:gd name="connsiteY18" fmla="*/ 106680 h 514350"/>
                  <a:gd name="connsiteX19" fmla="*/ 1569720 w 3535680"/>
                  <a:gd name="connsiteY19" fmla="*/ 125730 h 514350"/>
                  <a:gd name="connsiteX20" fmla="*/ 1645920 w 3535680"/>
                  <a:gd name="connsiteY20" fmla="*/ 125730 h 514350"/>
                  <a:gd name="connsiteX21" fmla="*/ 1645920 w 3535680"/>
                  <a:gd name="connsiteY21" fmla="*/ 140970 h 514350"/>
                  <a:gd name="connsiteX22" fmla="*/ 1703070 w 3535680"/>
                  <a:gd name="connsiteY22" fmla="*/ 140970 h 514350"/>
                  <a:gd name="connsiteX23" fmla="*/ 1714500 w 3535680"/>
                  <a:gd name="connsiteY23" fmla="*/ 152400 h 514350"/>
                  <a:gd name="connsiteX24" fmla="*/ 1851660 w 3535680"/>
                  <a:gd name="connsiteY24" fmla="*/ 152400 h 514350"/>
                  <a:gd name="connsiteX25" fmla="*/ 1851660 w 3535680"/>
                  <a:gd name="connsiteY25" fmla="*/ 152400 h 514350"/>
                  <a:gd name="connsiteX26" fmla="*/ 1931670 w 3535680"/>
                  <a:gd name="connsiteY26" fmla="*/ 152400 h 514350"/>
                  <a:gd name="connsiteX27" fmla="*/ 1931670 w 3535680"/>
                  <a:gd name="connsiteY27" fmla="*/ 201930 h 514350"/>
                  <a:gd name="connsiteX28" fmla="*/ 1958340 w 3535680"/>
                  <a:gd name="connsiteY28" fmla="*/ 201930 h 514350"/>
                  <a:gd name="connsiteX29" fmla="*/ 1977390 w 3535680"/>
                  <a:gd name="connsiteY29" fmla="*/ 220980 h 514350"/>
                  <a:gd name="connsiteX30" fmla="*/ 2045970 w 3535680"/>
                  <a:gd name="connsiteY30" fmla="*/ 220980 h 514350"/>
                  <a:gd name="connsiteX31" fmla="*/ 2076450 w 3535680"/>
                  <a:gd name="connsiteY31" fmla="*/ 251460 h 514350"/>
                  <a:gd name="connsiteX32" fmla="*/ 2137410 w 3535680"/>
                  <a:gd name="connsiteY32" fmla="*/ 251460 h 514350"/>
                  <a:gd name="connsiteX33" fmla="*/ 2137410 w 3535680"/>
                  <a:gd name="connsiteY33" fmla="*/ 278130 h 514350"/>
                  <a:gd name="connsiteX34" fmla="*/ 2183130 w 3535680"/>
                  <a:gd name="connsiteY34" fmla="*/ 278130 h 514350"/>
                  <a:gd name="connsiteX35" fmla="*/ 2183130 w 3535680"/>
                  <a:gd name="connsiteY35" fmla="*/ 285750 h 514350"/>
                  <a:gd name="connsiteX36" fmla="*/ 2335530 w 3535680"/>
                  <a:gd name="connsiteY36" fmla="*/ 285750 h 514350"/>
                  <a:gd name="connsiteX37" fmla="*/ 2335530 w 3535680"/>
                  <a:gd name="connsiteY37" fmla="*/ 293370 h 514350"/>
                  <a:gd name="connsiteX38" fmla="*/ 2388870 w 3535680"/>
                  <a:gd name="connsiteY38" fmla="*/ 293370 h 514350"/>
                  <a:gd name="connsiteX39" fmla="*/ 2400300 w 3535680"/>
                  <a:gd name="connsiteY39" fmla="*/ 304800 h 514350"/>
                  <a:gd name="connsiteX40" fmla="*/ 2571750 w 3535680"/>
                  <a:gd name="connsiteY40" fmla="*/ 304800 h 514350"/>
                  <a:gd name="connsiteX41" fmla="*/ 2571750 w 3535680"/>
                  <a:gd name="connsiteY41" fmla="*/ 327660 h 514350"/>
                  <a:gd name="connsiteX42" fmla="*/ 2625090 w 3535680"/>
                  <a:gd name="connsiteY42" fmla="*/ 327660 h 514350"/>
                  <a:gd name="connsiteX43" fmla="*/ 2644140 w 3535680"/>
                  <a:gd name="connsiteY43" fmla="*/ 346710 h 514350"/>
                  <a:gd name="connsiteX44" fmla="*/ 2758440 w 3535680"/>
                  <a:gd name="connsiteY44" fmla="*/ 346710 h 514350"/>
                  <a:gd name="connsiteX45" fmla="*/ 2758440 w 3535680"/>
                  <a:gd name="connsiteY45" fmla="*/ 373380 h 514350"/>
                  <a:gd name="connsiteX46" fmla="*/ 3006090 w 3535680"/>
                  <a:gd name="connsiteY46" fmla="*/ 373380 h 514350"/>
                  <a:gd name="connsiteX47" fmla="*/ 3036570 w 3535680"/>
                  <a:gd name="connsiteY47" fmla="*/ 403860 h 514350"/>
                  <a:gd name="connsiteX48" fmla="*/ 3200400 w 3535680"/>
                  <a:gd name="connsiteY48" fmla="*/ 403860 h 514350"/>
                  <a:gd name="connsiteX49" fmla="*/ 3200400 w 3535680"/>
                  <a:gd name="connsiteY49" fmla="*/ 403860 h 514350"/>
                  <a:gd name="connsiteX50" fmla="*/ 3261360 w 3535680"/>
                  <a:gd name="connsiteY50" fmla="*/ 403860 h 514350"/>
                  <a:gd name="connsiteX51" fmla="*/ 3261360 w 3535680"/>
                  <a:gd name="connsiteY51" fmla="*/ 430530 h 514350"/>
                  <a:gd name="connsiteX52" fmla="*/ 3337560 w 3535680"/>
                  <a:gd name="connsiteY52" fmla="*/ 430530 h 514350"/>
                  <a:gd name="connsiteX53" fmla="*/ 3337560 w 3535680"/>
                  <a:gd name="connsiteY53" fmla="*/ 430530 h 514350"/>
                  <a:gd name="connsiteX54" fmla="*/ 3390900 w 3535680"/>
                  <a:gd name="connsiteY54" fmla="*/ 430530 h 514350"/>
                  <a:gd name="connsiteX55" fmla="*/ 3390900 w 3535680"/>
                  <a:gd name="connsiteY55" fmla="*/ 468630 h 514350"/>
                  <a:gd name="connsiteX56" fmla="*/ 3455670 w 3535680"/>
                  <a:gd name="connsiteY56" fmla="*/ 468630 h 514350"/>
                  <a:gd name="connsiteX57" fmla="*/ 3455670 w 3535680"/>
                  <a:gd name="connsiteY57" fmla="*/ 491490 h 514350"/>
                  <a:gd name="connsiteX58" fmla="*/ 3535680 w 3535680"/>
                  <a:gd name="connsiteY58" fmla="*/ 491490 h 514350"/>
                  <a:gd name="connsiteX59" fmla="*/ 3535680 w 3535680"/>
                  <a:gd name="connsiteY59" fmla="*/ 514350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3535680" h="514350">
                    <a:moveTo>
                      <a:pt x="0" y="0"/>
                    </a:moveTo>
                    <a:lnTo>
                      <a:pt x="186690" y="0"/>
                    </a:lnTo>
                    <a:lnTo>
                      <a:pt x="198120" y="11430"/>
                    </a:lnTo>
                    <a:lnTo>
                      <a:pt x="514350" y="11430"/>
                    </a:lnTo>
                    <a:lnTo>
                      <a:pt x="525780" y="11430"/>
                    </a:lnTo>
                    <a:lnTo>
                      <a:pt x="670560" y="11430"/>
                    </a:lnTo>
                    <a:lnTo>
                      <a:pt x="670560" y="30480"/>
                    </a:lnTo>
                    <a:lnTo>
                      <a:pt x="1097280" y="30480"/>
                    </a:lnTo>
                    <a:lnTo>
                      <a:pt x="1097280" y="30480"/>
                    </a:lnTo>
                    <a:lnTo>
                      <a:pt x="1181100" y="30480"/>
                    </a:lnTo>
                    <a:lnTo>
                      <a:pt x="1181100" y="49530"/>
                    </a:lnTo>
                    <a:lnTo>
                      <a:pt x="1242060" y="49530"/>
                    </a:lnTo>
                    <a:lnTo>
                      <a:pt x="1242060" y="76200"/>
                    </a:lnTo>
                    <a:lnTo>
                      <a:pt x="1303020" y="76200"/>
                    </a:lnTo>
                    <a:lnTo>
                      <a:pt x="1314450" y="87630"/>
                    </a:lnTo>
                    <a:lnTo>
                      <a:pt x="1402080" y="87630"/>
                    </a:lnTo>
                    <a:lnTo>
                      <a:pt x="1402080" y="106680"/>
                    </a:lnTo>
                    <a:lnTo>
                      <a:pt x="1535430" y="106680"/>
                    </a:lnTo>
                    <a:lnTo>
                      <a:pt x="1535430" y="106680"/>
                    </a:lnTo>
                    <a:cubicBezTo>
                      <a:pt x="1567516" y="122723"/>
                      <a:pt x="1557878" y="113888"/>
                      <a:pt x="1569720" y="125730"/>
                    </a:cubicBezTo>
                    <a:lnTo>
                      <a:pt x="1645920" y="125730"/>
                    </a:lnTo>
                    <a:lnTo>
                      <a:pt x="1645920" y="140970"/>
                    </a:lnTo>
                    <a:lnTo>
                      <a:pt x="1703070" y="140970"/>
                    </a:lnTo>
                    <a:lnTo>
                      <a:pt x="1714500" y="152400"/>
                    </a:lnTo>
                    <a:lnTo>
                      <a:pt x="1851660" y="152400"/>
                    </a:lnTo>
                    <a:lnTo>
                      <a:pt x="1851660" y="152400"/>
                    </a:lnTo>
                    <a:lnTo>
                      <a:pt x="1931670" y="152400"/>
                    </a:lnTo>
                    <a:lnTo>
                      <a:pt x="1931670" y="201930"/>
                    </a:lnTo>
                    <a:lnTo>
                      <a:pt x="1958340" y="201930"/>
                    </a:lnTo>
                    <a:lnTo>
                      <a:pt x="1977390" y="220980"/>
                    </a:lnTo>
                    <a:lnTo>
                      <a:pt x="2045970" y="220980"/>
                    </a:lnTo>
                    <a:lnTo>
                      <a:pt x="2076450" y="251460"/>
                    </a:lnTo>
                    <a:lnTo>
                      <a:pt x="2137410" y="251460"/>
                    </a:lnTo>
                    <a:lnTo>
                      <a:pt x="2137410" y="278130"/>
                    </a:lnTo>
                    <a:lnTo>
                      <a:pt x="2183130" y="278130"/>
                    </a:lnTo>
                    <a:lnTo>
                      <a:pt x="2183130" y="285750"/>
                    </a:lnTo>
                    <a:lnTo>
                      <a:pt x="2335530" y="285750"/>
                    </a:lnTo>
                    <a:lnTo>
                      <a:pt x="2335530" y="293370"/>
                    </a:lnTo>
                    <a:lnTo>
                      <a:pt x="2388870" y="293370"/>
                    </a:lnTo>
                    <a:lnTo>
                      <a:pt x="2400300" y="304800"/>
                    </a:lnTo>
                    <a:lnTo>
                      <a:pt x="2571750" y="304800"/>
                    </a:lnTo>
                    <a:lnTo>
                      <a:pt x="2571750" y="327660"/>
                    </a:lnTo>
                    <a:lnTo>
                      <a:pt x="2625090" y="327660"/>
                    </a:lnTo>
                    <a:lnTo>
                      <a:pt x="2644140" y="346710"/>
                    </a:lnTo>
                    <a:lnTo>
                      <a:pt x="2758440" y="346710"/>
                    </a:lnTo>
                    <a:lnTo>
                      <a:pt x="2758440" y="373380"/>
                    </a:lnTo>
                    <a:lnTo>
                      <a:pt x="3006090" y="373380"/>
                    </a:lnTo>
                    <a:lnTo>
                      <a:pt x="3036570" y="403860"/>
                    </a:lnTo>
                    <a:lnTo>
                      <a:pt x="3200400" y="403860"/>
                    </a:lnTo>
                    <a:lnTo>
                      <a:pt x="3200400" y="403860"/>
                    </a:lnTo>
                    <a:lnTo>
                      <a:pt x="3261360" y="403860"/>
                    </a:lnTo>
                    <a:lnTo>
                      <a:pt x="3261360" y="430530"/>
                    </a:lnTo>
                    <a:lnTo>
                      <a:pt x="3337560" y="430530"/>
                    </a:lnTo>
                    <a:lnTo>
                      <a:pt x="3337560" y="430530"/>
                    </a:lnTo>
                    <a:lnTo>
                      <a:pt x="3390900" y="430530"/>
                    </a:lnTo>
                    <a:lnTo>
                      <a:pt x="3390900" y="468630"/>
                    </a:lnTo>
                    <a:lnTo>
                      <a:pt x="3455670" y="468630"/>
                    </a:lnTo>
                    <a:lnTo>
                      <a:pt x="3455670" y="491490"/>
                    </a:lnTo>
                    <a:lnTo>
                      <a:pt x="3535680" y="491490"/>
                    </a:lnTo>
                    <a:lnTo>
                      <a:pt x="3535680" y="514350"/>
                    </a:lnTo>
                  </a:path>
                </a:pathLst>
              </a:custGeom>
              <a:noFill/>
              <a:ln w="28575">
                <a:solidFill>
                  <a:srgbClr val="015873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DD1CDCB8-621C-4704-A5C4-560E9022E218}"/>
                  </a:ext>
                </a:extLst>
              </p:cNvPr>
              <p:cNvSpPr/>
              <p:nvPr/>
            </p:nvSpPr>
            <p:spPr bwMode="auto">
              <a:xfrm>
                <a:off x="10652760" y="2971800"/>
                <a:ext cx="784860" cy="125730"/>
              </a:xfrm>
              <a:custGeom>
                <a:avLst/>
                <a:gdLst>
                  <a:gd name="connsiteX0" fmla="*/ 784860 w 784860"/>
                  <a:gd name="connsiteY0" fmla="*/ 125730 h 125730"/>
                  <a:gd name="connsiteX1" fmla="*/ 678180 w 784860"/>
                  <a:gd name="connsiteY1" fmla="*/ 125730 h 125730"/>
                  <a:gd name="connsiteX2" fmla="*/ 678180 w 784860"/>
                  <a:gd name="connsiteY2" fmla="*/ 106680 h 125730"/>
                  <a:gd name="connsiteX3" fmla="*/ 552450 w 784860"/>
                  <a:gd name="connsiteY3" fmla="*/ 106680 h 125730"/>
                  <a:gd name="connsiteX4" fmla="*/ 552450 w 784860"/>
                  <a:gd name="connsiteY4" fmla="*/ 106680 h 125730"/>
                  <a:gd name="connsiteX5" fmla="*/ 483870 w 784860"/>
                  <a:gd name="connsiteY5" fmla="*/ 106680 h 125730"/>
                  <a:gd name="connsiteX6" fmla="*/ 483870 w 784860"/>
                  <a:gd name="connsiteY6" fmla="*/ 87630 h 125730"/>
                  <a:gd name="connsiteX7" fmla="*/ 434340 w 784860"/>
                  <a:gd name="connsiteY7" fmla="*/ 87630 h 125730"/>
                  <a:gd name="connsiteX8" fmla="*/ 434340 w 784860"/>
                  <a:gd name="connsiteY8" fmla="*/ 41910 h 125730"/>
                  <a:gd name="connsiteX9" fmla="*/ 339090 w 784860"/>
                  <a:gd name="connsiteY9" fmla="*/ 41910 h 125730"/>
                  <a:gd name="connsiteX10" fmla="*/ 339090 w 784860"/>
                  <a:gd name="connsiteY10" fmla="*/ 34290 h 125730"/>
                  <a:gd name="connsiteX11" fmla="*/ 281940 w 784860"/>
                  <a:gd name="connsiteY11" fmla="*/ 34290 h 125730"/>
                  <a:gd name="connsiteX12" fmla="*/ 281940 w 784860"/>
                  <a:gd name="connsiteY12" fmla="*/ 0 h 125730"/>
                  <a:gd name="connsiteX13" fmla="*/ 160020 w 784860"/>
                  <a:gd name="connsiteY13" fmla="*/ 0 h 125730"/>
                  <a:gd name="connsiteX14" fmla="*/ 160020 w 784860"/>
                  <a:gd name="connsiteY14" fmla="*/ 0 h 125730"/>
                  <a:gd name="connsiteX15" fmla="*/ 0 w 784860"/>
                  <a:gd name="connsiteY15" fmla="*/ 0 h 125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784860" h="125730">
                    <a:moveTo>
                      <a:pt x="784860" y="125730"/>
                    </a:moveTo>
                    <a:lnTo>
                      <a:pt x="678180" y="125730"/>
                    </a:lnTo>
                    <a:lnTo>
                      <a:pt x="678180" y="106680"/>
                    </a:lnTo>
                    <a:lnTo>
                      <a:pt x="552450" y="106680"/>
                    </a:lnTo>
                    <a:lnTo>
                      <a:pt x="552450" y="106680"/>
                    </a:lnTo>
                    <a:lnTo>
                      <a:pt x="483870" y="106680"/>
                    </a:lnTo>
                    <a:lnTo>
                      <a:pt x="483870" y="87630"/>
                    </a:lnTo>
                    <a:lnTo>
                      <a:pt x="434340" y="87630"/>
                    </a:lnTo>
                    <a:lnTo>
                      <a:pt x="434340" y="41910"/>
                    </a:lnTo>
                    <a:lnTo>
                      <a:pt x="339090" y="41910"/>
                    </a:lnTo>
                    <a:lnTo>
                      <a:pt x="339090" y="34290"/>
                    </a:lnTo>
                    <a:lnTo>
                      <a:pt x="281940" y="34290"/>
                    </a:lnTo>
                    <a:lnTo>
                      <a:pt x="281940" y="0"/>
                    </a:lnTo>
                    <a:lnTo>
                      <a:pt x="160020" y="0"/>
                    </a:lnTo>
                    <a:lnTo>
                      <a:pt x="160020" y="0"/>
                    </a:lnTo>
                    <a:lnTo>
                      <a:pt x="0" y="0"/>
                    </a:lnTo>
                  </a:path>
                </a:pathLst>
              </a:custGeom>
              <a:noFill/>
              <a:ln w="28575">
                <a:solidFill>
                  <a:srgbClr val="015873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E4BB90D1-3867-4D6C-A8F5-A3C6A07EC85E}"/>
                  </a:ext>
                </a:extLst>
              </p:cNvPr>
              <p:cNvSpPr/>
              <p:nvPr/>
            </p:nvSpPr>
            <p:spPr bwMode="auto">
              <a:xfrm>
                <a:off x="9536430" y="2727960"/>
                <a:ext cx="1165860" cy="228600"/>
              </a:xfrm>
              <a:custGeom>
                <a:avLst/>
                <a:gdLst>
                  <a:gd name="connsiteX0" fmla="*/ 0 w 1165860"/>
                  <a:gd name="connsiteY0" fmla="*/ 0 h 228600"/>
                  <a:gd name="connsiteX1" fmla="*/ 0 w 1165860"/>
                  <a:gd name="connsiteY1" fmla="*/ 0 h 228600"/>
                  <a:gd name="connsiteX2" fmla="*/ 30480 w 1165860"/>
                  <a:gd name="connsiteY2" fmla="*/ 30480 h 228600"/>
                  <a:gd name="connsiteX3" fmla="*/ 57150 w 1165860"/>
                  <a:gd name="connsiteY3" fmla="*/ 57150 h 228600"/>
                  <a:gd name="connsiteX4" fmla="*/ 133350 w 1165860"/>
                  <a:gd name="connsiteY4" fmla="*/ 57150 h 228600"/>
                  <a:gd name="connsiteX5" fmla="*/ 133350 w 1165860"/>
                  <a:gd name="connsiteY5" fmla="*/ 91440 h 228600"/>
                  <a:gd name="connsiteX6" fmla="*/ 228600 w 1165860"/>
                  <a:gd name="connsiteY6" fmla="*/ 91440 h 228600"/>
                  <a:gd name="connsiteX7" fmla="*/ 228600 w 1165860"/>
                  <a:gd name="connsiteY7" fmla="*/ 106680 h 228600"/>
                  <a:gd name="connsiteX8" fmla="*/ 323850 w 1165860"/>
                  <a:gd name="connsiteY8" fmla="*/ 106680 h 228600"/>
                  <a:gd name="connsiteX9" fmla="*/ 323850 w 1165860"/>
                  <a:gd name="connsiteY9" fmla="*/ 125730 h 228600"/>
                  <a:gd name="connsiteX10" fmla="*/ 384810 w 1165860"/>
                  <a:gd name="connsiteY10" fmla="*/ 125730 h 228600"/>
                  <a:gd name="connsiteX11" fmla="*/ 384810 w 1165860"/>
                  <a:gd name="connsiteY11" fmla="*/ 140970 h 228600"/>
                  <a:gd name="connsiteX12" fmla="*/ 476250 w 1165860"/>
                  <a:gd name="connsiteY12" fmla="*/ 140970 h 228600"/>
                  <a:gd name="connsiteX13" fmla="*/ 476250 w 1165860"/>
                  <a:gd name="connsiteY13" fmla="*/ 160020 h 228600"/>
                  <a:gd name="connsiteX14" fmla="*/ 537210 w 1165860"/>
                  <a:gd name="connsiteY14" fmla="*/ 160020 h 228600"/>
                  <a:gd name="connsiteX15" fmla="*/ 537210 w 1165860"/>
                  <a:gd name="connsiteY15" fmla="*/ 194310 h 228600"/>
                  <a:gd name="connsiteX16" fmla="*/ 681990 w 1165860"/>
                  <a:gd name="connsiteY16" fmla="*/ 194310 h 228600"/>
                  <a:gd name="connsiteX17" fmla="*/ 681990 w 1165860"/>
                  <a:gd name="connsiteY17" fmla="*/ 194310 h 228600"/>
                  <a:gd name="connsiteX18" fmla="*/ 765810 w 1165860"/>
                  <a:gd name="connsiteY18" fmla="*/ 194310 h 228600"/>
                  <a:gd name="connsiteX19" fmla="*/ 765810 w 1165860"/>
                  <a:gd name="connsiteY19" fmla="*/ 228600 h 228600"/>
                  <a:gd name="connsiteX20" fmla="*/ 1074420 w 1165860"/>
                  <a:gd name="connsiteY20" fmla="*/ 228600 h 228600"/>
                  <a:gd name="connsiteX21" fmla="*/ 1074420 w 1165860"/>
                  <a:gd name="connsiteY21" fmla="*/ 228600 h 228600"/>
                  <a:gd name="connsiteX22" fmla="*/ 1165860 w 1165860"/>
                  <a:gd name="connsiteY22" fmla="*/ 2286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165860" h="228600">
                    <a:moveTo>
                      <a:pt x="0" y="0"/>
                    </a:moveTo>
                    <a:lnTo>
                      <a:pt x="0" y="0"/>
                    </a:lnTo>
                    <a:lnTo>
                      <a:pt x="30480" y="30480"/>
                    </a:lnTo>
                    <a:lnTo>
                      <a:pt x="57150" y="57150"/>
                    </a:lnTo>
                    <a:lnTo>
                      <a:pt x="133350" y="57150"/>
                    </a:lnTo>
                    <a:lnTo>
                      <a:pt x="133350" y="91440"/>
                    </a:lnTo>
                    <a:lnTo>
                      <a:pt x="228600" y="91440"/>
                    </a:lnTo>
                    <a:lnTo>
                      <a:pt x="228600" y="106680"/>
                    </a:lnTo>
                    <a:lnTo>
                      <a:pt x="323850" y="106680"/>
                    </a:lnTo>
                    <a:lnTo>
                      <a:pt x="323850" y="125730"/>
                    </a:lnTo>
                    <a:lnTo>
                      <a:pt x="384810" y="125730"/>
                    </a:lnTo>
                    <a:lnTo>
                      <a:pt x="384810" y="140970"/>
                    </a:lnTo>
                    <a:lnTo>
                      <a:pt x="476250" y="140970"/>
                    </a:lnTo>
                    <a:lnTo>
                      <a:pt x="476250" y="160020"/>
                    </a:lnTo>
                    <a:lnTo>
                      <a:pt x="537210" y="160020"/>
                    </a:lnTo>
                    <a:lnTo>
                      <a:pt x="537210" y="194310"/>
                    </a:lnTo>
                    <a:lnTo>
                      <a:pt x="681990" y="194310"/>
                    </a:lnTo>
                    <a:lnTo>
                      <a:pt x="681990" y="194310"/>
                    </a:lnTo>
                    <a:lnTo>
                      <a:pt x="765810" y="194310"/>
                    </a:lnTo>
                    <a:lnTo>
                      <a:pt x="765810" y="228600"/>
                    </a:lnTo>
                    <a:lnTo>
                      <a:pt x="1074420" y="228600"/>
                    </a:lnTo>
                    <a:lnTo>
                      <a:pt x="1074420" y="228600"/>
                    </a:lnTo>
                    <a:lnTo>
                      <a:pt x="1165860" y="228600"/>
                    </a:lnTo>
                  </a:path>
                </a:pathLst>
              </a:custGeom>
              <a:noFill/>
              <a:ln w="28575">
                <a:solidFill>
                  <a:srgbClr val="015873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12F110CA-C53F-4332-9C1A-800966ED3FDC}"/>
                </a:ext>
              </a:extLst>
            </p:cNvPr>
            <p:cNvSpPr txBox="1"/>
            <p:nvPr/>
          </p:nvSpPr>
          <p:spPr bwMode="auto">
            <a:xfrm>
              <a:off x="5992660" y="1932544"/>
              <a:ext cx="5539645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OS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CF74DF1B-5906-49E5-9E99-2FC6D6986C45}"/>
                </a:ext>
              </a:extLst>
            </p:cNvPr>
            <p:cNvSpPr txBox="1"/>
            <p:nvPr/>
          </p:nvSpPr>
          <p:spPr bwMode="auto">
            <a:xfrm>
              <a:off x="2231427" y="1309734"/>
              <a:ext cx="1980216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Outcomes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5520E256-363A-4F5C-8655-3DA3E5D600CE}"/>
                </a:ext>
              </a:extLst>
            </p:cNvPr>
            <p:cNvSpPr txBox="1"/>
            <p:nvPr/>
          </p:nvSpPr>
          <p:spPr bwMode="auto">
            <a:xfrm rot="16200000">
              <a:off x="3714213" y="3594017"/>
              <a:ext cx="3029169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OS (%)</a:t>
              </a: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F2CF9CC5-AD02-4D9B-8239-8A4BB3291FB3}"/>
                </a:ext>
              </a:extLst>
            </p:cNvPr>
            <p:cNvSpPr/>
            <p:nvPr/>
          </p:nvSpPr>
          <p:spPr bwMode="auto">
            <a:xfrm>
              <a:off x="7121925" y="5485115"/>
              <a:ext cx="3143289" cy="304703"/>
            </a:xfrm>
            <a:prstGeom prst="rect">
              <a:avLst/>
            </a:prstGeom>
            <a:solidFill>
              <a:srgbClr val="FFFFFF"/>
            </a:solidFill>
            <a:ln w="0">
              <a:noFill/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B4D230F9-61C4-4AA3-9F1F-E77701B9CCE2}"/>
                </a:ext>
              </a:extLst>
            </p:cNvPr>
            <p:cNvSpPr txBox="1"/>
            <p:nvPr/>
          </p:nvSpPr>
          <p:spPr bwMode="auto">
            <a:xfrm>
              <a:off x="5918348" y="5502089"/>
              <a:ext cx="544907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Mos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681C44D0-6A5F-45ED-8C21-62F2513875AC}"/>
                </a:ext>
              </a:extLst>
            </p:cNvPr>
            <p:cNvSpPr txBox="1"/>
            <p:nvPr/>
          </p:nvSpPr>
          <p:spPr bwMode="auto">
            <a:xfrm>
              <a:off x="6631981" y="4468514"/>
              <a:ext cx="1203984" cy="5847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15873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biraterone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15873"/>
                  </a:solidFill>
                  <a:effectLst/>
                  <a:uLnTx/>
                  <a:uFillTx/>
                  <a:latin typeface="Calibri" panose="020F0502020204030204" pitchFamily="34" charset="0"/>
                </a:rPr>
              </a:b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1471D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Docetaxel</a:t>
              </a: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8EF7D919-F22A-4094-AD8F-B9838882ADA9}"/>
                </a:ext>
              </a:extLst>
            </p:cNvPr>
            <p:cNvSpPr txBox="1"/>
            <p:nvPr/>
          </p:nvSpPr>
          <p:spPr bwMode="auto">
            <a:xfrm>
              <a:off x="11079013" y="5192964"/>
              <a:ext cx="699796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48</a:t>
              </a:r>
            </a:p>
          </p:txBody>
        </p: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66731EAB-95A0-4A98-BB10-499A32454364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5998176" y="2219982"/>
              <a:ext cx="0" cy="29816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66F888F8-C251-490E-84B8-E373E00083EB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971593" y="5184615"/>
              <a:ext cx="545731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1FEFD2D9-298D-40FE-A4CF-CCF82DFF4433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1430000" y="5174302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0372C8F3-163A-4CD9-AAB5-74C87B246A3D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5992660" y="5174302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F542E4C7-6B73-460C-850E-4A15E3FF76BB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345526" y="5174302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B806781E-D80C-4F3E-9D96-E4AA1B6598B8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707018" y="5174302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E5D5CEC9-D005-47D6-AF5A-F04B8BCD6ED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0068510" y="5174302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62751321-B216-4D5B-9D52-74FBEDBBC9A5}"/>
                </a:ext>
              </a:extLst>
            </p:cNvPr>
            <p:cNvSpPr txBox="1"/>
            <p:nvPr/>
          </p:nvSpPr>
          <p:spPr bwMode="auto">
            <a:xfrm>
              <a:off x="5649540" y="5192964"/>
              <a:ext cx="699796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0</a:t>
              </a:r>
            </a:p>
          </p:txBody>
        </p: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D31695CC-0260-4187-87E5-D4FB4C4B2D26}"/>
                </a:ext>
              </a:extLst>
            </p:cNvPr>
            <p:cNvSpPr txBox="1"/>
            <p:nvPr/>
          </p:nvSpPr>
          <p:spPr bwMode="auto">
            <a:xfrm>
              <a:off x="7000439" y="5192964"/>
              <a:ext cx="699796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12</a:t>
              </a: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C926A872-939F-47D6-BFCF-04EB41FE668B}"/>
                </a:ext>
              </a:extLst>
            </p:cNvPr>
            <p:cNvSpPr txBox="1"/>
            <p:nvPr/>
          </p:nvSpPr>
          <p:spPr bwMode="auto">
            <a:xfrm>
              <a:off x="8359964" y="5192964"/>
              <a:ext cx="699796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24</a:t>
              </a: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29FEFFA4-4B87-43AB-BF48-9FDD4E88A88D}"/>
                </a:ext>
              </a:extLst>
            </p:cNvPr>
            <p:cNvSpPr txBox="1"/>
            <p:nvPr/>
          </p:nvSpPr>
          <p:spPr bwMode="auto">
            <a:xfrm>
              <a:off x="9719489" y="5192964"/>
              <a:ext cx="699796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36</a:t>
              </a:r>
            </a:p>
          </p:txBody>
        </p: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6A685553-8B1C-42FA-B774-17185D7C7ECF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5918348" y="2234108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912CC7EA-B2AD-46C6-981F-67E1F4CCB848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5918348" y="2816745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A64A366C-526D-40E0-A4F8-EB4063D18C78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5918348" y="3408713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C33D26B5-ABF5-4937-ABF8-64A6E0967CCE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5918348" y="4000681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F1BE141A-442E-4FE0-A174-C84394D161C3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5918348" y="4592649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16C4D9CE-A9FC-4DEB-A04F-1901EF7EC3FE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5918348" y="5184615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906AF116-14C8-45A5-9084-6E7B3DEF3630}"/>
                </a:ext>
              </a:extLst>
            </p:cNvPr>
            <p:cNvSpPr txBox="1"/>
            <p:nvPr/>
          </p:nvSpPr>
          <p:spPr bwMode="auto">
            <a:xfrm>
              <a:off x="5347333" y="2035035"/>
              <a:ext cx="607454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100</a:t>
              </a:r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E40D3571-1DD9-44FF-BB1B-327043E8A03B}"/>
                </a:ext>
              </a:extLst>
            </p:cNvPr>
            <p:cNvSpPr txBox="1"/>
            <p:nvPr/>
          </p:nvSpPr>
          <p:spPr bwMode="auto">
            <a:xfrm>
              <a:off x="5347333" y="2628530"/>
              <a:ext cx="607454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80</a:t>
              </a:r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7AFE588F-8F8F-432B-83A2-75FF069001D6}"/>
                </a:ext>
              </a:extLst>
            </p:cNvPr>
            <p:cNvSpPr txBox="1"/>
            <p:nvPr/>
          </p:nvSpPr>
          <p:spPr bwMode="auto">
            <a:xfrm>
              <a:off x="5347333" y="3222025"/>
              <a:ext cx="607454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60</a:t>
              </a: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D287AC44-F4F3-438C-9260-72BD9308C924}"/>
                </a:ext>
              </a:extLst>
            </p:cNvPr>
            <p:cNvSpPr txBox="1"/>
            <p:nvPr/>
          </p:nvSpPr>
          <p:spPr bwMode="auto">
            <a:xfrm>
              <a:off x="5347333" y="3815520"/>
              <a:ext cx="607454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40</a:t>
              </a:r>
            </a:p>
          </p:txBody>
        </p: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586EF651-7F45-4FBC-A11C-AD22ECD0ADDB}"/>
                </a:ext>
              </a:extLst>
            </p:cNvPr>
            <p:cNvSpPr txBox="1"/>
            <p:nvPr/>
          </p:nvSpPr>
          <p:spPr bwMode="auto">
            <a:xfrm>
              <a:off x="5347333" y="4409015"/>
              <a:ext cx="607454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20</a:t>
              </a:r>
            </a:p>
          </p:txBody>
        </p: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02D10760-87A0-4977-938B-3E8A31E05633}"/>
                </a:ext>
              </a:extLst>
            </p:cNvPr>
            <p:cNvSpPr txBox="1"/>
            <p:nvPr/>
          </p:nvSpPr>
          <p:spPr bwMode="auto">
            <a:xfrm>
              <a:off x="5347333" y="5002509"/>
              <a:ext cx="607454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0</a:t>
              </a:r>
            </a:p>
          </p:txBody>
        </p: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51F58B47-39A6-4B28-A1B5-51BCE7AF162F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324071" y="4641575"/>
              <a:ext cx="307910" cy="0"/>
            </a:xfrm>
            <a:prstGeom prst="line">
              <a:avLst/>
            </a:prstGeom>
            <a:noFill/>
            <a:ln w="28575" cap="flat" cmpd="sng" algn="ctr">
              <a:solidFill>
                <a:srgbClr val="01587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CD519685-2D8E-4DD1-BFA4-1A530BFB3FB3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324071" y="4905942"/>
              <a:ext cx="307910" cy="0"/>
            </a:xfrm>
            <a:prstGeom prst="line">
              <a:avLst/>
            </a:prstGeom>
            <a:noFill/>
            <a:ln w="28575" cap="flat" cmpd="sng" algn="ctr">
              <a:solidFill>
                <a:srgbClr val="E147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C943FDC9-17B1-4631-9418-31123BAA85E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14175" y="6029865"/>
              <a:ext cx="2014720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421FB9EC-BE18-4E87-8207-93CD7E1AA9B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44793" y="6029865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54775951-7878-4841-B6E7-B80EBECC3F4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236344" y="6029865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1F7C5A6B-F643-4051-B8D5-A3E3DAF9D47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927895" y="6029865"/>
              <a:ext cx="0" cy="6400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DFF8E94C-C036-45F4-B6F7-6FCC6805BB38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236344" y="1703339"/>
              <a:ext cx="0" cy="4326527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6C48CC99-1618-4C53-A76C-AAD40BA5CCB4}"/>
                </a:ext>
              </a:extLst>
            </p:cNvPr>
            <p:cNvGrpSpPr/>
            <p:nvPr/>
          </p:nvGrpSpPr>
          <p:grpSpPr>
            <a:xfrm>
              <a:off x="2222801" y="2141465"/>
              <a:ext cx="1705094" cy="3937396"/>
              <a:chOff x="2222801" y="2141465"/>
              <a:chExt cx="1705094" cy="3916393"/>
            </a:xfrm>
          </p:grpSpPr>
          <p:cxnSp>
            <p:nvCxnSpPr>
              <p:cNvPr id="233" name="Straight Connector 232">
                <a:extLst>
                  <a:ext uri="{FF2B5EF4-FFF2-40B4-BE49-F238E27FC236}">
                    <a16:creationId xmlns:a16="http://schemas.microsoft.com/office/drawing/2014/main" id="{79629A51-A74C-4354-A7CA-50D5ABB7829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2222801" y="2141465"/>
                <a:ext cx="0" cy="3907766"/>
              </a:xfrm>
              <a:prstGeom prst="line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34" name="Straight Connector 233">
                <a:extLst>
                  <a:ext uri="{FF2B5EF4-FFF2-40B4-BE49-F238E27FC236}">
                    <a16:creationId xmlns:a16="http://schemas.microsoft.com/office/drawing/2014/main" id="{0B4F2453-962B-4405-B2E4-6C538FCDA6E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2544793" y="2141465"/>
                <a:ext cx="0" cy="3916393"/>
              </a:xfrm>
              <a:prstGeom prst="line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35" name="Straight Connector 234">
                <a:extLst>
                  <a:ext uri="{FF2B5EF4-FFF2-40B4-BE49-F238E27FC236}">
                    <a16:creationId xmlns:a16="http://schemas.microsoft.com/office/drawing/2014/main" id="{F965D542-A85D-4B88-9DE4-239AF5AF3E9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3927895" y="2141465"/>
                <a:ext cx="0" cy="3916393"/>
              </a:xfrm>
              <a:prstGeom prst="line">
                <a:avLst/>
              </a:prstGeom>
              <a:noFill/>
              <a:ln w="28575" cap="flat" cmpd="sng" algn="ctr">
                <a:solidFill>
                  <a:srgbClr val="00000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7E836C19-E173-4CC9-AC24-440AA2AE339C}"/>
                </a:ext>
              </a:extLst>
            </p:cNvPr>
            <p:cNvSpPr txBox="1"/>
            <p:nvPr/>
          </p:nvSpPr>
          <p:spPr bwMode="auto">
            <a:xfrm>
              <a:off x="2222801" y="6204254"/>
              <a:ext cx="1845343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HR</a:t>
              </a: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621FFD0D-A146-467C-BC29-7B92E11D6F77}"/>
                </a:ext>
              </a:extLst>
            </p:cNvPr>
            <p:cNvSpPr txBox="1"/>
            <p:nvPr/>
          </p:nvSpPr>
          <p:spPr bwMode="auto">
            <a:xfrm>
              <a:off x="3701016" y="6050366"/>
              <a:ext cx="453757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2.0</a:t>
              </a:r>
            </a:p>
          </p:txBody>
        </p: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073FF90E-10DD-4565-80CB-744EC7F97AEA}"/>
                </a:ext>
              </a:extLst>
            </p:cNvPr>
            <p:cNvSpPr txBox="1"/>
            <p:nvPr/>
          </p:nvSpPr>
          <p:spPr bwMode="auto">
            <a:xfrm>
              <a:off x="2316895" y="6050366"/>
              <a:ext cx="453757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0.5</a:t>
              </a: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95E6B027-04DF-4C2D-93E0-AB97B488462C}"/>
                </a:ext>
              </a:extLst>
            </p:cNvPr>
            <p:cNvSpPr txBox="1"/>
            <p:nvPr/>
          </p:nvSpPr>
          <p:spPr bwMode="auto">
            <a:xfrm>
              <a:off x="3008956" y="6050366"/>
              <a:ext cx="453757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1.0</a:t>
              </a: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F74E79DE-48A3-46D7-9752-BC57256A1141}"/>
                </a:ext>
              </a:extLst>
            </p:cNvPr>
            <p:cNvSpPr txBox="1"/>
            <p:nvPr/>
          </p:nvSpPr>
          <p:spPr bwMode="auto">
            <a:xfrm>
              <a:off x="2124349" y="1571114"/>
              <a:ext cx="1111996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Favors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</a:b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15873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SoC + AAP</a:t>
              </a: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65CB9C10-0551-4E40-811C-37AD2E845678}"/>
                </a:ext>
              </a:extLst>
            </p:cNvPr>
            <p:cNvSpPr txBox="1"/>
            <p:nvPr/>
          </p:nvSpPr>
          <p:spPr bwMode="auto">
            <a:xfrm>
              <a:off x="3158413" y="1571114"/>
              <a:ext cx="1255891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Favors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</a:b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1471D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SoC + DocP</a:t>
              </a:r>
            </a:p>
          </p:txBody>
        </p:sp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8C2210F1-BB9C-4377-A01D-93E12B5D8FEA}"/>
                </a:ext>
              </a:extLst>
            </p:cNvPr>
            <p:cNvSpPr txBox="1"/>
            <p:nvPr/>
          </p:nvSpPr>
          <p:spPr bwMode="auto">
            <a:xfrm>
              <a:off x="255390" y="2165220"/>
              <a:ext cx="1853972" cy="313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Failure-free survival</a:t>
              </a:r>
            </a:p>
          </p:txBody>
        </p: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93CB45A7-6CA8-4586-9516-22A5E1982EA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2156151" y="2310349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2" name="Straight Connector 191">
              <a:extLst>
                <a:ext uri="{FF2B5EF4-FFF2-40B4-BE49-F238E27FC236}">
                  <a16:creationId xmlns:a16="http://schemas.microsoft.com/office/drawing/2014/main" id="{F441B4F6-2B26-4B4E-A34A-03FC71473098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2156151" y="3010491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A1998D27-4DEA-4B4A-B36E-5B022689AD76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2156151" y="3710633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5BB7E469-59E3-442B-8264-E2FEC3D3D0CB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2156151" y="4410775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5" name="Straight Connector 194">
              <a:extLst>
                <a:ext uri="{FF2B5EF4-FFF2-40B4-BE49-F238E27FC236}">
                  <a16:creationId xmlns:a16="http://schemas.microsoft.com/office/drawing/2014/main" id="{412841D5-BD5F-4240-A296-72655F1A1AEC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2156151" y="5110917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8E135564-5F5A-405E-9B60-F84A4974B9F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2156151" y="5811057"/>
              <a:ext cx="64008" cy="0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590AF8D6-35A7-490E-BDF6-034F73B96DC0}"/>
                </a:ext>
              </a:extLst>
            </p:cNvPr>
            <p:cNvSpPr txBox="1"/>
            <p:nvPr/>
          </p:nvSpPr>
          <p:spPr bwMode="auto">
            <a:xfrm>
              <a:off x="255390" y="2850772"/>
              <a:ext cx="1853972" cy="313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 anchor="ctr" anchorCtr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PFS</a:t>
              </a: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562FED22-E897-4A63-B868-4391E5AB77D7}"/>
                </a:ext>
              </a:extLst>
            </p:cNvPr>
            <p:cNvSpPr txBox="1"/>
            <p:nvPr/>
          </p:nvSpPr>
          <p:spPr bwMode="auto">
            <a:xfrm>
              <a:off x="269916" y="3570914"/>
              <a:ext cx="1839445" cy="313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 anchor="ctr" anchorCtr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Metastatic PFS</a:t>
              </a:r>
            </a:p>
          </p:txBody>
        </p:sp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8A46950F-8AF4-425B-AD80-D2E2349429E0}"/>
                </a:ext>
              </a:extLst>
            </p:cNvPr>
            <p:cNvSpPr txBox="1"/>
            <p:nvPr/>
          </p:nvSpPr>
          <p:spPr bwMode="auto">
            <a:xfrm>
              <a:off x="255390" y="4125958"/>
              <a:ext cx="1853972" cy="5355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Symptomatic skeletal events</a:t>
              </a: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A64BA5B2-E2E6-4B07-8E37-20B18D9C1F6C}"/>
                </a:ext>
              </a:extLst>
            </p:cNvPr>
            <p:cNvSpPr txBox="1"/>
            <p:nvPr/>
          </p:nvSpPr>
          <p:spPr bwMode="auto">
            <a:xfrm>
              <a:off x="255390" y="4856734"/>
              <a:ext cx="1853972" cy="5355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Cause-specific survival</a:t>
              </a:r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C0DFF13E-AF6C-4479-8BD1-3E4C6A1AF417}"/>
                </a:ext>
              </a:extLst>
            </p:cNvPr>
            <p:cNvSpPr txBox="1"/>
            <p:nvPr/>
          </p:nvSpPr>
          <p:spPr bwMode="auto">
            <a:xfrm>
              <a:off x="255390" y="5643058"/>
              <a:ext cx="1853972" cy="313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 anchor="ctr" anchorCtr="0">
              <a:spAutoFit/>
            </a:bodyPr>
            <a:lstStyle/>
            <a:p>
              <a:pPr marL="0" marR="0" lvl="0" indent="0" algn="r" defTabSz="1219170" eaLnBrk="1" fontAlgn="auto" latinLnBrk="0" hangingPunct="1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OS</a:t>
              </a:r>
            </a:p>
          </p:txBody>
        </p:sp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3A2FF11F-24CA-4386-8072-5D2FDB87DA47}"/>
                </a:ext>
              </a:extLst>
            </p:cNvPr>
            <p:cNvGrpSpPr/>
            <p:nvPr/>
          </p:nvGrpSpPr>
          <p:grpSpPr>
            <a:xfrm>
              <a:off x="2285201" y="2273624"/>
              <a:ext cx="1426599" cy="3597611"/>
              <a:chOff x="2285201" y="2273624"/>
              <a:chExt cx="1426599" cy="3597611"/>
            </a:xfrm>
          </p:grpSpPr>
          <p:grpSp>
            <p:nvGrpSpPr>
              <p:cNvPr id="203" name="Group 202">
                <a:extLst>
                  <a:ext uri="{FF2B5EF4-FFF2-40B4-BE49-F238E27FC236}">
                    <a16:creationId xmlns:a16="http://schemas.microsoft.com/office/drawing/2014/main" id="{3E4A7C2F-08F4-4903-8DBF-14BD7EDBF6E9}"/>
                  </a:ext>
                </a:extLst>
              </p:cNvPr>
              <p:cNvGrpSpPr/>
              <p:nvPr/>
            </p:nvGrpSpPr>
            <p:grpSpPr>
              <a:xfrm>
                <a:off x="2285201" y="2273624"/>
                <a:ext cx="544920" cy="91440"/>
                <a:chOff x="2285201" y="2273624"/>
                <a:chExt cx="544920" cy="91440"/>
              </a:xfrm>
            </p:grpSpPr>
            <p:cxnSp>
              <p:nvCxnSpPr>
                <p:cNvPr id="230" name="Straight Connector 229">
                  <a:extLst>
                    <a:ext uri="{FF2B5EF4-FFF2-40B4-BE49-F238E27FC236}">
                      <a16:creationId xmlns:a16="http://schemas.microsoft.com/office/drawing/2014/main" id="{C6B6F250-235F-462F-A48A-B35C13ECEA5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285201" y="2319344"/>
                  <a:ext cx="538962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31" name="Straight Connector 230">
                  <a:extLst>
                    <a:ext uri="{FF2B5EF4-FFF2-40B4-BE49-F238E27FC236}">
                      <a16:creationId xmlns:a16="http://schemas.microsoft.com/office/drawing/2014/main" id="{F63661DA-B726-4BC5-8EEF-69D283C0497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293080" y="2273624"/>
                  <a:ext cx="0" cy="9144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32" name="Straight Connector 231">
                  <a:extLst>
                    <a:ext uri="{FF2B5EF4-FFF2-40B4-BE49-F238E27FC236}">
                      <a16:creationId xmlns:a16="http://schemas.microsoft.com/office/drawing/2014/main" id="{6E49C599-E474-4134-B17D-F91A82D177B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830121" y="2273624"/>
                  <a:ext cx="0" cy="9144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04" name="Group 203">
                <a:extLst>
                  <a:ext uri="{FF2B5EF4-FFF2-40B4-BE49-F238E27FC236}">
                    <a16:creationId xmlns:a16="http://schemas.microsoft.com/office/drawing/2014/main" id="{A570F82D-A57A-449D-8A8F-ED3C1C641E54}"/>
                  </a:ext>
                </a:extLst>
              </p:cNvPr>
              <p:cNvGrpSpPr/>
              <p:nvPr/>
            </p:nvGrpSpPr>
            <p:grpSpPr>
              <a:xfrm>
                <a:off x="2494541" y="2989904"/>
                <a:ext cx="602072" cy="91440"/>
                <a:chOff x="2285201" y="2273624"/>
                <a:chExt cx="602072" cy="91440"/>
              </a:xfrm>
            </p:grpSpPr>
            <p:cxnSp>
              <p:nvCxnSpPr>
                <p:cNvPr id="227" name="Straight Connector 226">
                  <a:extLst>
                    <a:ext uri="{FF2B5EF4-FFF2-40B4-BE49-F238E27FC236}">
                      <a16:creationId xmlns:a16="http://schemas.microsoft.com/office/drawing/2014/main" id="{BFFE27EF-4A57-4733-BFD7-F44BF791520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285201" y="2319344"/>
                  <a:ext cx="602072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28" name="Straight Connector 227">
                  <a:extLst>
                    <a:ext uri="{FF2B5EF4-FFF2-40B4-BE49-F238E27FC236}">
                      <a16:creationId xmlns:a16="http://schemas.microsoft.com/office/drawing/2014/main" id="{243A8BF0-5BE7-4D6C-8208-C481C0396B2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293080" y="2273624"/>
                  <a:ext cx="0" cy="9144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29" name="Straight Connector 228">
                  <a:extLst>
                    <a:ext uri="{FF2B5EF4-FFF2-40B4-BE49-F238E27FC236}">
                      <a16:creationId xmlns:a16="http://schemas.microsoft.com/office/drawing/2014/main" id="{CF9C381B-80EC-4126-AF4C-E51E4D9DED7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887273" y="2273624"/>
                  <a:ext cx="0" cy="9144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05" name="Group 204">
                <a:extLst>
                  <a:ext uri="{FF2B5EF4-FFF2-40B4-BE49-F238E27FC236}">
                    <a16:creationId xmlns:a16="http://schemas.microsoft.com/office/drawing/2014/main" id="{7C8EDC18-5B7E-4091-8FB8-34E012C8EDE0}"/>
                  </a:ext>
                </a:extLst>
              </p:cNvPr>
              <p:cNvGrpSpPr/>
              <p:nvPr/>
            </p:nvGrpSpPr>
            <p:grpSpPr>
              <a:xfrm>
                <a:off x="2653655" y="3682160"/>
                <a:ext cx="602072" cy="91440"/>
                <a:chOff x="2285201" y="2273624"/>
                <a:chExt cx="602072" cy="91440"/>
              </a:xfrm>
            </p:grpSpPr>
            <p:cxnSp>
              <p:nvCxnSpPr>
                <p:cNvPr id="224" name="Straight Connector 223">
                  <a:extLst>
                    <a:ext uri="{FF2B5EF4-FFF2-40B4-BE49-F238E27FC236}">
                      <a16:creationId xmlns:a16="http://schemas.microsoft.com/office/drawing/2014/main" id="{B6944CE1-7802-4547-8F69-C8DCC9F3C23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285201" y="2319344"/>
                  <a:ext cx="602072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25" name="Straight Connector 224">
                  <a:extLst>
                    <a:ext uri="{FF2B5EF4-FFF2-40B4-BE49-F238E27FC236}">
                      <a16:creationId xmlns:a16="http://schemas.microsoft.com/office/drawing/2014/main" id="{A63C8EF5-5C09-403B-89FF-AE6FB577C34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293080" y="2273624"/>
                  <a:ext cx="0" cy="9144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26" name="Straight Connector 225">
                  <a:extLst>
                    <a:ext uri="{FF2B5EF4-FFF2-40B4-BE49-F238E27FC236}">
                      <a16:creationId xmlns:a16="http://schemas.microsoft.com/office/drawing/2014/main" id="{8D292D00-5EA3-4594-83B8-78FD6F7487F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872984" y="2273624"/>
                  <a:ext cx="0" cy="9144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06" name="Group 205">
                <a:extLst>
                  <a:ext uri="{FF2B5EF4-FFF2-40B4-BE49-F238E27FC236}">
                    <a16:creationId xmlns:a16="http://schemas.microsoft.com/office/drawing/2014/main" id="{929F8753-E65E-4E3B-AC7A-FB12766AD665}"/>
                  </a:ext>
                </a:extLst>
              </p:cNvPr>
              <p:cNvGrpSpPr/>
              <p:nvPr/>
            </p:nvGrpSpPr>
            <p:grpSpPr>
              <a:xfrm>
                <a:off x="2622769" y="4383019"/>
                <a:ext cx="822793" cy="91440"/>
                <a:chOff x="2293080" y="2273624"/>
                <a:chExt cx="822793" cy="91440"/>
              </a:xfrm>
            </p:grpSpPr>
            <p:cxnSp>
              <p:nvCxnSpPr>
                <p:cNvPr id="221" name="Straight Connector 220">
                  <a:extLst>
                    <a:ext uri="{FF2B5EF4-FFF2-40B4-BE49-F238E27FC236}">
                      <a16:creationId xmlns:a16="http://schemas.microsoft.com/office/drawing/2014/main" id="{70757919-F2AF-4A31-BD86-E4F81EEED82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304073" y="2319344"/>
                  <a:ext cx="811800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22" name="Straight Connector 221">
                  <a:extLst>
                    <a:ext uri="{FF2B5EF4-FFF2-40B4-BE49-F238E27FC236}">
                      <a16:creationId xmlns:a16="http://schemas.microsoft.com/office/drawing/2014/main" id="{1685CC9C-B0C3-4AC7-81FC-78490BA3476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293080" y="2273624"/>
                  <a:ext cx="0" cy="9144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23" name="Straight Connector 222">
                  <a:extLst>
                    <a:ext uri="{FF2B5EF4-FFF2-40B4-BE49-F238E27FC236}">
                      <a16:creationId xmlns:a16="http://schemas.microsoft.com/office/drawing/2014/main" id="{E34E87D7-3541-4BE9-9070-D7F265482AB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115873" y="2273624"/>
                  <a:ext cx="0" cy="9144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07" name="Group 206">
                <a:extLst>
                  <a:ext uri="{FF2B5EF4-FFF2-40B4-BE49-F238E27FC236}">
                    <a16:creationId xmlns:a16="http://schemas.microsoft.com/office/drawing/2014/main" id="{8BE1481C-634D-4335-B5F9-404457A6362B}"/>
                  </a:ext>
                </a:extLst>
              </p:cNvPr>
              <p:cNvGrpSpPr/>
              <p:nvPr/>
            </p:nvGrpSpPr>
            <p:grpSpPr>
              <a:xfrm>
                <a:off x="2873660" y="5082862"/>
                <a:ext cx="746589" cy="91440"/>
                <a:chOff x="2293080" y="2273624"/>
                <a:chExt cx="746589" cy="91440"/>
              </a:xfrm>
            </p:grpSpPr>
            <p:cxnSp>
              <p:nvCxnSpPr>
                <p:cNvPr id="218" name="Straight Connector 217">
                  <a:extLst>
                    <a:ext uri="{FF2B5EF4-FFF2-40B4-BE49-F238E27FC236}">
                      <a16:creationId xmlns:a16="http://schemas.microsoft.com/office/drawing/2014/main" id="{308CFAA5-99C2-455B-8305-11B0A409EDC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304073" y="2319344"/>
                  <a:ext cx="73559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19" name="Straight Connector 218">
                  <a:extLst>
                    <a:ext uri="{FF2B5EF4-FFF2-40B4-BE49-F238E27FC236}">
                      <a16:creationId xmlns:a16="http://schemas.microsoft.com/office/drawing/2014/main" id="{99A97852-65E6-41D2-81AD-5D304A7A2EB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293080" y="2273624"/>
                  <a:ext cx="0" cy="9144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20" name="Straight Connector 219">
                  <a:extLst>
                    <a:ext uri="{FF2B5EF4-FFF2-40B4-BE49-F238E27FC236}">
                      <a16:creationId xmlns:a16="http://schemas.microsoft.com/office/drawing/2014/main" id="{737CCF9B-4A18-48F6-9B9A-D1303D9CB25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039669" y="2273624"/>
                  <a:ext cx="0" cy="9144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08" name="Group 207">
                <a:extLst>
                  <a:ext uri="{FF2B5EF4-FFF2-40B4-BE49-F238E27FC236}">
                    <a16:creationId xmlns:a16="http://schemas.microsoft.com/office/drawing/2014/main" id="{1732FA13-55CB-4C02-B3BC-228E96726192}"/>
                  </a:ext>
                </a:extLst>
              </p:cNvPr>
              <p:cNvGrpSpPr/>
              <p:nvPr/>
            </p:nvGrpSpPr>
            <p:grpSpPr>
              <a:xfrm>
                <a:off x="3027126" y="5779795"/>
                <a:ext cx="684674" cy="91440"/>
                <a:chOff x="2293080" y="2273624"/>
                <a:chExt cx="684674" cy="91440"/>
              </a:xfrm>
            </p:grpSpPr>
            <p:cxnSp>
              <p:nvCxnSpPr>
                <p:cNvPr id="215" name="Straight Connector 214">
                  <a:extLst>
                    <a:ext uri="{FF2B5EF4-FFF2-40B4-BE49-F238E27FC236}">
                      <a16:creationId xmlns:a16="http://schemas.microsoft.com/office/drawing/2014/main" id="{03685591-FA3D-4811-9CEC-6E29EA61CBE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304073" y="2319344"/>
                  <a:ext cx="673681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16" name="Straight Connector 215">
                  <a:extLst>
                    <a:ext uri="{FF2B5EF4-FFF2-40B4-BE49-F238E27FC236}">
                      <a16:creationId xmlns:a16="http://schemas.microsoft.com/office/drawing/2014/main" id="{B2CC4ACB-0080-417C-894C-201A60179E2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293080" y="2273624"/>
                  <a:ext cx="0" cy="9144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17" name="Straight Connector 216">
                  <a:extLst>
                    <a:ext uri="{FF2B5EF4-FFF2-40B4-BE49-F238E27FC236}">
                      <a16:creationId xmlns:a16="http://schemas.microsoft.com/office/drawing/2014/main" id="{FFC12BA7-135E-44A5-A991-8E75264DF16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2977754" y="2273624"/>
                  <a:ext cx="0" cy="9144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4FCDA370-302A-4D63-ADFE-1C652D2012E1}"/>
                  </a:ext>
                </a:extLst>
              </p:cNvPr>
              <p:cNvSpPr/>
              <p:nvPr/>
            </p:nvSpPr>
            <p:spPr bwMode="auto">
              <a:xfrm>
                <a:off x="2506150" y="2276519"/>
                <a:ext cx="91440" cy="91440"/>
              </a:xfrm>
              <a:prstGeom prst="ellipse">
                <a:avLst/>
              </a:prstGeom>
              <a:solidFill>
                <a:srgbClr val="00000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endParaRPr>
              </a:p>
            </p:txBody>
          </p:sp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DDFE6F23-D645-429E-B8AB-C6DEF4179A50}"/>
                  </a:ext>
                </a:extLst>
              </p:cNvPr>
              <p:cNvSpPr/>
              <p:nvPr/>
            </p:nvSpPr>
            <p:spPr bwMode="auto">
              <a:xfrm>
                <a:off x="2749602" y="2974484"/>
                <a:ext cx="91440" cy="91440"/>
              </a:xfrm>
              <a:prstGeom prst="ellipse">
                <a:avLst/>
              </a:prstGeom>
              <a:solidFill>
                <a:srgbClr val="00000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endParaRPr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44678168-E828-48E8-B5A1-9CAF761E450E}"/>
                  </a:ext>
                </a:extLst>
              </p:cNvPr>
              <p:cNvSpPr/>
              <p:nvPr/>
            </p:nvSpPr>
            <p:spPr bwMode="auto">
              <a:xfrm>
                <a:off x="2912313" y="3675263"/>
                <a:ext cx="91440" cy="91440"/>
              </a:xfrm>
              <a:prstGeom prst="ellipse">
                <a:avLst/>
              </a:prstGeom>
              <a:solidFill>
                <a:srgbClr val="00000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4B304F3-62C9-4A70-8073-912654FC48D6}"/>
                  </a:ext>
                </a:extLst>
              </p:cNvPr>
              <p:cNvSpPr/>
              <p:nvPr/>
            </p:nvSpPr>
            <p:spPr bwMode="auto">
              <a:xfrm>
                <a:off x="2982889" y="4378940"/>
                <a:ext cx="91440" cy="91440"/>
              </a:xfrm>
              <a:prstGeom prst="ellipse">
                <a:avLst/>
              </a:prstGeom>
              <a:solidFill>
                <a:srgbClr val="00000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8B715101-5FA0-4C90-8EC8-5D84BFC98DB2}"/>
                  </a:ext>
                </a:extLst>
              </p:cNvPr>
              <p:cNvSpPr/>
              <p:nvPr/>
            </p:nvSpPr>
            <p:spPr bwMode="auto">
              <a:xfrm>
                <a:off x="3197142" y="5082862"/>
                <a:ext cx="91440" cy="91440"/>
              </a:xfrm>
              <a:prstGeom prst="ellipse">
                <a:avLst/>
              </a:prstGeom>
              <a:solidFill>
                <a:srgbClr val="00000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endParaRPr>
              </a:p>
            </p:txBody>
          </p:sp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4CE8E9CB-8CFF-4B9C-9A25-78D622810FD6}"/>
                  </a:ext>
                </a:extLst>
              </p:cNvPr>
              <p:cNvSpPr/>
              <p:nvPr/>
            </p:nvSpPr>
            <p:spPr bwMode="auto">
              <a:xfrm>
                <a:off x="3314276" y="5779795"/>
                <a:ext cx="91440" cy="91440"/>
              </a:xfrm>
              <a:prstGeom prst="ellipse">
                <a:avLst/>
              </a:prstGeom>
              <a:solidFill>
                <a:srgbClr val="000000"/>
              </a:solidFill>
              <a:ln w="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rtlCol="0" anchor="b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ct val="35000"/>
                  </a:spcBef>
                  <a:spcAft>
                    <a:spcPct val="25000"/>
                  </a:spcAft>
                  <a:buClr>
                    <a:srgbClr val="015873"/>
                  </a:buClr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</a:endParaRPr>
              </a:p>
            </p:txBody>
          </p:sp>
        </p:grp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7FBF9BDF-ECF2-44E4-9115-A7D7453E4C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40587" y="90919"/>
            <a:ext cx="2792210" cy="173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908578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7B0592-A94F-48D5-ACC9-3BB7FB0EB3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ombinasyon</a:t>
            </a:r>
            <a:r>
              <a:rPr lang="en-GB" dirty="0"/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8B9448-4911-4B38-8AA6-0FDBB05CBC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5367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-662816" y="5671436"/>
            <a:ext cx="10872444" cy="1103313"/>
          </a:xfrm>
          <a:effectLst/>
        </p:spPr>
        <p:txBody>
          <a:bodyPr>
            <a:normAutofit/>
          </a:bodyPr>
          <a:lstStyle/>
          <a:p>
            <a:br>
              <a:rPr lang="en-US" sz="2700" dirty="0"/>
            </a:br>
            <a:endParaRPr lang="en-US" baseline="30000" noProof="0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79CA427-FF14-46EB-BC09-002512FFAA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677" y="1847553"/>
            <a:ext cx="10877529" cy="4316181"/>
          </a:xfrm>
        </p:spPr>
        <p:txBody>
          <a:bodyPr/>
          <a:lstStyle/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Primary endpoint: OS</a:t>
            </a:r>
          </a:p>
          <a:p>
            <a:r>
              <a:rPr lang="en-US" sz="1600" dirty="0"/>
              <a:t>Secondary endpoints: Time to CRPC, time to initiation of subsequent anticancer therapy, SSE-free survival, time to first SSE, time to first opioid use, time to pain progression, and time to worsening of physical symptoms</a:t>
            </a:r>
          </a:p>
          <a:p>
            <a:r>
              <a:rPr lang="en-US" sz="1600" dirty="0"/>
              <a:t>Anticipated primary completion date: June 2021</a:t>
            </a:r>
          </a:p>
          <a:p>
            <a:endParaRPr lang="en-US" sz="1600" dirty="0"/>
          </a:p>
        </p:txBody>
      </p:sp>
      <p:sp>
        <p:nvSpPr>
          <p:cNvPr id="11" name="TextBox 330"/>
          <p:cNvSpPr txBox="1">
            <a:spLocks noChangeArrowheads="1"/>
          </p:cNvSpPr>
          <p:nvPr/>
        </p:nvSpPr>
        <p:spPr bwMode="auto">
          <a:xfrm>
            <a:off x="4169460" y="2373170"/>
            <a:ext cx="3291840" cy="949968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91432" tIns="45716" rIns="91432" bIns="45716" anchor="ctr" anchorCtr="0">
            <a:noAutofit/>
          </a:bodyPr>
          <a:lstStyle/>
          <a:p>
            <a:pPr marL="0" marR="0" lvl="0" indent="0" algn="ctr" defTabSz="45715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ADT + docetaxel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(x 6 cycles) </a:t>
            </a:r>
          </a:p>
          <a:p>
            <a:pPr marL="0" marR="0" lvl="0" indent="0" algn="ctr" defTabSz="45715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+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 darolutamid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600 mg PO BID)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3" name="TextBox 330"/>
          <p:cNvSpPr txBox="1">
            <a:spLocks noChangeArrowheads="1"/>
          </p:cNvSpPr>
          <p:nvPr/>
        </p:nvSpPr>
        <p:spPr bwMode="auto">
          <a:xfrm>
            <a:off x="4169460" y="3433983"/>
            <a:ext cx="3291840" cy="950976"/>
          </a:xfrm>
          <a:prstGeom prst="rect">
            <a:avLst/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ffectLst/>
        </p:spPr>
        <p:txBody>
          <a:bodyPr lIns="91432" tIns="45716" rIns="91432" bIns="45716" anchor="ctr" anchorCtr="0">
            <a:noAutofit/>
          </a:bodyPr>
          <a:lstStyle/>
          <a:p>
            <a:pPr marL="0" marR="0" lvl="0" indent="0" algn="ctr" defTabSz="45715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ADT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+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 docetaxel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(x 6 cycles) </a:t>
            </a:r>
          </a:p>
          <a:p>
            <a:pPr marL="0" marR="0" lvl="0" indent="0" algn="ctr" defTabSz="45715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+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placebo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2B2D2F-B48A-446F-9D9F-E33A106A7744}"/>
              </a:ext>
            </a:extLst>
          </p:cNvPr>
          <p:cNvSpPr txBox="1"/>
          <p:nvPr/>
        </p:nvSpPr>
        <p:spPr bwMode="auto">
          <a:xfrm>
            <a:off x="1403094" y="2415197"/>
            <a:ext cx="1967948" cy="181588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>
                <a:lumMod val="95000"/>
                <a:lumOff val="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atients with newly diagnosed, metastatic HSPC, ECOG PS 0 or 1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Planned N = 1,300)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BF22C0A-9786-4B96-BCA5-AC4B8825E8EC}"/>
              </a:ext>
            </a:extLst>
          </p:cNvPr>
          <p:cNvCxnSpPr/>
          <p:nvPr/>
        </p:nvCxnSpPr>
        <p:spPr bwMode="auto">
          <a:xfrm flipV="1">
            <a:off x="3495931" y="2874107"/>
            <a:ext cx="548640" cy="194406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0C1D41AE-1779-47B5-A682-0736482A933B}"/>
              </a:ext>
            </a:extLst>
          </p:cNvPr>
          <p:cNvCxnSpPr>
            <a:cxnSpLocks/>
          </p:cNvCxnSpPr>
          <p:nvPr/>
        </p:nvCxnSpPr>
        <p:spPr bwMode="auto">
          <a:xfrm>
            <a:off x="3459464" y="3647389"/>
            <a:ext cx="571713" cy="191001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7B359C13-48DE-4A30-9B83-6C29AEB41170}"/>
              </a:ext>
            </a:extLst>
          </p:cNvPr>
          <p:cNvSpPr txBox="1"/>
          <p:nvPr/>
        </p:nvSpPr>
        <p:spPr bwMode="auto">
          <a:xfrm>
            <a:off x="2176438" y="1847553"/>
            <a:ext cx="370947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ratified by extent of disease and alk phos levels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018F5DB-5AF2-4D46-8E80-192C2DF50B95}"/>
              </a:ext>
            </a:extLst>
          </p:cNvPr>
          <p:cNvCxnSpPr/>
          <p:nvPr/>
        </p:nvCxnSpPr>
        <p:spPr bwMode="auto">
          <a:xfrm>
            <a:off x="7533861" y="3316271"/>
            <a:ext cx="586409" cy="6867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7" name="Text Box 15">
            <a:extLst>
              <a:ext uri="{FF2B5EF4-FFF2-40B4-BE49-F238E27FC236}">
                <a16:creationId xmlns:a16="http://schemas.microsoft.com/office/drawing/2014/main" id="{039BBF27-D517-414C-82FC-2E20BAA8BFC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51" y="6388915"/>
            <a:ext cx="8721310" cy="276999"/>
          </a:xfrm>
          <a:prstGeom prst="rect">
            <a:avLst/>
          </a:prstGeom>
          <a:noFill/>
          <a:ln>
            <a:noFill/>
          </a:ln>
        </p:spPr>
        <p:txBody>
          <a:bodyPr wrap="square"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CT02799602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5169A3E-3E74-473E-89B0-C22BC8C91A64}"/>
              </a:ext>
            </a:extLst>
          </p:cNvPr>
          <p:cNvSpPr txBox="1"/>
          <p:nvPr/>
        </p:nvSpPr>
        <p:spPr bwMode="auto">
          <a:xfrm>
            <a:off x="8269338" y="2971310"/>
            <a:ext cx="11927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ntil PD or unacceptable toxicity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153BBFF-ED96-4B59-9D2A-AB37E57BD5CD}"/>
              </a:ext>
            </a:extLst>
          </p:cNvPr>
          <p:cNvCxnSpPr/>
          <p:nvPr/>
        </p:nvCxnSpPr>
        <p:spPr bwMode="auto">
          <a:xfrm>
            <a:off x="3770251" y="2122410"/>
            <a:ext cx="0" cy="379969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" name="Title 10">
            <a:extLst>
              <a:ext uri="{FF2B5EF4-FFF2-40B4-BE49-F238E27FC236}">
                <a16:creationId xmlns:a16="http://schemas.microsoft.com/office/drawing/2014/main" id="{6835F67B-28D3-43EF-9A83-62681252036C}"/>
              </a:ext>
            </a:extLst>
          </p:cNvPr>
          <p:cNvSpPr txBox="1">
            <a:spLocks/>
          </p:cNvSpPr>
          <p:nvPr/>
        </p:nvSpPr>
        <p:spPr bwMode="auto">
          <a:xfrm>
            <a:off x="0" y="-32608"/>
            <a:ext cx="12192000" cy="1717441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>
              <a:defRPr/>
            </a:pPr>
            <a:r>
              <a:rPr lang="en-US" sz="3200" dirty="0">
                <a:solidFill>
                  <a:schemeClr val="bg1"/>
                </a:solidFill>
              </a:rPr>
              <a:t>ARASENS </a:t>
            </a:r>
          </a:p>
          <a:p>
            <a:pPr>
              <a:defRPr/>
            </a:pPr>
            <a:r>
              <a:rPr lang="en-US" sz="3200" dirty="0">
                <a:solidFill>
                  <a:schemeClr val="bg1"/>
                </a:solidFill>
              </a:rPr>
              <a:t>Phase 3 Trial: </a:t>
            </a:r>
            <a:r>
              <a:rPr lang="en-US" sz="3200" dirty="0" err="1">
                <a:solidFill>
                  <a:schemeClr val="bg1"/>
                </a:solidFill>
              </a:rPr>
              <a:t>Darolutamide</a:t>
            </a:r>
            <a:r>
              <a:rPr lang="en-US" sz="3200" dirty="0">
                <a:solidFill>
                  <a:schemeClr val="bg1"/>
                </a:solidFill>
              </a:rPr>
              <a:t> in </a:t>
            </a:r>
            <a:r>
              <a:rPr lang="en-US" sz="3200" dirty="0" err="1">
                <a:solidFill>
                  <a:schemeClr val="bg1"/>
                </a:solidFill>
              </a:rPr>
              <a:t>mHSPC</a:t>
            </a:r>
            <a:endParaRPr lang="en-US" sz="3200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en-US" sz="2000" dirty="0">
                <a:solidFill>
                  <a:schemeClr val="bg1"/>
                </a:solidFill>
              </a:rPr>
              <a:t>Randomized, double-blind, placebo controlled, international trial &gt; 300 sites in 23 countries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9850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8CBB82-19CC-4395-9688-032C43151A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NonMetastatik</a:t>
            </a:r>
            <a:r>
              <a:rPr lang="en-GB" dirty="0"/>
              <a:t> </a:t>
            </a:r>
            <a:r>
              <a:rPr lang="en-GB" dirty="0" err="1"/>
              <a:t>Prostat</a:t>
            </a:r>
            <a:r>
              <a:rPr lang="en-GB" dirty="0"/>
              <a:t> </a:t>
            </a:r>
            <a:r>
              <a:rPr lang="en-GB" dirty="0" err="1"/>
              <a:t>Kanseri</a:t>
            </a:r>
            <a:endParaRPr lang="en-GB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A4B2E645-8FED-43AE-A6D4-53BA6CF79BF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90306762"/>
              </p:ext>
            </p:extLst>
          </p:nvPr>
        </p:nvGraphicFramePr>
        <p:xfrm>
          <a:off x="914400" y="1981200"/>
          <a:ext cx="10363200" cy="4114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349547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847529" y="6587480"/>
            <a:ext cx="6480175" cy="15388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100" dirty="0">
                <a:solidFill>
                  <a:srgbClr val="292934"/>
                </a:solidFill>
                <a:latin typeface="Calibri" pitchFamily="34" charset="0"/>
              </a:rPr>
              <a:t>Hussain M et al, ASCO Genitourinary Cancers Symposium, February 8-10, 2018, San Francisco, CA</a:t>
            </a:r>
            <a:endParaRPr lang="tr-TR" sz="1100" dirty="0">
              <a:solidFill>
                <a:srgbClr val="292934"/>
              </a:solidFill>
              <a:latin typeface="Calibri" pitchFamily="34" charset="0"/>
            </a:endParaRP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6C691EF1-63C2-4429-827C-440EEA2AA4A0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1127911486"/>
              </p:ext>
            </p:extLst>
          </p:nvPr>
        </p:nvGraphicFramePr>
        <p:xfrm>
          <a:off x="1847529" y="2780928"/>
          <a:ext cx="8280400" cy="27499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itle 2">
            <a:extLst>
              <a:ext uri="{FF2B5EF4-FFF2-40B4-BE49-F238E27FC236}">
                <a16:creationId xmlns:a16="http://schemas.microsoft.com/office/drawing/2014/main" id="{A9C9EE5C-939D-46E7-841C-C8992211D422}"/>
              </a:ext>
            </a:extLst>
          </p:cNvPr>
          <p:cNvSpPr txBox="1">
            <a:spLocks/>
          </p:cNvSpPr>
          <p:nvPr/>
        </p:nvSpPr>
        <p:spPr bwMode="auto">
          <a:xfrm>
            <a:off x="0" y="0"/>
            <a:ext cx="12192000" cy="1916832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r>
              <a:rPr lang="en-US" dirty="0"/>
              <a:t>Metastatik </a:t>
            </a:r>
            <a:r>
              <a:rPr lang="en-US" dirty="0" err="1"/>
              <a:t>Olmayan</a:t>
            </a:r>
            <a:r>
              <a:rPr lang="en-US" dirty="0">
                <a:latin typeface="+mn-lt"/>
              </a:rPr>
              <a:t> (</a:t>
            </a:r>
            <a:r>
              <a:rPr lang="tr-TR" dirty="0">
                <a:latin typeface="+mn-lt"/>
              </a:rPr>
              <a:t>M0</a:t>
            </a:r>
            <a:r>
              <a:rPr lang="en-US" dirty="0">
                <a:latin typeface="+mn-lt"/>
              </a:rPr>
              <a:t>)</a:t>
            </a:r>
            <a:r>
              <a:rPr lang="tr-TR" dirty="0">
                <a:latin typeface="+mn-lt"/>
              </a:rPr>
              <a:t> KDP</a:t>
            </a:r>
            <a:r>
              <a:rPr lang="en-US" dirty="0">
                <a:latin typeface="+mn-lt"/>
              </a:rPr>
              <a:t>K</a:t>
            </a:r>
            <a:br>
              <a:rPr lang="en-US" dirty="0">
                <a:latin typeface="+mn-lt"/>
              </a:rPr>
            </a:br>
            <a:r>
              <a:rPr lang="en-US" sz="3200" dirty="0">
                <a:latin typeface="+mn-lt"/>
              </a:rPr>
              <a:t>ADT </a:t>
            </a:r>
            <a:r>
              <a:rPr lang="en-US" sz="3200" dirty="0" err="1">
                <a:latin typeface="+mn-lt"/>
              </a:rPr>
              <a:t>sonrası</a:t>
            </a:r>
            <a:r>
              <a:rPr lang="en-US" sz="3200" dirty="0">
                <a:latin typeface="+mn-lt"/>
              </a:rPr>
              <a:t> </a:t>
            </a:r>
            <a:r>
              <a:rPr lang="en-US" sz="3200" dirty="0" err="1">
                <a:latin typeface="+mn-lt"/>
              </a:rPr>
              <a:t>Radyolojik</a:t>
            </a:r>
            <a:r>
              <a:rPr lang="en-US" sz="3200" dirty="0">
                <a:latin typeface="+mn-lt"/>
              </a:rPr>
              <a:t> </a:t>
            </a:r>
            <a:r>
              <a:rPr lang="en-US" sz="3200" dirty="0" err="1">
                <a:latin typeface="+mn-lt"/>
              </a:rPr>
              <a:t>Progresyon</a:t>
            </a:r>
            <a:endParaRPr lang="tr-TR" sz="3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6722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952170" y="5694675"/>
            <a:ext cx="6480175" cy="289203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1600" dirty="0" err="1"/>
              <a:t>Sınırlılıklarına</a:t>
            </a:r>
            <a:r>
              <a:rPr lang="en-US" sz="1600" dirty="0"/>
              <a:t> </a:t>
            </a:r>
            <a:r>
              <a:rPr lang="en-US" sz="1600" dirty="0" err="1"/>
              <a:t>rağmen</a:t>
            </a:r>
            <a:r>
              <a:rPr lang="en-US" sz="1600" dirty="0"/>
              <a:t>, </a:t>
            </a:r>
            <a:r>
              <a:rPr lang="en-US" sz="1600" dirty="0" err="1"/>
              <a:t>tedavi</a:t>
            </a:r>
            <a:r>
              <a:rPr lang="en-US" sz="1600" dirty="0"/>
              <a:t> </a:t>
            </a:r>
            <a:r>
              <a:rPr lang="en-US" sz="1600" dirty="0" err="1"/>
              <a:t>kararlarını</a:t>
            </a:r>
            <a:r>
              <a:rPr lang="en-US" sz="1600" dirty="0"/>
              <a:t> değiştirebilirler.</a:t>
            </a:r>
            <a:r>
              <a:rPr lang="en-US" sz="1600" baseline="30000" dirty="0"/>
              <a:t>2</a:t>
            </a:r>
            <a:endParaRPr lang="tr-TR" sz="1600" baseline="30000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2447211891"/>
              </p:ext>
            </p:extLst>
          </p:nvPr>
        </p:nvGraphicFramePr>
        <p:xfrm>
          <a:off x="1854701" y="1916832"/>
          <a:ext cx="8675112" cy="35763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604495">
                  <a:extLst>
                    <a:ext uri="{9D8B030D-6E8A-4147-A177-3AD203B41FA5}">
                      <a16:colId xmlns:a16="http://schemas.microsoft.com/office/drawing/2014/main" val="4005385087"/>
                    </a:ext>
                  </a:extLst>
                </a:gridCol>
                <a:gridCol w="1291659">
                  <a:extLst>
                    <a:ext uri="{9D8B030D-6E8A-4147-A177-3AD203B41FA5}">
                      <a16:colId xmlns:a16="http://schemas.microsoft.com/office/drawing/2014/main" val="4223488471"/>
                    </a:ext>
                  </a:extLst>
                </a:gridCol>
                <a:gridCol w="1874854">
                  <a:extLst>
                    <a:ext uri="{9D8B030D-6E8A-4147-A177-3AD203B41FA5}">
                      <a16:colId xmlns:a16="http://schemas.microsoft.com/office/drawing/2014/main" val="1795973180"/>
                    </a:ext>
                  </a:extLst>
                </a:gridCol>
                <a:gridCol w="1301368">
                  <a:extLst>
                    <a:ext uri="{9D8B030D-6E8A-4147-A177-3AD203B41FA5}">
                      <a16:colId xmlns:a16="http://schemas.microsoft.com/office/drawing/2014/main" val="1574822498"/>
                    </a:ext>
                  </a:extLst>
                </a:gridCol>
                <a:gridCol w="1301368">
                  <a:extLst>
                    <a:ext uri="{9D8B030D-6E8A-4147-A177-3AD203B41FA5}">
                      <a16:colId xmlns:a16="http://schemas.microsoft.com/office/drawing/2014/main" val="2237997290"/>
                    </a:ext>
                  </a:extLst>
                </a:gridCol>
                <a:gridCol w="1301368">
                  <a:extLst>
                    <a:ext uri="{9D8B030D-6E8A-4147-A177-3AD203B41FA5}">
                      <a16:colId xmlns:a16="http://schemas.microsoft.com/office/drawing/2014/main" val="335378042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İzleyici</a:t>
                      </a:r>
                      <a:r>
                        <a:rPr lang="en-US" dirty="0"/>
                        <a:t> (tracer)</a:t>
                      </a:r>
                      <a:endParaRPr lang="tr-T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Yarılanma</a:t>
                      </a:r>
                      <a:r>
                        <a:rPr lang="en-US" baseline="0" dirty="0"/>
                        <a:t> </a:t>
                      </a:r>
                      <a:r>
                        <a:rPr lang="en-US" baseline="0" dirty="0" err="1"/>
                        <a:t>Ömrü</a:t>
                      </a:r>
                      <a:endParaRPr lang="tr-T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Etki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Mekanizması</a:t>
                      </a:r>
                      <a:endParaRPr lang="tr-T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İtrah</a:t>
                      </a:r>
                      <a:endParaRPr lang="tr-T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Duyarlılık</a:t>
                      </a:r>
                      <a:endParaRPr lang="tr-T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/>
                        <a:t>Özgüllük</a:t>
                      </a:r>
                      <a:endParaRPr lang="tr-TR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924411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Ga-68 PSMA</a:t>
                      </a:r>
                      <a:endParaRPr lang="tr-TR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68dk</a:t>
                      </a:r>
                      <a:endParaRPr lang="tr-TR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PSMA </a:t>
                      </a:r>
                      <a:r>
                        <a:rPr lang="en-US" dirty="0" err="1">
                          <a:solidFill>
                            <a:schemeClr val="bg1"/>
                          </a:solidFill>
                        </a:rPr>
                        <a:t>analogu</a:t>
                      </a:r>
                      <a:endParaRPr lang="tr-TR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Renal</a:t>
                      </a:r>
                      <a:endParaRPr lang="tr-TR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%76-86</a:t>
                      </a:r>
                      <a:endParaRPr lang="tr-TR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%86-100</a:t>
                      </a:r>
                      <a:endParaRPr lang="tr-TR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372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-18 </a:t>
                      </a:r>
                      <a:r>
                        <a:rPr lang="en-US" dirty="0" err="1"/>
                        <a:t>NaF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dk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Kemik</a:t>
                      </a:r>
                      <a:r>
                        <a:rPr lang="en-US" baseline="0" dirty="0"/>
                        <a:t> </a:t>
                      </a:r>
                      <a:r>
                        <a:rPr lang="en-US" baseline="0" dirty="0" err="1"/>
                        <a:t>matriksine</a:t>
                      </a:r>
                      <a:r>
                        <a:rPr lang="en-US" baseline="0" dirty="0"/>
                        <a:t> </a:t>
                      </a:r>
                      <a:r>
                        <a:rPr lang="en-US" baseline="0" dirty="0" err="1"/>
                        <a:t>adsorbsiyon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Hepatik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%87-100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%62-89</a:t>
                      </a:r>
                      <a:endParaRPr lang="tr-T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7763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-18 </a:t>
                      </a:r>
                      <a:r>
                        <a:rPr lang="en-US" dirty="0" err="1"/>
                        <a:t>Flusiklovin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dk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/>
                        <a:t>Aminoasit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transportu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nal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%37-90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%40-100</a:t>
                      </a:r>
                      <a:endParaRPr lang="tr-T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7115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-11 </a:t>
                      </a:r>
                      <a:r>
                        <a:rPr lang="en-US" dirty="0" err="1"/>
                        <a:t>kolin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dk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Hücre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zarı</a:t>
                      </a:r>
                      <a:r>
                        <a:rPr lang="en-US" baseline="0" dirty="0"/>
                        <a:t> </a:t>
                      </a:r>
                      <a:r>
                        <a:rPr lang="en-US" baseline="0" dirty="0" err="1"/>
                        <a:t>sentezi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Hepatik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%32-93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%40-93</a:t>
                      </a:r>
                      <a:endParaRPr lang="tr-T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33077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-11 </a:t>
                      </a:r>
                      <a:r>
                        <a:rPr lang="en-US" dirty="0" err="1"/>
                        <a:t>asetat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dk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Lipid </a:t>
                      </a:r>
                      <a:r>
                        <a:rPr lang="en-US" baseline="0" dirty="0" err="1"/>
                        <a:t>sentezi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Akciğer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%59-69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%83-98</a:t>
                      </a:r>
                      <a:endParaRPr lang="tr-T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946098"/>
                  </a:ext>
                </a:extLst>
              </a:tr>
            </a:tbl>
          </a:graphicData>
        </a:graphic>
      </p:graphicFrame>
      <p:sp>
        <p:nvSpPr>
          <p:cNvPr id="7" name="7 Metin kutusu"/>
          <p:cNvSpPr txBox="1">
            <a:spLocks noChangeArrowheads="1"/>
          </p:cNvSpPr>
          <p:nvPr/>
        </p:nvSpPr>
        <p:spPr bwMode="auto">
          <a:xfrm>
            <a:off x="1548193" y="6541542"/>
            <a:ext cx="894886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1. </a:t>
            </a:r>
            <a:r>
              <a:rPr kumimoji="0" lang="tr-T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Mo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hle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JL</a:t>
            </a:r>
            <a:r>
              <a:rPr kumimoji="0" lang="tr-TR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et al,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NCCN </a:t>
            </a:r>
            <a:r>
              <a:rPr kumimoji="0" lang="tr-T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Guidelines</a:t>
            </a:r>
            <a:r>
              <a:rPr kumimoji="0" lang="tr-TR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on </a:t>
            </a:r>
            <a:r>
              <a:rPr kumimoji="0" lang="tr-T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Prostate</a:t>
            </a:r>
            <a:r>
              <a:rPr kumimoji="0" lang="tr-TR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</a:t>
            </a:r>
            <a:r>
              <a:rPr kumimoji="0" lang="tr-T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Cancer</a:t>
            </a:r>
            <a:r>
              <a:rPr kumimoji="0" lang="tr-TR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, 20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8 v3.0</a:t>
            </a:r>
            <a:r>
              <a:rPr kumimoji="0" lang="tr-TR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.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2. </a:t>
            </a:r>
            <a:r>
              <a:rPr kumimoji="0" lang="tr-T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Mottet</a:t>
            </a:r>
            <a:r>
              <a:rPr kumimoji="0" lang="tr-TR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N et al, EAU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–</a:t>
            </a:r>
            <a:r>
              <a:rPr kumimoji="0" lang="tr-TR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ESTR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–</a:t>
            </a:r>
            <a:r>
              <a:rPr kumimoji="0" lang="tr-TR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SIOG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-</a:t>
            </a:r>
            <a:r>
              <a:rPr kumimoji="0" lang="tr-TR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ESUR </a:t>
            </a:r>
            <a:r>
              <a:rPr kumimoji="0" lang="tr-T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Guidelines</a:t>
            </a:r>
            <a:r>
              <a:rPr kumimoji="0" lang="tr-TR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on </a:t>
            </a:r>
            <a:r>
              <a:rPr kumimoji="0" lang="tr-T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Prostate</a:t>
            </a:r>
            <a:r>
              <a:rPr kumimoji="0" lang="tr-TR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</a:t>
            </a:r>
            <a:r>
              <a:rPr kumimoji="0" lang="tr-T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Cancer</a:t>
            </a:r>
            <a:r>
              <a:rPr kumimoji="0" lang="tr-TR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, 20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7</a:t>
            </a:r>
            <a:r>
              <a:rPr kumimoji="0" lang="tr-TR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.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92934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45110" y="6151944"/>
            <a:ext cx="5503218" cy="301393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8441BCE6-5262-4312-9931-FEE277916E2B}"/>
              </a:ext>
            </a:extLst>
          </p:cNvPr>
          <p:cNvSpPr txBox="1">
            <a:spLocks/>
          </p:cNvSpPr>
          <p:nvPr/>
        </p:nvSpPr>
        <p:spPr bwMode="auto">
          <a:xfrm>
            <a:off x="0" y="0"/>
            <a:ext cx="12192000" cy="1268413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r>
              <a:rPr lang="en-US" dirty="0" err="1"/>
              <a:t>Prostat</a:t>
            </a:r>
            <a:r>
              <a:rPr lang="en-US" dirty="0"/>
              <a:t> </a:t>
            </a:r>
            <a:r>
              <a:rPr lang="en-US" dirty="0" err="1"/>
              <a:t>Kanserinde</a:t>
            </a:r>
            <a:r>
              <a:rPr lang="en-US" dirty="0"/>
              <a:t> PET/CT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506772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2">
            <a:extLst>
              <a:ext uri="{FF2B5EF4-FFF2-40B4-BE49-F238E27FC236}">
                <a16:creationId xmlns:a16="http://schemas.microsoft.com/office/drawing/2014/main" id="{728F74FA-F909-4395-9C6E-D62AED0063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825" y="1484313"/>
            <a:ext cx="8640763" cy="538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867" name="Picture 2">
            <a:extLst>
              <a:ext uri="{FF2B5EF4-FFF2-40B4-BE49-F238E27FC236}">
                <a16:creationId xmlns:a16="http://schemas.microsoft.com/office/drawing/2014/main" id="{6E6066D2-7809-4BC5-A432-D7EC44656A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44" y="1488867"/>
            <a:ext cx="3978746" cy="252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68" name="Picture 3">
            <a:extLst>
              <a:ext uri="{FF2B5EF4-FFF2-40B4-BE49-F238E27FC236}">
                <a16:creationId xmlns:a16="http://schemas.microsoft.com/office/drawing/2014/main" id="{8221860B-3A92-48F9-A717-4BEEBE92FC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104" y="1052736"/>
            <a:ext cx="5080270" cy="3159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69" name="Title 1">
            <a:extLst>
              <a:ext uri="{FF2B5EF4-FFF2-40B4-BE49-F238E27FC236}">
                <a16:creationId xmlns:a16="http://schemas.microsoft.com/office/drawing/2014/main" id="{F560AEB0-2A72-4E3B-8349-2FEBDF25340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/>
              <a:t>Yaşlandıkça sık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C6E47CB-0C87-48E9-BFE2-688273F45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SA </a:t>
            </a:r>
            <a:r>
              <a:rPr lang="en-GB" dirty="0" err="1"/>
              <a:t>Katlanma</a:t>
            </a:r>
            <a:r>
              <a:rPr lang="en-GB" dirty="0"/>
              <a:t> </a:t>
            </a:r>
            <a:r>
              <a:rPr lang="en-GB" dirty="0" err="1"/>
              <a:t>Zamanı</a:t>
            </a:r>
            <a:r>
              <a:rPr lang="en-GB" dirty="0"/>
              <a:t> </a:t>
            </a:r>
            <a:r>
              <a:rPr lang="en-GB" dirty="0" err="1"/>
              <a:t>ve</a:t>
            </a:r>
            <a:r>
              <a:rPr lang="en-GB" dirty="0"/>
              <a:t> Prognoz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5563A20-94C2-4CB5-9F71-9076442B065A}"/>
              </a:ext>
            </a:extLst>
          </p:cNvPr>
          <p:cNvGrpSpPr/>
          <p:nvPr/>
        </p:nvGrpSpPr>
        <p:grpSpPr>
          <a:xfrm>
            <a:off x="2903470" y="1617681"/>
            <a:ext cx="6557053" cy="4768059"/>
            <a:chOff x="2903470" y="1617681"/>
            <a:chExt cx="6557053" cy="4768059"/>
          </a:xfrm>
        </p:grpSpPr>
        <p:sp>
          <p:nvSpPr>
            <p:cNvPr id="5" name="Line 46">
              <a:extLst>
                <a:ext uri="{FF2B5EF4-FFF2-40B4-BE49-F238E27FC236}">
                  <a16:creationId xmlns:a16="http://schemas.microsoft.com/office/drawing/2014/main" id="{8DA793CB-FDE5-42DC-9A8B-9474EB49F9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63835" y="1935806"/>
              <a:ext cx="0" cy="3716337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" name="Line 47">
              <a:extLst>
                <a:ext uri="{FF2B5EF4-FFF2-40B4-BE49-F238E27FC236}">
                  <a16:creationId xmlns:a16="http://schemas.microsoft.com/office/drawing/2014/main" id="{68640007-EBD5-4D8A-BDD1-5FDD0E3FB1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63835" y="5652141"/>
              <a:ext cx="4980582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" name="Line 48">
              <a:extLst>
                <a:ext uri="{FF2B5EF4-FFF2-40B4-BE49-F238E27FC236}">
                  <a16:creationId xmlns:a16="http://schemas.microsoft.com/office/drawing/2014/main" id="{85C507C3-8D7F-4E94-BD27-E873C61F62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63835" y="5652141"/>
              <a:ext cx="0" cy="90488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" name="Line 49">
              <a:extLst>
                <a:ext uri="{FF2B5EF4-FFF2-40B4-BE49-F238E27FC236}">
                  <a16:creationId xmlns:a16="http://schemas.microsoft.com/office/drawing/2014/main" id="{EF1EDFAF-3449-493D-A973-C54BBCC951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7404" y="5652141"/>
              <a:ext cx="0" cy="90488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" name="Text Box 50">
              <a:extLst>
                <a:ext uri="{FF2B5EF4-FFF2-40B4-BE49-F238E27FC236}">
                  <a16:creationId xmlns:a16="http://schemas.microsoft.com/office/drawing/2014/main" id="{ECC74415-6AC7-40B6-BD8A-AB1DEA4B6D5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87787" y="5718816"/>
              <a:ext cx="736053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9pPr>
            </a:lstStyle>
            <a:p>
              <a:pPr marL="0" marR="0" lvl="0" indent="0" algn="ctr" defTabSz="121917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Calibri" panose="020F0502020204030204" pitchFamily="34" charset="0"/>
                </a:rPr>
                <a:t>0.5</a:t>
              </a:r>
              <a:endParaRPr kumimoji="0" lang="en-US" alt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endParaRPr>
            </a:p>
          </p:txBody>
        </p:sp>
        <p:sp>
          <p:nvSpPr>
            <p:cNvPr id="10" name="Line 51">
              <a:extLst>
                <a:ext uri="{FF2B5EF4-FFF2-40B4-BE49-F238E27FC236}">
                  <a16:creationId xmlns:a16="http://schemas.microsoft.com/office/drawing/2014/main" id="{71B1E4D5-BBBD-4F6E-A745-3786C3470B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59901" y="5652141"/>
              <a:ext cx="0" cy="90488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" name="Text Box 52">
              <a:extLst>
                <a:ext uri="{FF2B5EF4-FFF2-40B4-BE49-F238E27FC236}">
                  <a16:creationId xmlns:a16="http://schemas.microsoft.com/office/drawing/2014/main" id="{A4666F54-DD67-4F59-A640-991F1773E6F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90284" y="5718816"/>
              <a:ext cx="736053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9pPr>
            </a:lstStyle>
            <a:p>
              <a:pPr marL="0" marR="0" lvl="0" indent="0" algn="ctr" defTabSz="121917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Calibri" panose="020F0502020204030204" pitchFamily="34" charset="0"/>
                </a:rPr>
                <a:t>1.0</a:t>
              </a:r>
              <a:endParaRPr kumimoji="0" lang="en-US" alt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endParaRPr>
            </a:p>
          </p:txBody>
        </p:sp>
        <p:sp>
          <p:nvSpPr>
            <p:cNvPr id="12" name="Line 53">
              <a:extLst>
                <a:ext uri="{FF2B5EF4-FFF2-40B4-BE49-F238E27FC236}">
                  <a16:creationId xmlns:a16="http://schemas.microsoft.com/office/drawing/2014/main" id="{09868BAE-B8C6-46FD-B2B3-696DF61C39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65585" y="5652141"/>
              <a:ext cx="0" cy="90488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Text Box 54">
              <a:extLst>
                <a:ext uri="{FF2B5EF4-FFF2-40B4-BE49-F238E27FC236}">
                  <a16:creationId xmlns:a16="http://schemas.microsoft.com/office/drawing/2014/main" id="{7471B008-9009-4100-9602-000FF570F1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95966" y="5718816"/>
              <a:ext cx="736053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9pPr>
            </a:lstStyle>
            <a:p>
              <a:pPr marL="0" marR="0" lvl="0" indent="0" algn="ctr" defTabSz="121917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Calibri" panose="020F0502020204030204" pitchFamily="34" charset="0"/>
                </a:rPr>
                <a:t>1.5</a:t>
              </a:r>
              <a:endParaRPr kumimoji="0" lang="en-US" alt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endParaRPr>
            </a:p>
          </p:txBody>
        </p:sp>
        <p:sp>
          <p:nvSpPr>
            <p:cNvPr id="14" name="Line 55">
              <a:extLst>
                <a:ext uri="{FF2B5EF4-FFF2-40B4-BE49-F238E27FC236}">
                  <a16:creationId xmlns:a16="http://schemas.microsoft.com/office/drawing/2014/main" id="{F5F0CEEC-2851-43B1-976B-84E50CD177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55345" y="5652141"/>
              <a:ext cx="0" cy="90488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Text Box 56">
              <a:extLst>
                <a:ext uri="{FF2B5EF4-FFF2-40B4-BE49-F238E27FC236}">
                  <a16:creationId xmlns:a16="http://schemas.microsoft.com/office/drawing/2014/main" id="{A1D481EC-C10B-4E55-BC9E-0ECC1CEE012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85725" y="5718816"/>
              <a:ext cx="736053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9pPr>
            </a:lstStyle>
            <a:p>
              <a:pPr marL="0" marR="0" lvl="0" indent="0" algn="ctr" defTabSz="121917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Calibri" panose="020F0502020204030204" pitchFamily="34" charset="0"/>
                </a:rPr>
                <a:t>2.0</a:t>
              </a:r>
              <a:endParaRPr kumimoji="0" lang="en-US" alt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endParaRPr>
            </a:p>
          </p:txBody>
        </p:sp>
        <p:sp>
          <p:nvSpPr>
            <p:cNvPr id="16" name="Line 57">
              <a:extLst>
                <a:ext uri="{FF2B5EF4-FFF2-40B4-BE49-F238E27FC236}">
                  <a16:creationId xmlns:a16="http://schemas.microsoft.com/office/drawing/2014/main" id="{BFA25B59-00D3-4C77-809D-29DE273D3D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61026" y="5652141"/>
              <a:ext cx="0" cy="90488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Text Box 58">
              <a:extLst>
                <a:ext uri="{FF2B5EF4-FFF2-40B4-BE49-F238E27FC236}">
                  <a16:creationId xmlns:a16="http://schemas.microsoft.com/office/drawing/2014/main" id="{29DA3FA1-9E53-4155-AF04-4CB2EFB8439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91407" y="5718816"/>
              <a:ext cx="736053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9pPr>
            </a:lstStyle>
            <a:p>
              <a:pPr marL="0" marR="0" lvl="0" indent="0" algn="ctr" defTabSz="121917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Calibri" panose="020F0502020204030204" pitchFamily="34" charset="0"/>
                </a:rPr>
                <a:t>2.5</a:t>
              </a:r>
              <a:endParaRPr kumimoji="0" lang="en-US" alt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endParaRPr>
            </a:p>
          </p:txBody>
        </p:sp>
        <p:sp>
          <p:nvSpPr>
            <p:cNvPr id="18" name="Line 60">
              <a:extLst>
                <a:ext uri="{FF2B5EF4-FFF2-40B4-BE49-F238E27FC236}">
                  <a16:creationId xmlns:a16="http://schemas.microsoft.com/office/drawing/2014/main" id="{30C10E9A-10D0-4E01-A8EA-30491AB2E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63835" y="5652141"/>
              <a:ext cx="0" cy="90488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9" name="Text Box 61">
              <a:extLst>
                <a:ext uri="{FF2B5EF4-FFF2-40B4-BE49-F238E27FC236}">
                  <a16:creationId xmlns:a16="http://schemas.microsoft.com/office/drawing/2014/main" id="{E167F0E4-F9F1-4969-86B4-DCFBA6CBBC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30092" y="5718816"/>
              <a:ext cx="461119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9pPr>
            </a:lstStyle>
            <a:p>
              <a:pPr marL="0" marR="0" lvl="0" indent="0" algn="ctr" defTabSz="121917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Calibri" panose="020F0502020204030204" pitchFamily="34" charset="0"/>
                </a:rPr>
                <a:t>0</a:t>
              </a:r>
              <a:endParaRPr kumimoji="0" lang="en-US" alt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endParaRPr>
            </a:p>
          </p:txBody>
        </p:sp>
        <p:sp>
          <p:nvSpPr>
            <p:cNvPr id="20" name="Line 62">
              <a:extLst>
                <a:ext uri="{FF2B5EF4-FFF2-40B4-BE49-F238E27FC236}">
                  <a16:creationId xmlns:a16="http://schemas.microsoft.com/office/drawing/2014/main" id="{B96DE76A-A0F0-49B9-9879-6BD3E9E9E69E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6200000">
              <a:off x="3873078" y="4699373"/>
              <a:ext cx="0" cy="181516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Text Box 63">
              <a:extLst>
                <a:ext uri="{FF2B5EF4-FFF2-40B4-BE49-F238E27FC236}">
                  <a16:creationId xmlns:a16="http://schemas.microsoft.com/office/drawing/2014/main" id="{1E2360FE-7AA4-4A8A-82C8-006B9D066C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94034" y="4642492"/>
              <a:ext cx="736053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9pPr>
            </a:lstStyle>
            <a:p>
              <a:pPr marL="0" marR="0" lvl="0" indent="0" algn="r" defTabSz="121917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Calibri" panose="020F0502020204030204" pitchFamily="34" charset="0"/>
                </a:rPr>
                <a:t>0.2</a:t>
              </a:r>
              <a:endParaRPr kumimoji="0" lang="en-US" alt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endParaRPr>
            </a:p>
          </p:txBody>
        </p:sp>
        <p:sp>
          <p:nvSpPr>
            <p:cNvPr id="22" name="Line 64">
              <a:extLst>
                <a:ext uri="{FF2B5EF4-FFF2-40B4-BE49-F238E27FC236}">
                  <a16:creationId xmlns:a16="http://schemas.microsoft.com/office/drawing/2014/main" id="{026F7430-5EFF-422B-BDA1-773298A64CF8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6200000">
              <a:off x="3873078" y="3981823"/>
              <a:ext cx="0" cy="181516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Text Box 65">
              <a:extLst>
                <a:ext uri="{FF2B5EF4-FFF2-40B4-BE49-F238E27FC236}">
                  <a16:creationId xmlns:a16="http://schemas.microsoft.com/office/drawing/2014/main" id="{1427548B-F23A-4437-BE7C-2EB9954B0CE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94034" y="3924941"/>
              <a:ext cx="736053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9pPr>
            </a:lstStyle>
            <a:p>
              <a:pPr marL="0" marR="0" lvl="0" indent="0" algn="r" defTabSz="121917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Calibri" panose="020F0502020204030204" pitchFamily="34" charset="0"/>
                </a:rPr>
                <a:t>0.4</a:t>
              </a:r>
              <a:endParaRPr kumimoji="0" lang="en-US" alt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endParaRPr>
            </a:p>
          </p:txBody>
        </p:sp>
        <p:sp>
          <p:nvSpPr>
            <p:cNvPr id="24" name="Line 66">
              <a:extLst>
                <a:ext uri="{FF2B5EF4-FFF2-40B4-BE49-F238E27FC236}">
                  <a16:creationId xmlns:a16="http://schemas.microsoft.com/office/drawing/2014/main" id="{BE36118B-7ED9-4C89-8454-06AF26062BC6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6200000">
              <a:off x="3873078" y="3267448"/>
              <a:ext cx="0" cy="181516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Text Box 67">
              <a:extLst>
                <a:ext uri="{FF2B5EF4-FFF2-40B4-BE49-F238E27FC236}">
                  <a16:creationId xmlns:a16="http://schemas.microsoft.com/office/drawing/2014/main" id="{577E0B2B-C967-4773-A538-734EAEB64AE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94034" y="3210567"/>
              <a:ext cx="736053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9pPr>
            </a:lstStyle>
            <a:p>
              <a:pPr marL="0" marR="0" lvl="0" indent="0" algn="r" defTabSz="121917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Calibri" panose="020F0502020204030204" pitchFamily="34" charset="0"/>
                </a:rPr>
                <a:t>0.6</a:t>
              </a:r>
              <a:endParaRPr kumimoji="0" lang="en-US" alt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endParaRPr>
            </a:p>
          </p:txBody>
        </p:sp>
        <p:sp>
          <p:nvSpPr>
            <p:cNvPr id="26" name="Line 68">
              <a:extLst>
                <a:ext uri="{FF2B5EF4-FFF2-40B4-BE49-F238E27FC236}">
                  <a16:creationId xmlns:a16="http://schemas.microsoft.com/office/drawing/2014/main" id="{FFD54F68-5FD8-47BD-9FC4-A86E3A0AAB12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6200000">
              <a:off x="3873078" y="2546723"/>
              <a:ext cx="0" cy="181516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" name="Text Box 69">
              <a:extLst>
                <a:ext uri="{FF2B5EF4-FFF2-40B4-BE49-F238E27FC236}">
                  <a16:creationId xmlns:a16="http://schemas.microsoft.com/office/drawing/2014/main" id="{9496943D-5871-4871-B44F-98A92EDAA04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94034" y="2489841"/>
              <a:ext cx="736053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9pPr>
            </a:lstStyle>
            <a:p>
              <a:pPr marL="0" marR="0" lvl="0" indent="0" algn="r" defTabSz="121917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Calibri" panose="020F0502020204030204" pitchFamily="34" charset="0"/>
                </a:rPr>
                <a:t>0.8</a:t>
              </a:r>
              <a:endParaRPr kumimoji="0" lang="en-US" alt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endParaRPr>
            </a:p>
          </p:txBody>
        </p:sp>
        <p:sp>
          <p:nvSpPr>
            <p:cNvPr id="28" name="Text Box 71">
              <a:extLst>
                <a:ext uri="{FF2B5EF4-FFF2-40B4-BE49-F238E27FC236}">
                  <a16:creationId xmlns:a16="http://schemas.microsoft.com/office/drawing/2014/main" id="{43DF7821-414F-4CDA-A840-CDC18BF944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94034" y="1792931"/>
              <a:ext cx="736053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9pPr>
            </a:lstStyle>
            <a:p>
              <a:pPr marL="0" marR="0" lvl="0" indent="0" algn="r" defTabSz="121917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Calibri" panose="020F0502020204030204" pitchFamily="34" charset="0"/>
                </a:rPr>
                <a:t>1.0</a:t>
              </a:r>
              <a:endParaRPr kumimoji="0" lang="en-US" alt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endParaRPr>
            </a:p>
          </p:txBody>
        </p:sp>
        <p:sp>
          <p:nvSpPr>
            <p:cNvPr id="29" name="Line 78">
              <a:extLst>
                <a:ext uri="{FF2B5EF4-FFF2-40B4-BE49-F238E27FC236}">
                  <a16:creationId xmlns:a16="http://schemas.microsoft.com/office/drawing/2014/main" id="{F7E15B43-8C3A-4579-8A62-920391A8C5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53972" y="5652141"/>
              <a:ext cx="0" cy="90488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" name="Text Box 79">
              <a:extLst>
                <a:ext uri="{FF2B5EF4-FFF2-40B4-BE49-F238E27FC236}">
                  <a16:creationId xmlns:a16="http://schemas.microsoft.com/office/drawing/2014/main" id="{51DF91FE-2B3F-429F-9C74-26F71C5882B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584352" y="5718816"/>
              <a:ext cx="736053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9pPr>
            </a:lstStyle>
            <a:p>
              <a:pPr marL="0" marR="0" lvl="0" indent="0" algn="ctr" defTabSz="121917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Calibri" panose="020F0502020204030204" pitchFamily="34" charset="0"/>
                </a:rPr>
                <a:t>3.0</a:t>
              </a:r>
              <a:endParaRPr kumimoji="0" lang="en-US" alt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88401200-6009-4205-9065-B3E73EC0F1BD}"/>
                </a:ext>
              </a:extLst>
            </p:cNvPr>
            <p:cNvGrpSpPr/>
            <p:nvPr/>
          </p:nvGrpSpPr>
          <p:grpSpPr>
            <a:xfrm>
              <a:off x="4269094" y="1857995"/>
              <a:ext cx="2171059" cy="830997"/>
              <a:chOff x="6163721" y="1769037"/>
              <a:chExt cx="1082286" cy="623248"/>
            </a:xfrm>
          </p:grpSpPr>
          <p:sp>
            <p:nvSpPr>
              <p:cNvPr id="40" name="Text Box 73">
                <a:extLst>
                  <a:ext uri="{FF2B5EF4-FFF2-40B4-BE49-F238E27FC236}">
                    <a16:creationId xmlns:a16="http://schemas.microsoft.com/office/drawing/2014/main" id="{F2FEB46C-A39E-4465-BB03-85A1A7C8865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371912" y="1769037"/>
                <a:ext cx="874095" cy="6232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 charset="-128"/>
                  </a:defRPr>
                </a:lvl1pPr>
                <a:lvl2pPr marL="742950" indent="-285750" eaLnBrk="0" hangingPunct="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 charset="-128"/>
                  </a:defRPr>
                </a:lvl2pPr>
                <a:lvl3pPr marL="1143000" indent="-228600" eaLnBrk="0" hangingPunct="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 charset="-128"/>
                  </a:defRPr>
                </a:lvl3pPr>
                <a:lvl4pPr marL="1600200" indent="-228600" eaLnBrk="0" hangingPunct="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 charset="-128"/>
                  </a:defRPr>
                </a:lvl4pPr>
                <a:lvl5pPr marL="2057400" indent="-228600" eaLnBrk="0" hangingPunct="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  <a:ea typeface="ヒラギノ角ゴ Pro W3" charset="-128"/>
                  </a:defRPr>
                </a:lvl9pPr>
              </a:lstStyle>
              <a:p>
                <a:pPr marL="0" marR="0" lvl="0" indent="0" defTabSz="121917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Calibri" panose="020F0502020204030204" pitchFamily="34" charset="0"/>
                  </a:rPr>
                  <a:t>PSADT &lt; 6.3 mos</a:t>
                </a:r>
              </a:p>
              <a:p>
                <a:pPr marL="0" marR="0" lvl="0" indent="0" defTabSz="121917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Calibri" panose="020F0502020204030204" pitchFamily="34" charset="0"/>
                  </a:rPr>
                  <a:t>PSADT 6.3-8.8 mos</a:t>
                </a:r>
              </a:p>
              <a:p>
                <a:pPr marL="0" marR="0" lvl="0" indent="0" defTabSz="121917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Calibri" panose="020F0502020204030204" pitchFamily="34" charset="0"/>
                  </a:rPr>
                  <a:t>PSADT &gt; 18.8 mos</a:t>
                </a:r>
                <a:endParaRPr kumimoji="0" lang="en-US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41" name="Line 75">
                <a:extLst>
                  <a:ext uri="{FF2B5EF4-FFF2-40B4-BE49-F238E27FC236}">
                    <a16:creationId xmlns:a16="http://schemas.microsoft.com/office/drawing/2014/main" id="{0D67FFFF-5E60-4246-AEB7-6EB79C721D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63721" y="2075011"/>
                <a:ext cx="22791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E1471D"/>
                </a:solidFill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42" name="Line 76">
                <a:extLst>
                  <a:ext uri="{FF2B5EF4-FFF2-40B4-BE49-F238E27FC236}">
                    <a16:creationId xmlns:a16="http://schemas.microsoft.com/office/drawing/2014/main" id="{E239F52A-70B9-472F-979B-CF4F90E8F8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70071" y="2291035"/>
                <a:ext cx="22791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823B"/>
                </a:solidFill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43" name="Line 83">
                <a:extLst>
                  <a:ext uri="{FF2B5EF4-FFF2-40B4-BE49-F238E27FC236}">
                    <a16:creationId xmlns:a16="http://schemas.microsoft.com/office/drawing/2014/main" id="{F61D57FA-0139-45F1-A52B-43786C43D7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63721" y="1858987"/>
                <a:ext cx="227917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15873"/>
                </a:solidFill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32" name="Line 85">
              <a:extLst>
                <a:ext uri="{FF2B5EF4-FFF2-40B4-BE49-F238E27FC236}">
                  <a16:creationId xmlns:a16="http://schemas.microsoft.com/office/drawing/2014/main" id="{47E27EA2-3B65-415A-AC7F-0D770342D659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6200000">
              <a:off x="3873078" y="1856160"/>
              <a:ext cx="0" cy="181516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Freeform 89">
              <a:extLst>
                <a:ext uri="{FF2B5EF4-FFF2-40B4-BE49-F238E27FC236}">
                  <a16:creationId xmlns:a16="http://schemas.microsoft.com/office/drawing/2014/main" id="{40465D73-6D8A-4FAC-A0B6-A2384068BD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2169" y="2899418"/>
              <a:ext cx="4779957" cy="2593975"/>
            </a:xfrm>
            <a:custGeom>
              <a:avLst/>
              <a:gdLst>
                <a:gd name="T0" fmla="*/ 2147483647 w 1501"/>
                <a:gd name="T1" fmla="*/ 0 h 1634"/>
                <a:gd name="T2" fmla="*/ 2147483647 w 1501"/>
                <a:gd name="T3" fmla="*/ 0 h 1634"/>
                <a:gd name="T4" fmla="*/ 2147483647 w 1501"/>
                <a:gd name="T5" fmla="*/ 2147483647 h 1634"/>
                <a:gd name="T6" fmla="*/ 2147483647 w 1501"/>
                <a:gd name="T7" fmla="*/ 2147483647 h 1634"/>
                <a:gd name="T8" fmla="*/ 2147483647 w 1501"/>
                <a:gd name="T9" fmla="*/ 2147483647 h 1634"/>
                <a:gd name="T10" fmla="*/ 2147483647 w 1501"/>
                <a:gd name="T11" fmla="*/ 2147483647 h 1634"/>
                <a:gd name="T12" fmla="*/ 2147483647 w 1501"/>
                <a:gd name="T13" fmla="*/ 2147483647 h 1634"/>
                <a:gd name="T14" fmla="*/ 2147483647 w 1501"/>
                <a:gd name="T15" fmla="*/ 2147483647 h 1634"/>
                <a:gd name="T16" fmla="*/ 2147483647 w 1501"/>
                <a:gd name="T17" fmla="*/ 2147483647 h 1634"/>
                <a:gd name="T18" fmla="*/ 2147483647 w 1501"/>
                <a:gd name="T19" fmla="*/ 2147483647 h 1634"/>
                <a:gd name="T20" fmla="*/ 2147483647 w 1501"/>
                <a:gd name="T21" fmla="*/ 2147483647 h 1634"/>
                <a:gd name="T22" fmla="*/ 2147483647 w 1501"/>
                <a:gd name="T23" fmla="*/ 2147483647 h 1634"/>
                <a:gd name="T24" fmla="*/ 2147483647 w 1501"/>
                <a:gd name="T25" fmla="*/ 2147483647 h 1634"/>
                <a:gd name="T26" fmla="*/ 2147483647 w 1501"/>
                <a:gd name="T27" fmla="*/ 2147483647 h 1634"/>
                <a:gd name="T28" fmla="*/ 2147483647 w 1501"/>
                <a:gd name="T29" fmla="*/ 2147483647 h 1634"/>
                <a:gd name="T30" fmla="*/ 2147483647 w 1501"/>
                <a:gd name="T31" fmla="*/ 2147483647 h 1634"/>
                <a:gd name="T32" fmla="*/ 2147483647 w 1501"/>
                <a:gd name="T33" fmla="*/ 2147483647 h 1634"/>
                <a:gd name="T34" fmla="*/ 2147483647 w 1501"/>
                <a:gd name="T35" fmla="*/ 2147483647 h 1634"/>
                <a:gd name="T36" fmla="*/ 2147483647 w 1501"/>
                <a:gd name="T37" fmla="*/ 2147483647 h 1634"/>
                <a:gd name="T38" fmla="*/ 2147483647 w 1501"/>
                <a:gd name="T39" fmla="*/ 2147483647 h 1634"/>
                <a:gd name="T40" fmla="*/ 2147483647 w 1501"/>
                <a:gd name="T41" fmla="*/ 2147483647 h 1634"/>
                <a:gd name="T42" fmla="*/ 2147483647 w 1501"/>
                <a:gd name="T43" fmla="*/ 2147483647 h 1634"/>
                <a:gd name="T44" fmla="*/ 2147483647 w 1501"/>
                <a:gd name="T45" fmla="*/ 2147483647 h 1634"/>
                <a:gd name="T46" fmla="*/ 2147483647 w 1501"/>
                <a:gd name="T47" fmla="*/ 2147483647 h 1634"/>
                <a:gd name="T48" fmla="*/ 2147483647 w 1501"/>
                <a:gd name="T49" fmla="*/ 2147483647 h 1634"/>
                <a:gd name="T50" fmla="*/ 2147483647 w 1501"/>
                <a:gd name="T51" fmla="*/ 2147483647 h 1634"/>
                <a:gd name="T52" fmla="*/ 2147483647 w 1501"/>
                <a:gd name="T53" fmla="*/ 2147483647 h 1634"/>
                <a:gd name="T54" fmla="*/ 2147483647 w 1501"/>
                <a:gd name="T55" fmla="*/ 2147483647 h 1634"/>
                <a:gd name="T56" fmla="*/ 2147483647 w 1501"/>
                <a:gd name="T57" fmla="*/ 2147483647 h 1634"/>
                <a:gd name="T58" fmla="*/ 2147483647 w 1501"/>
                <a:gd name="T59" fmla="*/ 2147483647 h 1634"/>
                <a:gd name="T60" fmla="*/ 2147483647 w 1501"/>
                <a:gd name="T61" fmla="*/ 2147483647 h 1634"/>
                <a:gd name="T62" fmla="*/ 2147483647 w 1501"/>
                <a:gd name="T63" fmla="*/ 2147483647 h 1634"/>
                <a:gd name="T64" fmla="*/ 2147483647 w 1501"/>
                <a:gd name="T65" fmla="*/ 2147483647 h 1634"/>
                <a:gd name="T66" fmla="*/ 2147483647 w 1501"/>
                <a:gd name="T67" fmla="*/ 2147483647 h 1634"/>
                <a:gd name="T68" fmla="*/ 2147483647 w 1501"/>
                <a:gd name="T69" fmla="*/ 2147483647 h 1634"/>
                <a:gd name="T70" fmla="*/ 2147483647 w 1501"/>
                <a:gd name="T71" fmla="*/ 2147483647 h 1634"/>
                <a:gd name="T72" fmla="*/ 2147483647 w 1501"/>
                <a:gd name="T73" fmla="*/ 2147483647 h 1634"/>
                <a:gd name="T74" fmla="*/ 2147483647 w 1501"/>
                <a:gd name="T75" fmla="*/ 2147483647 h 1634"/>
                <a:gd name="T76" fmla="*/ 2147483647 w 1501"/>
                <a:gd name="T77" fmla="*/ 2147483647 h 1634"/>
                <a:gd name="T78" fmla="*/ 2147483647 w 1501"/>
                <a:gd name="T79" fmla="*/ 2147483647 h 1634"/>
                <a:gd name="T80" fmla="*/ 2147483647 w 1501"/>
                <a:gd name="T81" fmla="*/ 2147483647 h 1634"/>
                <a:gd name="T82" fmla="*/ 2147483647 w 1501"/>
                <a:gd name="T83" fmla="*/ 2147483647 h 1634"/>
                <a:gd name="T84" fmla="*/ 2147483647 w 1501"/>
                <a:gd name="T85" fmla="*/ 2147483647 h 1634"/>
                <a:gd name="T86" fmla="*/ 2147483647 w 1501"/>
                <a:gd name="T87" fmla="*/ 2147483647 h 1634"/>
                <a:gd name="T88" fmla="*/ 2147483647 w 1501"/>
                <a:gd name="T89" fmla="*/ 2147483647 h 1634"/>
                <a:gd name="T90" fmla="*/ 2147483647 w 1501"/>
                <a:gd name="T91" fmla="*/ 2147483647 h 1634"/>
                <a:gd name="T92" fmla="*/ 2147483647 w 1501"/>
                <a:gd name="T93" fmla="*/ 2147483647 h 1634"/>
                <a:gd name="T94" fmla="*/ 2147483647 w 1501"/>
                <a:gd name="T95" fmla="*/ 2147483647 h 1634"/>
                <a:gd name="T96" fmla="*/ 2147483647 w 1501"/>
                <a:gd name="T97" fmla="*/ 2147483647 h 1634"/>
                <a:gd name="T98" fmla="*/ 2147483647 w 1501"/>
                <a:gd name="T99" fmla="*/ 2147483647 h 1634"/>
                <a:gd name="T100" fmla="*/ 2147483647 w 1501"/>
                <a:gd name="T101" fmla="*/ 2147483647 h 1634"/>
                <a:gd name="T102" fmla="*/ 2147483647 w 1501"/>
                <a:gd name="T103" fmla="*/ 2147483647 h 1634"/>
                <a:gd name="T104" fmla="*/ 2147483647 w 1501"/>
                <a:gd name="T105" fmla="*/ 2147483647 h 1634"/>
                <a:gd name="T106" fmla="*/ 2147483647 w 1501"/>
                <a:gd name="T107" fmla="*/ 2147483647 h 1634"/>
                <a:gd name="T108" fmla="*/ 2147483647 w 1501"/>
                <a:gd name="T109" fmla="*/ 2147483647 h 1634"/>
                <a:gd name="T110" fmla="*/ 2147483647 w 1501"/>
                <a:gd name="T111" fmla="*/ 2147483647 h 1634"/>
                <a:gd name="T112" fmla="*/ 2147483647 w 1501"/>
                <a:gd name="T113" fmla="*/ 2147483647 h 1634"/>
                <a:gd name="T114" fmla="*/ 2147483647 w 1501"/>
                <a:gd name="T115" fmla="*/ 2147483647 h 1634"/>
                <a:gd name="T116" fmla="*/ 2147483647 w 1501"/>
                <a:gd name="T117" fmla="*/ 2147483647 h 1634"/>
                <a:gd name="T118" fmla="*/ 2147483647 w 1501"/>
                <a:gd name="T119" fmla="*/ 2147483647 h 1634"/>
                <a:gd name="T120" fmla="*/ 2147483647 w 1501"/>
                <a:gd name="T121" fmla="*/ 2147483647 h 1634"/>
                <a:gd name="T122" fmla="*/ 0 w 1501"/>
                <a:gd name="T123" fmla="*/ 2147483647 h 16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501"/>
                <a:gd name="T187" fmla="*/ 0 h 1634"/>
                <a:gd name="T188" fmla="*/ 1501 w 1501"/>
                <a:gd name="T189" fmla="*/ 1634 h 16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501" h="1634">
                  <a:moveTo>
                    <a:pt x="1501" y="0"/>
                  </a:moveTo>
                  <a:lnTo>
                    <a:pt x="1249" y="0"/>
                  </a:lnTo>
                  <a:lnTo>
                    <a:pt x="1249" y="123"/>
                  </a:lnTo>
                  <a:lnTo>
                    <a:pt x="1120" y="123"/>
                  </a:lnTo>
                  <a:lnTo>
                    <a:pt x="1120" y="213"/>
                  </a:lnTo>
                  <a:lnTo>
                    <a:pt x="922" y="213"/>
                  </a:lnTo>
                  <a:lnTo>
                    <a:pt x="922" y="291"/>
                  </a:lnTo>
                  <a:lnTo>
                    <a:pt x="889" y="291"/>
                  </a:lnTo>
                  <a:lnTo>
                    <a:pt x="889" y="366"/>
                  </a:lnTo>
                  <a:lnTo>
                    <a:pt x="802" y="366"/>
                  </a:lnTo>
                  <a:lnTo>
                    <a:pt x="802" y="429"/>
                  </a:lnTo>
                  <a:lnTo>
                    <a:pt x="622" y="429"/>
                  </a:lnTo>
                  <a:lnTo>
                    <a:pt x="622" y="474"/>
                  </a:lnTo>
                  <a:lnTo>
                    <a:pt x="610" y="476"/>
                  </a:lnTo>
                  <a:lnTo>
                    <a:pt x="610" y="519"/>
                  </a:lnTo>
                  <a:lnTo>
                    <a:pt x="544" y="522"/>
                  </a:lnTo>
                  <a:lnTo>
                    <a:pt x="544" y="569"/>
                  </a:lnTo>
                  <a:lnTo>
                    <a:pt x="529" y="569"/>
                  </a:lnTo>
                  <a:lnTo>
                    <a:pt x="529" y="615"/>
                  </a:lnTo>
                  <a:lnTo>
                    <a:pt x="499" y="615"/>
                  </a:lnTo>
                  <a:lnTo>
                    <a:pt x="498" y="659"/>
                  </a:lnTo>
                  <a:lnTo>
                    <a:pt x="472" y="657"/>
                  </a:lnTo>
                  <a:lnTo>
                    <a:pt x="472" y="701"/>
                  </a:lnTo>
                  <a:lnTo>
                    <a:pt x="465" y="702"/>
                  </a:lnTo>
                  <a:lnTo>
                    <a:pt x="465" y="743"/>
                  </a:lnTo>
                  <a:lnTo>
                    <a:pt x="459" y="744"/>
                  </a:lnTo>
                  <a:lnTo>
                    <a:pt x="459" y="786"/>
                  </a:lnTo>
                  <a:lnTo>
                    <a:pt x="454" y="789"/>
                  </a:lnTo>
                  <a:lnTo>
                    <a:pt x="454" y="830"/>
                  </a:lnTo>
                  <a:lnTo>
                    <a:pt x="445" y="830"/>
                  </a:lnTo>
                  <a:lnTo>
                    <a:pt x="445" y="875"/>
                  </a:lnTo>
                  <a:lnTo>
                    <a:pt x="441" y="876"/>
                  </a:lnTo>
                  <a:lnTo>
                    <a:pt x="439" y="918"/>
                  </a:lnTo>
                  <a:lnTo>
                    <a:pt x="415" y="918"/>
                  </a:lnTo>
                  <a:lnTo>
                    <a:pt x="412" y="969"/>
                  </a:lnTo>
                  <a:lnTo>
                    <a:pt x="400" y="969"/>
                  </a:lnTo>
                  <a:lnTo>
                    <a:pt x="400" y="1008"/>
                  </a:lnTo>
                  <a:lnTo>
                    <a:pt x="352" y="1010"/>
                  </a:lnTo>
                  <a:lnTo>
                    <a:pt x="352" y="1052"/>
                  </a:lnTo>
                  <a:lnTo>
                    <a:pt x="334" y="1053"/>
                  </a:lnTo>
                  <a:lnTo>
                    <a:pt x="334" y="1094"/>
                  </a:lnTo>
                  <a:lnTo>
                    <a:pt x="327" y="1095"/>
                  </a:lnTo>
                  <a:lnTo>
                    <a:pt x="322" y="1137"/>
                  </a:lnTo>
                  <a:lnTo>
                    <a:pt x="321" y="1139"/>
                  </a:lnTo>
                  <a:lnTo>
                    <a:pt x="324" y="1176"/>
                  </a:lnTo>
                  <a:lnTo>
                    <a:pt x="321" y="1178"/>
                  </a:lnTo>
                  <a:lnTo>
                    <a:pt x="321" y="1218"/>
                  </a:lnTo>
                  <a:lnTo>
                    <a:pt x="315" y="1220"/>
                  </a:lnTo>
                  <a:lnTo>
                    <a:pt x="312" y="1263"/>
                  </a:lnTo>
                  <a:lnTo>
                    <a:pt x="303" y="1263"/>
                  </a:lnTo>
                  <a:lnTo>
                    <a:pt x="301" y="1301"/>
                  </a:lnTo>
                  <a:lnTo>
                    <a:pt x="178" y="1302"/>
                  </a:lnTo>
                  <a:lnTo>
                    <a:pt x="177" y="1335"/>
                  </a:lnTo>
                  <a:lnTo>
                    <a:pt x="174" y="1337"/>
                  </a:lnTo>
                  <a:lnTo>
                    <a:pt x="169" y="1379"/>
                  </a:lnTo>
                  <a:lnTo>
                    <a:pt x="159" y="1380"/>
                  </a:lnTo>
                  <a:lnTo>
                    <a:pt x="159" y="1410"/>
                  </a:lnTo>
                  <a:lnTo>
                    <a:pt x="154" y="1413"/>
                  </a:lnTo>
                  <a:lnTo>
                    <a:pt x="154" y="1596"/>
                  </a:lnTo>
                  <a:lnTo>
                    <a:pt x="118" y="1596"/>
                  </a:lnTo>
                  <a:lnTo>
                    <a:pt x="117" y="1634"/>
                  </a:lnTo>
                  <a:lnTo>
                    <a:pt x="0" y="1634"/>
                  </a:lnTo>
                </a:path>
              </a:pathLst>
            </a:custGeom>
            <a:noFill/>
            <a:ln w="19050" cap="flat" cmpd="sng" algn="ctr">
              <a:solidFill>
                <a:srgbClr val="015873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4" name="Freeform 90">
              <a:extLst>
                <a:ext uri="{FF2B5EF4-FFF2-40B4-BE49-F238E27FC236}">
                  <a16:creationId xmlns:a16="http://schemas.microsoft.com/office/drawing/2014/main" id="{E3C0C0EB-0AA1-41F8-91E3-49B9333F2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5354" y="3561406"/>
              <a:ext cx="4776772" cy="1928812"/>
            </a:xfrm>
            <a:custGeom>
              <a:avLst/>
              <a:gdLst>
                <a:gd name="T0" fmla="*/ 2147483647 w 1500"/>
                <a:gd name="T1" fmla="*/ 0 h 1215"/>
                <a:gd name="T2" fmla="*/ 2147483647 w 1500"/>
                <a:gd name="T3" fmla="*/ 0 h 1215"/>
                <a:gd name="T4" fmla="*/ 2147483647 w 1500"/>
                <a:gd name="T5" fmla="*/ 2147483647 h 1215"/>
                <a:gd name="T6" fmla="*/ 2147483647 w 1500"/>
                <a:gd name="T7" fmla="*/ 2147483647 h 1215"/>
                <a:gd name="T8" fmla="*/ 2147483647 w 1500"/>
                <a:gd name="T9" fmla="*/ 2147483647 h 1215"/>
                <a:gd name="T10" fmla="*/ 2147483647 w 1500"/>
                <a:gd name="T11" fmla="*/ 2147483647 h 1215"/>
                <a:gd name="T12" fmla="*/ 2147483647 w 1500"/>
                <a:gd name="T13" fmla="*/ 2147483647 h 1215"/>
                <a:gd name="T14" fmla="*/ 2147483647 w 1500"/>
                <a:gd name="T15" fmla="*/ 2147483647 h 1215"/>
                <a:gd name="T16" fmla="*/ 2147483647 w 1500"/>
                <a:gd name="T17" fmla="*/ 2147483647 h 1215"/>
                <a:gd name="T18" fmla="*/ 2147483647 w 1500"/>
                <a:gd name="T19" fmla="*/ 2147483647 h 1215"/>
                <a:gd name="T20" fmla="*/ 2147483647 w 1500"/>
                <a:gd name="T21" fmla="*/ 2147483647 h 1215"/>
                <a:gd name="T22" fmla="*/ 2147483647 w 1500"/>
                <a:gd name="T23" fmla="*/ 2147483647 h 1215"/>
                <a:gd name="T24" fmla="*/ 2147483647 w 1500"/>
                <a:gd name="T25" fmla="*/ 2147483647 h 1215"/>
                <a:gd name="T26" fmla="*/ 2147483647 w 1500"/>
                <a:gd name="T27" fmla="*/ 2147483647 h 1215"/>
                <a:gd name="T28" fmla="*/ 2147483647 w 1500"/>
                <a:gd name="T29" fmla="*/ 2147483647 h 1215"/>
                <a:gd name="T30" fmla="*/ 2147483647 w 1500"/>
                <a:gd name="T31" fmla="*/ 2147483647 h 1215"/>
                <a:gd name="T32" fmla="*/ 2147483647 w 1500"/>
                <a:gd name="T33" fmla="*/ 2147483647 h 1215"/>
                <a:gd name="T34" fmla="*/ 2147483647 w 1500"/>
                <a:gd name="T35" fmla="*/ 2147483647 h 1215"/>
                <a:gd name="T36" fmla="*/ 2147483647 w 1500"/>
                <a:gd name="T37" fmla="*/ 2147483647 h 1215"/>
                <a:gd name="T38" fmla="*/ 2147483647 w 1500"/>
                <a:gd name="T39" fmla="*/ 2147483647 h 1215"/>
                <a:gd name="T40" fmla="*/ 2147483647 w 1500"/>
                <a:gd name="T41" fmla="*/ 2147483647 h 1215"/>
                <a:gd name="T42" fmla="*/ 2147483647 w 1500"/>
                <a:gd name="T43" fmla="*/ 2147483647 h 1215"/>
                <a:gd name="T44" fmla="*/ 2147483647 w 1500"/>
                <a:gd name="T45" fmla="*/ 2147483647 h 1215"/>
                <a:gd name="T46" fmla="*/ 2147483647 w 1500"/>
                <a:gd name="T47" fmla="*/ 2147483647 h 1215"/>
                <a:gd name="T48" fmla="*/ 2147483647 w 1500"/>
                <a:gd name="T49" fmla="*/ 2147483647 h 1215"/>
                <a:gd name="T50" fmla="*/ 2147483647 w 1500"/>
                <a:gd name="T51" fmla="*/ 2147483647 h 1215"/>
                <a:gd name="T52" fmla="*/ 2147483647 w 1500"/>
                <a:gd name="T53" fmla="*/ 2147483647 h 1215"/>
                <a:gd name="T54" fmla="*/ 2147483647 w 1500"/>
                <a:gd name="T55" fmla="*/ 2147483647 h 1215"/>
                <a:gd name="T56" fmla="*/ 2147483647 w 1500"/>
                <a:gd name="T57" fmla="*/ 2147483647 h 1215"/>
                <a:gd name="T58" fmla="*/ 2147483647 w 1500"/>
                <a:gd name="T59" fmla="*/ 2147483647 h 1215"/>
                <a:gd name="T60" fmla="*/ 2147483647 w 1500"/>
                <a:gd name="T61" fmla="*/ 2147483647 h 1215"/>
                <a:gd name="T62" fmla="*/ 2147483647 w 1500"/>
                <a:gd name="T63" fmla="*/ 2147483647 h 1215"/>
                <a:gd name="T64" fmla="*/ 2147483647 w 1500"/>
                <a:gd name="T65" fmla="*/ 2147483647 h 1215"/>
                <a:gd name="T66" fmla="*/ 2147483647 w 1500"/>
                <a:gd name="T67" fmla="*/ 2147483647 h 1215"/>
                <a:gd name="T68" fmla="*/ 2147483647 w 1500"/>
                <a:gd name="T69" fmla="*/ 2147483647 h 1215"/>
                <a:gd name="T70" fmla="*/ 2147483647 w 1500"/>
                <a:gd name="T71" fmla="*/ 2147483647 h 1215"/>
                <a:gd name="T72" fmla="*/ 2147483647 w 1500"/>
                <a:gd name="T73" fmla="*/ 2147483647 h 1215"/>
                <a:gd name="T74" fmla="*/ 2147483647 w 1500"/>
                <a:gd name="T75" fmla="*/ 2147483647 h 1215"/>
                <a:gd name="T76" fmla="*/ 2147483647 w 1500"/>
                <a:gd name="T77" fmla="*/ 2147483647 h 1215"/>
                <a:gd name="T78" fmla="*/ 2147483647 w 1500"/>
                <a:gd name="T79" fmla="*/ 2147483647 h 1215"/>
                <a:gd name="T80" fmla="*/ 2147483647 w 1500"/>
                <a:gd name="T81" fmla="*/ 2147483647 h 1215"/>
                <a:gd name="T82" fmla="*/ 2147483647 w 1500"/>
                <a:gd name="T83" fmla="*/ 2147483647 h 1215"/>
                <a:gd name="T84" fmla="*/ 2147483647 w 1500"/>
                <a:gd name="T85" fmla="*/ 2147483647 h 1215"/>
                <a:gd name="T86" fmla="*/ 2147483647 w 1500"/>
                <a:gd name="T87" fmla="*/ 2147483647 h 1215"/>
                <a:gd name="T88" fmla="*/ 2147483647 w 1500"/>
                <a:gd name="T89" fmla="*/ 2147483647 h 1215"/>
                <a:gd name="T90" fmla="*/ 0 w 1500"/>
                <a:gd name="T91" fmla="*/ 2147483647 h 121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500"/>
                <a:gd name="T139" fmla="*/ 0 h 1215"/>
                <a:gd name="T140" fmla="*/ 1500 w 1500"/>
                <a:gd name="T141" fmla="*/ 1215 h 121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500" h="1215">
                  <a:moveTo>
                    <a:pt x="1500" y="0"/>
                  </a:moveTo>
                  <a:lnTo>
                    <a:pt x="1230" y="0"/>
                  </a:lnTo>
                  <a:lnTo>
                    <a:pt x="1230" y="81"/>
                  </a:lnTo>
                  <a:lnTo>
                    <a:pt x="1131" y="81"/>
                  </a:lnTo>
                  <a:lnTo>
                    <a:pt x="1131" y="147"/>
                  </a:lnTo>
                  <a:lnTo>
                    <a:pt x="1080" y="147"/>
                  </a:lnTo>
                  <a:lnTo>
                    <a:pt x="1080" y="204"/>
                  </a:lnTo>
                  <a:lnTo>
                    <a:pt x="1029" y="204"/>
                  </a:lnTo>
                  <a:lnTo>
                    <a:pt x="1029" y="261"/>
                  </a:lnTo>
                  <a:lnTo>
                    <a:pt x="957" y="261"/>
                  </a:lnTo>
                  <a:lnTo>
                    <a:pt x="957" y="312"/>
                  </a:lnTo>
                  <a:lnTo>
                    <a:pt x="888" y="312"/>
                  </a:lnTo>
                  <a:lnTo>
                    <a:pt x="888" y="360"/>
                  </a:lnTo>
                  <a:lnTo>
                    <a:pt x="807" y="360"/>
                  </a:lnTo>
                  <a:lnTo>
                    <a:pt x="807" y="408"/>
                  </a:lnTo>
                  <a:lnTo>
                    <a:pt x="771" y="408"/>
                  </a:lnTo>
                  <a:lnTo>
                    <a:pt x="768" y="504"/>
                  </a:lnTo>
                  <a:lnTo>
                    <a:pt x="636" y="504"/>
                  </a:lnTo>
                  <a:lnTo>
                    <a:pt x="636" y="546"/>
                  </a:lnTo>
                  <a:lnTo>
                    <a:pt x="623" y="548"/>
                  </a:lnTo>
                  <a:lnTo>
                    <a:pt x="624" y="591"/>
                  </a:lnTo>
                  <a:lnTo>
                    <a:pt x="561" y="591"/>
                  </a:lnTo>
                  <a:lnTo>
                    <a:pt x="561" y="633"/>
                  </a:lnTo>
                  <a:lnTo>
                    <a:pt x="492" y="633"/>
                  </a:lnTo>
                  <a:lnTo>
                    <a:pt x="492" y="687"/>
                  </a:lnTo>
                  <a:lnTo>
                    <a:pt x="459" y="687"/>
                  </a:lnTo>
                  <a:lnTo>
                    <a:pt x="459" y="852"/>
                  </a:lnTo>
                  <a:lnTo>
                    <a:pt x="396" y="852"/>
                  </a:lnTo>
                  <a:lnTo>
                    <a:pt x="396" y="900"/>
                  </a:lnTo>
                  <a:lnTo>
                    <a:pt x="386" y="900"/>
                  </a:lnTo>
                  <a:lnTo>
                    <a:pt x="387" y="939"/>
                  </a:lnTo>
                  <a:lnTo>
                    <a:pt x="366" y="938"/>
                  </a:lnTo>
                  <a:lnTo>
                    <a:pt x="366" y="980"/>
                  </a:lnTo>
                  <a:lnTo>
                    <a:pt x="327" y="981"/>
                  </a:lnTo>
                  <a:lnTo>
                    <a:pt x="327" y="1020"/>
                  </a:lnTo>
                  <a:lnTo>
                    <a:pt x="303" y="1020"/>
                  </a:lnTo>
                  <a:lnTo>
                    <a:pt x="302" y="1055"/>
                  </a:lnTo>
                  <a:lnTo>
                    <a:pt x="246" y="1056"/>
                  </a:lnTo>
                  <a:lnTo>
                    <a:pt x="246" y="1101"/>
                  </a:lnTo>
                  <a:lnTo>
                    <a:pt x="162" y="1101"/>
                  </a:lnTo>
                  <a:lnTo>
                    <a:pt x="156" y="1124"/>
                  </a:lnTo>
                  <a:lnTo>
                    <a:pt x="134" y="1137"/>
                  </a:lnTo>
                  <a:lnTo>
                    <a:pt x="126" y="1168"/>
                  </a:lnTo>
                  <a:lnTo>
                    <a:pt x="96" y="1176"/>
                  </a:lnTo>
                  <a:lnTo>
                    <a:pt x="90" y="1199"/>
                  </a:lnTo>
                  <a:lnTo>
                    <a:pt x="0" y="1215"/>
                  </a:lnTo>
                </a:path>
              </a:pathLst>
            </a:custGeom>
            <a:noFill/>
            <a:ln w="19050" cap="flat" cmpd="sng" algn="ctr">
              <a:solidFill>
                <a:srgbClr val="E1471D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5" name="Freeform 91">
              <a:extLst>
                <a:ext uri="{FF2B5EF4-FFF2-40B4-BE49-F238E27FC236}">
                  <a16:creationId xmlns:a16="http://schemas.microsoft.com/office/drawing/2014/main" id="{98A46760-6BBD-4E0A-A062-6C965D17D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6247" y="3932881"/>
              <a:ext cx="4824538" cy="1566863"/>
            </a:xfrm>
            <a:custGeom>
              <a:avLst/>
              <a:gdLst>
                <a:gd name="T0" fmla="*/ 2147483647 w 1515"/>
                <a:gd name="T1" fmla="*/ 0 h 987"/>
                <a:gd name="T2" fmla="*/ 2147483647 w 1515"/>
                <a:gd name="T3" fmla="*/ 0 h 987"/>
                <a:gd name="T4" fmla="*/ 2147483647 w 1515"/>
                <a:gd name="T5" fmla="*/ 2147483647 h 987"/>
                <a:gd name="T6" fmla="*/ 2147483647 w 1515"/>
                <a:gd name="T7" fmla="*/ 2147483647 h 987"/>
                <a:gd name="T8" fmla="*/ 2147483647 w 1515"/>
                <a:gd name="T9" fmla="*/ 2147483647 h 987"/>
                <a:gd name="T10" fmla="*/ 2147483647 w 1515"/>
                <a:gd name="T11" fmla="*/ 2147483647 h 987"/>
                <a:gd name="T12" fmla="*/ 2147483647 w 1515"/>
                <a:gd name="T13" fmla="*/ 2147483647 h 987"/>
                <a:gd name="T14" fmla="*/ 2147483647 w 1515"/>
                <a:gd name="T15" fmla="*/ 2147483647 h 987"/>
                <a:gd name="T16" fmla="*/ 2147483647 w 1515"/>
                <a:gd name="T17" fmla="*/ 2147483647 h 987"/>
                <a:gd name="T18" fmla="*/ 2147483647 w 1515"/>
                <a:gd name="T19" fmla="*/ 2147483647 h 987"/>
                <a:gd name="T20" fmla="*/ 2147483647 w 1515"/>
                <a:gd name="T21" fmla="*/ 2147483647 h 987"/>
                <a:gd name="T22" fmla="*/ 2147483647 w 1515"/>
                <a:gd name="T23" fmla="*/ 2147483647 h 987"/>
                <a:gd name="T24" fmla="*/ 2147483647 w 1515"/>
                <a:gd name="T25" fmla="*/ 2147483647 h 987"/>
                <a:gd name="T26" fmla="*/ 2147483647 w 1515"/>
                <a:gd name="T27" fmla="*/ 2147483647 h 987"/>
                <a:gd name="T28" fmla="*/ 2147483647 w 1515"/>
                <a:gd name="T29" fmla="*/ 2147483647 h 987"/>
                <a:gd name="T30" fmla="*/ 2147483647 w 1515"/>
                <a:gd name="T31" fmla="*/ 2147483647 h 987"/>
                <a:gd name="T32" fmla="*/ 2147483647 w 1515"/>
                <a:gd name="T33" fmla="*/ 2147483647 h 987"/>
                <a:gd name="T34" fmla="*/ 2147483647 w 1515"/>
                <a:gd name="T35" fmla="*/ 2147483647 h 987"/>
                <a:gd name="T36" fmla="*/ 2147483647 w 1515"/>
                <a:gd name="T37" fmla="*/ 2147483647 h 987"/>
                <a:gd name="T38" fmla="*/ 2147483647 w 1515"/>
                <a:gd name="T39" fmla="*/ 2147483647 h 987"/>
                <a:gd name="T40" fmla="*/ 2147483647 w 1515"/>
                <a:gd name="T41" fmla="*/ 2147483647 h 987"/>
                <a:gd name="T42" fmla="*/ 2147483647 w 1515"/>
                <a:gd name="T43" fmla="*/ 2147483647 h 987"/>
                <a:gd name="T44" fmla="*/ 2147483647 w 1515"/>
                <a:gd name="T45" fmla="*/ 2147483647 h 987"/>
                <a:gd name="T46" fmla="*/ 0 w 1515"/>
                <a:gd name="T47" fmla="*/ 2147483647 h 98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515"/>
                <a:gd name="T73" fmla="*/ 0 h 987"/>
                <a:gd name="T74" fmla="*/ 1515 w 1515"/>
                <a:gd name="T75" fmla="*/ 987 h 98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515" h="987">
                  <a:moveTo>
                    <a:pt x="1515" y="0"/>
                  </a:moveTo>
                  <a:lnTo>
                    <a:pt x="1353" y="0"/>
                  </a:lnTo>
                  <a:lnTo>
                    <a:pt x="1353" y="318"/>
                  </a:lnTo>
                  <a:lnTo>
                    <a:pt x="1095" y="318"/>
                  </a:lnTo>
                  <a:lnTo>
                    <a:pt x="1095" y="444"/>
                  </a:lnTo>
                  <a:lnTo>
                    <a:pt x="1026" y="444"/>
                  </a:lnTo>
                  <a:lnTo>
                    <a:pt x="1026" y="507"/>
                  </a:lnTo>
                  <a:lnTo>
                    <a:pt x="927" y="507"/>
                  </a:lnTo>
                  <a:lnTo>
                    <a:pt x="927" y="558"/>
                  </a:lnTo>
                  <a:lnTo>
                    <a:pt x="858" y="558"/>
                  </a:lnTo>
                  <a:lnTo>
                    <a:pt x="858" y="603"/>
                  </a:lnTo>
                  <a:lnTo>
                    <a:pt x="837" y="603"/>
                  </a:lnTo>
                  <a:lnTo>
                    <a:pt x="837" y="648"/>
                  </a:lnTo>
                  <a:lnTo>
                    <a:pt x="654" y="648"/>
                  </a:lnTo>
                  <a:lnTo>
                    <a:pt x="654" y="693"/>
                  </a:lnTo>
                  <a:lnTo>
                    <a:pt x="483" y="693"/>
                  </a:lnTo>
                  <a:lnTo>
                    <a:pt x="483" y="786"/>
                  </a:lnTo>
                  <a:lnTo>
                    <a:pt x="201" y="786"/>
                  </a:lnTo>
                  <a:lnTo>
                    <a:pt x="201" y="828"/>
                  </a:lnTo>
                  <a:lnTo>
                    <a:pt x="174" y="828"/>
                  </a:lnTo>
                  <a:lnTo>
                    <a:pt x="174" y="945"/>
                  </a:lnTo>
                  <a:lnTo>
                    <a:pt x="123" y="945"/>
                  </a:lnTo>
                  <a:lnTo>
                    <a:pt x="123" y="984"/>
                  </a:lnTo>
                  <a:lnTo>
                    <a:pt x="0" y="987"/>
                  </a:lnTo>
                </a:path>
              </a:pathLst>
            </a:custGeom>
            <a:noFill/>
            <a:ln w="19050" cap="flat" cmpd="sng" algn="ctr">
              <a:solidFill>
                <a:srgbClr val="00823B"/>
              </a:solidFill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6" name="Line 28">
              <a:extLst>
                <a:ext uri="{FF2B5EF4-FFF2-40B4-BE49-F238E27FC236}">
                  <a16:creationId xmlns:a16="http://schemas.microsoft.com/office/drawing/2014/main" id="{6FADB51D-E96B-41E9-8E14-C21B91CD45EE}"/>
                </a:ext>
              </a:extLst>
            </p:cNvPr>
            <p:cNvSpPr>
              <a:spLocks noChangeShapeType="1"/>
            </p:cNvSpPr>
            <p:nvPr/>
          </p:nvSpPr>
          <p:spPr bwMode="auto">
            <a:xfrm rot="16200000">
              <a:off x="3873078" y="5559799"/>
              <a:ext cx="0" cy="181516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Text Box 27">
              <a:extLst>
                <a:ext uri="{FF2B5EF4-FFF2-40B4-BE49-F238E27FC236}">
                  <a16:creationId xmlns:a16="http://schemas.microsoft.com/office/drawing/2014/main" id="{3BA4357A-73A5-45FD-A42F-9FB0614DF37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47645" y="5477272"/>
              <a:ext cx="461119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ヒラギノ角ゴ Pro W3" charset="-128"/>
                </a:defRPr>
              </a:lvl9pPr>
            </a:lstStyle>
            <a:p>
              <a:pPr marL="0" marR="0" lvl="0" indent="0" algn="ctr" defTabSz="121917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Calibri" panose="020F0502020204030204" pitchFamily="34" charset="0"/>
                </a:rPr>
                <a:t>0</a:t>
              </a:r>
              <a:endParaRPr kumimoji="0" lang="en-US" alt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endParaRPr>
            </a:p>
          </p:txBody>
        </p:sp>
        <p:sp>
          <p:nvSpPr>
            <p:cNvPr id="38" name="TextBox 25">
              <a:extLst>
                <a:ext uri="{FF2B5EF4-FFF2-40B4-BE49-F238E27FC236}">
                  <a16:creationId xmlns:a16="http://schemas.microsoft.com/office/drawing/2014/main" id="{404532C0-0A14-4259-9261-89E13C1C3F4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820674" y="3700477"/>
              <a:ext cx="4452916" cy="2873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120000" bIns="0" anchor="ctr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alt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Patients With Bone Metastases or Dead (%)</a:t>
              </a:r>
            </a:p>
          </p:txBody>
        </p:sp>
        <p:sp>
          <p:nvSpPr>
            <p:cNvPr id="39" name="TextBox 25">
              <a:extLst>
                <a:ext uri="{FF2B5EF4-FFF2-40B4-BE49-F238E27FC236}">
                  <a16:creationId xmlns:a16="http://schemas.microsoft.com/office/drawing/2014/main" id="{7386C6E2-DFA5-4BBE-83C8-D32FA15325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90825" y="6098417"/>
              <a:ext cx="5869698" cy="2873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120000" bIns="0" anchor="ctr">
              <a:sp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altLang="en-US" sz="18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Y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3619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65B73F5-8374-4DDE-AA47-4EA5883DC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Yeni </a:t>
            </a:r>
            <a:r>
              <a:rPr lang="en-GB" dirty="0" err="1"/>
              <a:t>Nesil</a:t>
            </a:r>
            <a:r>
              <a:rPr lang="en-GB" dirty="0"/>
              <a:t> </a:t>
            </a:r>
            <a:r>
              <a:rPr lang="en-GB" dirty="0" err="1"/>
              <a:t>Androjen</a:t>
            </a:r>
            <a:r>
              <a:rPr lang="en-GB" dirty="0"/>
              <a:t> </a:t>
            </a:r>
            <a:r>
              <a:rPr lang="en-GB" dirty="0" err="1"/>
              <a:t>Reseptör</a:t>
            </a:r>
            <a:r>
              <a:rPr lang="en-GB" dirty="0"/>
              <a:t> </a:t>
            </a:r>
            <a:r>
              <a:rPr lang="en-GB" dirty="0" err="1"/>
              <a:t>İnhibitörü</a:t>
            </a:r>
            <a:endParaRPr lang="en-GB" dirty="0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8C2B634-2582-4CF1-9CE5-F0B067065029}"/>
              </a:ext>
            </a:extLst>
          </p:cNvPr>
          <p:cNvGrpSpPr/>
          <p:nvPr/>
        </p:nvGrpSpPr>
        <p:grpSpPr>
          <a:xfrm>
            <a:off x="911092" y="2506592"/>
            <a:ext cx="10369815" cy="1844816"/>
            <a:chOff x="1019486" y="1657243"/>
            <a:chExt cx="10369815" cy="1844816"/>
          </a:xfrm>
        </p:grpSpPr>
        <p:pic>
          <p:nvPicPr>
            <p:cNvPr id="45" name="Picture 3">
              <a:extLst>
                <a:ext uri="{FF2B5EF4-FFF2-40B4-BE49-F238E27FC236}">
                  <a16:creationId xmlns:a16="http://schemas.microsoft.com/office/drawing/2014/main" id="{2665ED1F-3FB3-4AB7-AEEA-14A04B3411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24864" y="1981944"/>
              <a:ext cx="2964437" cy="146304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46" name="Picture 45" descr="A close up of a logo&#10;&#10;Description automatically generated">
              <a:extLst>
                <a:ext uri="{FF2B5EF4-FFF2-40B4-BE49-F238E27FC236}">
                  <a16:creationId xmlns:a16="http://schemas.microsoft.com/office/drawing/2014/main" id="{6D240DDB-96BF-4675-8774-E41920D5E0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0359" b="5215"/>
            <a:stretch/>
          </p:blipFill>
          <p:spPr>
            <a:xfrm>
              <a:off x="4875736" y="2226534"/>
              <a:ext cx="2792219" cy="1254923"/>
            </a:xfrm>
            <a:prstGeom prst="rect">
              <a:avLst/>
            </a:prstGeom>
          </p:spPr>
        </p:pic>
        <p:pic>
          <p:nvPicPr>
            <p:cNvPr id="47" name="Picture 46" descr="A close up of a logo&#10;&#10;Description automatically generated">
              <a:extLst>
                <a:ext uri="{FF2B5EF4-FFF2-40B4-BE49-F238E27FC236}">
                  <a16:creationId xmlns:a16="http://schemas.microsoft.com/office/drawing/2014/main" id="{CEB8D0D5-72DB-40A3-9916-99A2BA433C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982" r="38555" b="5215"/>
            <a:stretch/>
          </p:blipFill>
          <p:spPr>
            <a:xfrm>
              <a:off x="1019486" y="2247136"/>
              <a:ext cx="2775474" cy="1254923"/>
            </a:xfrm>
            <a:prstGeom prst="rect">
              <a:avLst/>
            </a:prstGeom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8B487D19-E6A2-438E-B5F1-0EE6DF0CCBB7}"/>
                </a:ext>
              </a:extLst>
            </p:cNvPr>
            <p:cNvSpPr txBox="1"/>
            <p:nvPr/>
          </p:nvSpPr>
          <p:spPr bwMode="auto">
            <a:xfrm>
              <a:off x="1491652" y="1657243"/>
              <a:ext cx="1831142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defTabSz="1219170" eaLnBrk="1" fontAlgn="auto" hangingPunct="1">
                <a:spcBef>
                  <a:spcPct val="50000"/>
                </a:spcBef>
                <a:defRPr/>
              </a:pPr>
              <a:r>
                <a:rPr lang="en-US" sz="2400" dirty="0">
                  <a:solidFill>
                    <a:srgbClr val="000000"/>
                  </a:solidFill>
                  <a:latin typeface="Calibri" panose="020F0502020204030204" pitchFamily="34" charset="0"/>
                </a:rPr>
                <a:t>Apalutamide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285FF075-C514-4086-93CD-E5E19990B2DA}"/>
                </a:ext>
              </a:extLst>
            </p:cNvPr>
            <p:cNvSpPr txBox="1"/>
            <p:nvPr/>
          </p:nvSpPr>
          <p:spPr bwMode="auto">
            <a:xfrm>
              <a:off x="5299159" y="1657243"/>
              <a:ext cx="1913794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defTabSz="1219170" eaLnBrk="1" fontAlgn="auto" hangingPunct="1">
                <a:spcBef>
                  <a:spcPct val="50000"/>
                </a:spcBef>
                <a:defRPr/>
              </a:pPr>
              <a:r>
                <a:rPr lang="en-US" sz="2400" dirty="0">
                  <a:solidFill>
                    <a:srgbClr val="000000"/>
                  </a:solidFill>
                  <a:latin typeface="Calibri" panose="020F0502020204030204" pitchFamily="34" charset="0"/>
                </a:rPr>
                <a:t>Enzalutamide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401082D5-A0BC-45C2-9944-1EC705789829}"/>
                </a:ext>
              </a:extLst>
            </p:cNvPr>
            <p:cNvSpPr txBox="1"/>
            <p:nvPr/>
          </p:nvSpPr>
          <p:spPr bwMode="auto">
            <a:xfrm>
              <a:off x="8934893" y="1657243"/>
              <a:ext cx="1944378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defTabSz="1219170" eaLnBrk="1" fontAlgn="auto" hangingPunct="1">
                <a:spcBef>
                  <a:spcPct val="50000"/>
                </a:spcBef>
                <a:defRPr/>
              </a:pPr>
              <a:r>
                <a:rPr lang="en-US" sz="2400" dirty="0">
                  <a:solidFill>
                    <a:srgbClr val="000000"/>
                  </a:solidFill>
                  <a:latin typeface="Calibri" panose="020F0502020204030204" pitchFamily="34" charset="0"/>
                </a:rPr>
                <a:t>Darolutami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6967163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5">
            <a:extLst>
              <a:ext uri="{FF2B5EF4-FFF2-40B4-BE49-F238E27FC236}">
                <a16:creationId xmlns:a16="http://schemas.microsoft.com/office/drawing/2014/main" id="{EB5AD536-EBC0-412B-9DBF-A26D1E2210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68041" y="1474574"/>
            <a:ext cx="2568575" cy="92333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atients with </a:t>
            </a:r>
            <a:r>
              <a:rPr kumimoji="0" lang="en-GB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nmCRPC</a:t>
            </a:r>
            <a:endParaRPr kumimoji="0" lang="en-GB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9">
            <a:extLst>
              <a:ext uri="{FF2B5EF4-FFF2-40B4-BE49-F238E27FC236}">
                <a16:creationId xmlns:a16="http://schemas.microsoft.com/office/drawing/2014/main" id="{D445A6CA-7E26-42AD-BF93-04087E78EC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8313" y="1258252"/>
            <a:ext cx="3790950" cy="8340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palutamide (SPARTAN)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Enzalutamide (PROSPER)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Darolutamide (ARAMIS)</a:t>
            </a:r>
          </a:p>
        </p:txBody>
      </p:sp>
      <p:sp>
        <p:nvSpPr>
          <p:cNvPr id="6" name="Rectangle 50">
            <a:extLst>
              <a:ext uri="{FF2B5EF4-FFF2-40B4-BE49-F238E27FC236}">
                <a16:creationId xmlns:a16="http://schemas.microsoft.com/office/drawing/2014/main" id="{F71B8EA9-699B-43D0-AA79-B77033D1FE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8313" y="2202816"/>
            <a:ext cx="3790950" cy="3693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lacebo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Line 53">
            <a:extLst>
              <a:ext uri="{FF2B5EF4-FFF2-40B4-BE49-F238E27FC236}">
                <a16:creationId xmlns:a16="http://schemas.microsoft.com/office/drawing/2014/main" id="{81F3B721-6B4F-4948-9A2A-22C2679A8379}"/>
              </a:ext>
            </a:extLst>
          </p:cNvPr>
          <p:cNvSpPr>
            <a:spLocks noChangeShapeType="1"/>
          </p:cNvSpPr>
          <p:nvPr/>
        </p:nvSpPr>
        <p:spPr bwMode="auto">
          <a:xfrm>
            <a:off x="4811713" y="2007554"/>
            <a:ext cx="622300" cy="350837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Line 54">
            <a:extLst>
              <a:ext uri="{FF2B5EF4-FFF2-40B4-BE49-F238E27FC236}">
                <a16:creationId xmlns:a16="http://schemas.microsoft.com/office/drawing/2014/main" id="{CB6201A1-CFA2-4251-8BB4-6BD0C1EAF19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11713" y="1407478"/>
            <a:ext cx="622300" cy="347662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AD6FB2-EE9B-4168-9E38-0A03C5C24CCF}"/>
              </a:ext>
            </a:extLst>
          </p:cNvPr>
          <p:cNvSpPr txBox="1"/>
          <p:nvPr/>
        </p:nvSpPr>
        <p:spPr bwMode="auto">
          <a:xfrm>
            <a:off x="4806952" y="1692879"/>
            <a:ext cx="56605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: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9445023-CC67-4BB6-BC6E-F04080A247CE}"/>
              </a:ext>
            </a:extLst>
          </p:cNvPr>
          <p:cNvSpPr txBox="1"/>
          <p:nvPr/>
        </p:nvSpPr>
        <p:spPr bwMode="auto">
          <a:xfrm>
            <a:off x="66091" y="6239112"/>
            <a:ext cx="985006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mall. ASCO 2020. Abstract 5516. 2. NCT01946204. 3. Smith. NEJM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18;378:1408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4. NCT02003924. 5. Sternberg. NEJM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2020;382:2197.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. Hussain. NEJM. 2018;378:2465. 7. Sternberg. NEJM. 2020;382:2197. 8. Fizazi. ASCO 2020. Abstract 5514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9.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zazi. NEJM. 2019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;380:1235.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2BD5499-664D-48A2-BB1C-6D4EE5BF35D7}"/>
              </a:ext>
            </a:extLst>
          </p:cNvPr>
          <p:cNvCxnSpPr>
            <a:cxnSpLocks/>
          </p:cNvCxnSpPr>
          <p:nvPr/>
        </p:nvCxnSpPr>
        <p:spPr bwMode="auto">
          <a:xfrm>
            <a:off x="4806952" y="1258252"/>
            <a:ext cx="312303" cy="275908"/>
          </a:xfrm>
          <a:prstGeom prst="straightConnector1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graphicFrame>
        <p:nvGraphicFramePr>
          <p:cNvPr id="15" name="Group 32">
            <a:extLst>
              <a:ext uri="{FF2B5EF4-FFF2-40B4-BE49-F238E27FC236}">
                <a16:creationId xmlns:a16="http://schemas.microsoft.com/office/drawing/2014/main" id="{ECD22425-602E-408B-986E-1D539897844B}"/>
              </a:ext>
            </a:extLst>
          </p:cNvPr>
          <p:cNvGraphicFramePr>
            <a:graphicFrameLocks noGrp="1"/>
          </p:cNvGraphicFramePr>
          <p:nvPr/>
        </p:nvGraphicFramePr>
        <p:xfrm>
          <a:off x="495301" y="2755218"/>
          <a:ext cx="11239499" cy="3413872"/>
        </p:xfrm>
        <a:graphic>
          <a:graphicData uri="http://schemas.openxmlformats.org/drawingml/2006/table">
            <a:tbl>
              <a:tblPr/>
              <a:tblGrid>
                <a:gridCol w="23791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75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741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910228">
                  <a:extLst>
                    <a:ext uri="{9D8B030D-6E8A-4147-A177-3AD203B41FA5}">
                      <a16:colId xmlns:a16="http://schemas.microsoft.com/office/drawing/2014/main" val="2247648001"/>
                    </a:ext>
                  </a:extLst>
                </a:gridCol>
              </a:tblGrid>
              <a:tr h="1848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riterion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PARTAN (Apalutamide)</a:t>
                      </a:r>
                      <a:r>
                        <a:rPr kumimoji="0" lang="en-US" sz="14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[1-3]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SPER (Enzalutamide)</a:t>
                      </a:r>
                      <a:r>
                        <a:rPr kumimoji="0" lang="en-US" sz="14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[4-7]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RAMIS (Darolutamide)</a:t>
                      </a:r>
                      <a:r>
                        <a:rPr kumimoji="0" lang="en-US" sz="14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[8,9]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76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eizure history</a:t>
                      </a:r>
                    </a:p>
                  </a:txBody>
                  <a:tcPr marL="121881" marR="121881" marT="45728" marB="4572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Excluded, including predisposing conditions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Excluded, including predisposing conditions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llowed, including predisposing conditions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76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LN involvement</a:t>
                      </a:r>
                    </a:p>
                  </a:txBody>
                  <a:tcPr marL="121881" marR="121881" marT="45728" marB="4572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elvic LN progression </a:t>
                      </a:r>
                      <a:r>
                        <a:rPr kumimoji="0" lang="en-US" sz="14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o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considered 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FS event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elvic LN progression </a:t>
                      </a:r>
                      <a:r>
                        <a:rPr kumimoji="0" lang="en-US" sz="14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was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considered MFS event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elvic LN progression </a:t>
                      </a:r>
                      <a:r>
                        <a:rPr kumimoji="0" lang="en-US" sz="14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o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considered MFS event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76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Bone targeting/sparing agent</a:t>
                      </a:r>
                    </a:p>
                  </a:txBody>
                  <a:tcPr marL="121881" marR="121881" marT="45728" marB="4572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palutamide: 10.2%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lacebo: 9.7%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Enzalutamide: 10.2%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lacebo: 10.4%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Darolutamide: 3%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lacebo: 6%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SA blinding</a:t>
                      </a:r>
                    </a:p>
                  </a:txBody>
                  <a:tcPr marL="121881" marR="121881" marT="45728" marB="4572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Yes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econdary endpoints</a:t>
                      </a:r>
                    </a:p>
                  </a:txBody>
                  <a:tcPr marL="121881" marR="121881" marT="45728" marB="4572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Time to mets, PFS, TTP, OS, 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time to first new chemo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Time to PSA progression, PSA RR, time to first neoplastic therapy, QoL, OS, safety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S, time to pain progression, time to chemo, time to first symptomatic SRE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36542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Crossover unblinding</a:t>
                      </a:r>
                    </a:p>
                  </a:txBody>
                  <a:tcPr marL="121881" marR="121881" marT="45728" marB="45728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6 patients (19%) continued 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pen-label apalutamide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7 patients (19%) continued 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pen-label enzalutamide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70 patients (31%) continued </a:t>
                      </a:r>
                      <a:b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pen-label darolutamide</a:t>
                      </a:r>
                    </a:p>
                  </a:txBody>
                  <a:tcPr marL="121881" marR="121881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135230"/>
                  </a:ext>
                </a:extLst>
              </a:tr>
            </a:tbl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4767D903-807F-4B63-8843-315F332103FA}"/>
              </a:ext>
            </a:extLst>
          </p:cNvPr>
          <p:cNvSpPr txBox="1"/>
          <p:nvPr/>
        </p:nvSpPr>
        <p:spPr bwMode="auto">
          <a:xfrm>
            <a:off x="10056681" y="1754454"/>
            <a:ext cx="171704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rimary Endpoint: MFS</a:t>
            </a: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A92101C7-7F8C-4F4B-976D-0A0CC8049AC6}"/>
              </a:ext>
            </a:extLst>
          </p:cNvPr>
          <p:cNvSpPr/>
          <p:nvPr/>
        </p:nvSpPr>
        <p:spPr bwMode="auto">
          <a:xfrm>
            <a:off x="9452630" y="1821788"/>
            <a:ext cx="631379" cy="480846"/>
          </a:xfrm>
          <a:prstGeom prst="rightArrow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015873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89288BE-CE2C-4920-BB34-6453A3448028}"/>
              </a:ext>
            </a:extLst>
          </p:cNvPr>
          <p:cNvSpPr txBox="1">
            <a:spLocks/>
          </p:cNvSpPr>
          <p:nvPr/>
        </p:nvSpPr>
        <p:spPr bwMode="auto">
          <a:xfrm>
            <a:off x="0" y="1"/>
            <a:ext cx="12192000" cy="1111298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292934"/>
                </a:solidFill>
                <a:latin typeface="Arial"/>
              </a:rPr>
              <a:t>Randomize </a:t>
            </a:r>
            <a:r>
              <a:rPr lang="en-US" kern="0" dirty="0" err="1">
                <a:solidFill>
                  <a:srgbClr val="292934"/>
                </a:solidFill>
                <a:latin typeface="Arial"/>
              </a:rPr>
              <a:t>Çalışmalar</a:t>
            </a:r>
            <a:endParaRPr kumimoji="0" lang="tr-TR" sz="4400" b="1" i="0" u="none" strike="noStrike" kern="0" cap="none" spc="0" normalizeH="0" baseline="0" noProof="0" dirty="0">
              <a:ln>
                <a:noFill/>
              </a:ln>
              <a:solidFill>
                <a:srgbClr val="292934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8945127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83DB630E-B9C4-45C1-A7EF-911518BEA9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627" y="116632"/>
            <a:ext cx="11162743" cy="285927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2B6F1C50-50BE-4FA9-BBC7-2CAE07FD05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6751" y="2841494"/>
            <a:ext cx="11778493" cy="3895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3809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22D5EAC-B3D0-4CD6-96A8-3391193D6D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2204864"/>
          </a:xfrm>
        </p:spPr>
        <p:txBody>
          <a:bodyPr/>
          <a:lstStyle/>
          <a:p>
            <a:r>
              <a:rPr lang="en-US" dirty="0"/>
              <a:t>Metastatic KRPK</a:t>
            </a:r>
          </a:p>
        </p:txBody>
      </p:sp>
    </p:spTree>
    <p:extLst>
      <p:ext uri="{BB962C8B-B14F-4D97-AF65-F5344CB8AC3E}">
        <p14:creationId xmlns:p14="http://schemas.microsoft.com/office/powerpoint/2010/main" val="30831359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20 Grup"/>
          <p:cNvGrpSpPr>
            <a:grpSpLocks/>
          </p:cNvGrpSpPr>
          <p:nvPr/>
        </p:nvGrpSpPr>
        <p:grpSpPr bwMode="auto">
          <a:xfrm>
            <a:off x="2819400" y="4052888"/>
            <a:ext cx="6337300" cy="1738313"/>
            <a:chOff x="1043608" y="3635732"/>
            <a:chExt cx="6336704" cy="1737484"/>
          </a:xfrm>
        </p:grpSpPr>
        <p:cxnSp>
          <p:nvCxnSpPr>
            <p:cNvPr id="8" name="7 Düz Ok Bağlayıcısı"/>
            <p:cNvCxnSpPr/>
            <p:nvPr/>
          </p:nvCxnSpPr>
          <p:spPr>
            <a:xfrm>
              <a:off x="1619817" y="4005444"/>
              <a:ext cx="5760495" cy="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9 Düz Bağlayıcı"/>
            <p:cNvCxnSpPr/>
            <p:nvPr/>
          </p:nvCxnSpPr>
          <p:spPr>
            <a:xfrm>
              <a:off x="1619817" y="3789647"/>
              <a:ext cx="0" cy="431594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10 Düz Bağlayıcı"/>
            <p:cNvCxnSpPr/>
            <p:nvPr/>
          </p:nvCxnSpPr>
          <p:spPr>
            <a:xfrm>
              <a:off x="3780201" y="3789647"/>
              <a:ext cx="0" cy="431594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11 Düz Bağlayıcı"/>
            <p:cNvCxnSpPr/>
            <p:nvPr/>
          </p:nvCxnSpPr>
          <p:spPr>
            <a:xfrm>
              <a:off x="5940585" y="3789647"/>
              <a:ext cx="0" cy="431594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12 Dikdörtgen"/>
            <p:cNvSpPr/>
            <p:nvPr/>
          </p:nvSpPr>
          <p:spPr>
            <a:xfrm>
              <a:off x="1043608" y="4292644"/>
              <a:ext cx="1338767" cy="36915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Arial" pitchFamily="34" charset="0"/>
                </a:rPr>
                <a:t>PSA %50 ↑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4" name="13 Metin kutusu"/>
            <p:cNvSpPr txBox="1"/>
            <p:nvPr/>
          </p:nvSpPr>
          <p:spPr>
            <a:xfrm>
              <a:off x="2196025" y="3635732"/>
              <a:ext cx="1079398" cy="3697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Arial" pitchFamily="34" charset="0"/>
                </a:rPr>
                <a:t>1 hafta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5" name="14 Metin kutusu"/>
            <p:cNvSpPr txBox="1"/>
            <p:nvPr/>
          </p:nvSpPr>
          <p:spPr>
            <a:xfrm>
              <a:off x="4499271" y="3645252"/>
              <a:ext cx="1080985" cy="3697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Arial" pitchFamily="34" charset="0"/>
                </a:rPr>
                <a:t>1 hafta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" name="15 Dikdörtgen"/>
            <p:cNvSpPr/>
            <p:nvPr/>
          </p:nvSpPr>
          <p:spPr>
            <a:xfrm>
              <a:off x="3132562" y="4292644"/>
              <a:ext cx="1338767" cy="36915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Arial" pitchFamily="34" charset="0"/>
                </a:rPr>
                <a:t>PSA %50 ↑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7" name="16 Dikdörtgen"/>
            <p:cNvSpPr/>
            <p:nvPr/>
          </p:nvSpPr>
          <p:spPr>
            <a:xfrm>
              <a:off x="5334217" y="4292644"/>
              <a:ext cx="1338767" cy="36915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Arial" pitchFamily="34" charset="0"/>
                </a:rPr>
                <a:t>PSA %50 ↑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8" name="17 Yukarı Bükülü Ok"/>
            <p:cNvSpPr/>
            <p:nvPr/>
          </p:nvSpPr>
          <p:spPr>
            <a:xfrm>
              <a:off x="1403937" y="4652835"/>
              <a:ext cx="2231815" cy="720381"/>
            </a:xfrm>
            <a:prstGeom prst="curvedUp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19 Yukarı Bükülü Ok"/>
            <p:cNvSpPr/>
            <p:nvPr/>
          </p:nvSpPr>
          <p:spPr>
            <a:xfrm>
              <a:off x="3780201" y="4652835"/>
              <a:ext cx="2231815" cy="720381"/>
            </a:xfrm>
            <a:prstGeom prst="curvedUp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1981200" y="1271587"/>
            <a:ext cx="845452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rum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stoster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üzey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lt; 50ng/dl (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y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.7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mo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L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)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yokimyas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esy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SA’d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ükselm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3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ü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üst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ükselm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r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ft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ayl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k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üşü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üzeyi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%50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üzerind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tış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SA &gt; 2ng/m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/VEY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)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dyoloji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esy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-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n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zyonları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luşması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y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-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mi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örüntülemesind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k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y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h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zl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n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mi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zyonu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y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IST’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ör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umuşa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ku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zyon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929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631504" y="6551766"/>
            <a:ext cx="52477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tte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 et al, EAU–ESTRO-ESRU-SIOG Guidelines on Prostate Cancer, 2017.</a:t>
            </a:r>
            <a:endParaRPr kumimoji="0" lang="tr-TR" sz="1100" b="0" i="0" u="none" strike="noStrike" kern="1200" cap="none" spc="0" normalizeH="0" baseline="0" noProof="0" dirty="0">
              <a:ln>
                <a:noFill/>
              </a:ln>
              <a:solidFill>
                <a:srgbClr val="2929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6982" y="6321666"/>
            <a:ext cx="3108743" cy="419703"/>
          </a:xfrm>
          <a:prstGeom prst="rect">
            <a:avLst/>
          </a:prstGeom>
        </p:spPr>
      </p:pic>
      <p:sp>
        <p:nvSpPr>
          <p:cNvPr id="19" name="6 Metin kutusu"/>
          <p:cNvSpPr txBox="1">
            <a:spLocks noChangeArrowheads="1"/>
          </p:cNvSpPr>
          <p:nvPr/>
        </p:nvSpPr>
        <p:spPr bwMode="auto">
          <a:xfrm>
            <a:off x="9444038" y="5847656"/>
            <a:ext cx="122396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201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7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92934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354808" y="5191122"/>
            <a:ext cx="1172604" cy="68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EAE28D0-FBAC-4DC9-A90D-FF3AA0A68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DPK </a:t>
            </a:r>
            <a:r>
              <a:rPr lang="en-GB" dirty="0" err="1"/>
              <a:t>tanı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077439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KDPK</a:t>
            </a:r>
            <a:r>
              <a:rPr lang="en-US" dirty="0"/>
              <a:t> FDA </a:t>
            </a:r>
            <a:r>
              <a:rPr lang="en-US" dirty="0" err="1"/>
              <a:t>Onaylı</a:t>
            </a:r>
            <a:r>
              <a:rPr lang="en-US" dirty="0"/>
              <a:t> </a:t>
            </a:r>
            <a:r>
              <a:rPr lang="en-US" dirty="0" err="1"/>
              <a:t>İlaçlar</a:t>
            </a:r>
            <a:endParaRPr lang="en-US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B23EE11-BE8C-4CAA-A91E-FF9D1928A65E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91355940"/>
              </p:ext>
            </p:extLst>
          </p:nvPr>
        </p:nvGraphicFramePr>
        <p:xfrm>
          <a:off x="767408" y="1484784"/>
          <a:ext cx="10877550" cy="46513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56910816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tr-TR" sz="3600" dirty="0">
                <a:latin typeface="+mn-lt"/>
                <a:ea typeface="+mn-ea"/>
                <a:cs typeface="+mn-cs"/>
              </a:rPr>
              <a:t>Dosetaksel: TAX-327</a:t>
            </a:r>
          </a:p>
        </p:txBody>
      </p:sp>
      <p:graphicFrame>
        <p:nvGraphicFramePr>
          <p:cNvPr id="18" name="Content Placeholder 17">
            <a:extLst>
              <a:ext uri="{FF2B5EF4-FFF2-40B4-BE49-F238E27FC236}">
                <a16:creationId xmlns:a16="http://schemas.microsoft.com/office/drawing/2014/main" id="{0B74B888-4C18-4063-A226-5A02701051FA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456680665"/>
              </p:ext>
            </p:extLst>
          </p:nvPr>
        </p:nvGraphicFramePr>
        <p:xfrm>
          <a:off x="7932544" y="1268413"/>
          <a:ext cx="3313112" cy="38877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0" y="6313488"/>
            <a:ext cx="7142163" cy="284162"/>
          </a:xfrm>
        </p:spPr>
        <p:txBody>
          <a:bodyPr/>
          <a:lstStyle/>
          <a:p>
            <a:r>
              <a:rPr lang="tr-TR" sz="1600" dirty="0" err="1"/>
              <a:t>Tannock</a:t>
            </a:r>
            <a:r>
              <a:rPr lang="tr-TR" sz="1600" dirty="0"/>
              <a:t> IF, </a:t>
            </a:r>
            <a:r>
              <a:rPr lang="tr-TR" sz="1600" i="1" dirty="0"/>
              <a:t>ve ark. N </a:t>
            </a:r>
            <a:r>
              <a:rPr lang="tr-TR" sz="1600" i="1" dirty="0" err="1"/>
              <a:t>Engl</a:t>
            </a:r>
            <a:r>
              <a:rPr lang="tr-TR" sz="1600" i="1" dirty="0"/>
              <a:t> J </a:t>
            </a:r>
            <a:r>
              <a:rPr lang="tr-TR" sz="1600" i="1" dirty="0" err="1"/>
              <a:t>Med</a:t>
            </a:r>
            <a:r>
              <a:rPr lang="tr-TR" sz="1600" i="1" dirty="0"/>
              <a:t> </a:t>
            </a:r>
            <a:r>
              <a:rPr lang="tr-TR" sz="1600" dirty="0"/>
              <a:t>2004;351:1502–12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B09A2B6-FBF6-493E-8035-CF17C3A343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78144" y="1490417"/>
            <a:ext cx="5145470" cy="460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71230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1828801" y="4076185"/>
          <a:ext cx="5200641" cy="1933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809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66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66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66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8661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661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8661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58775">
                <a:tc>
                  <a:txBody>
                    <a:bodyPr/>
                    <a:lstStyle/>
                    <a:p>
                      <a:r>
                        <a:rPr lang="tr-TR" sz="1200" b="0" dirty="0">
                          <a:solidFill>
                            <a:schemeClr val="tx1"/>
                          </a:solidFill>
                        </a:rPr>
                        <a:t>Risk</a:t>
                      </a:r>
                      <a:r>
                        <a:rPr lang="tr-TR" sz="1200" b="0" baseline="0" dirty="0">
                          <a:solidFill>
                            <a:schemeClr val="tx1"/>
                          </a:solidFill>
                        </a:rPr>
                        <a:t> altındaki hasta sayısı</a:t>
                      </a:r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tr-TR" sz="1200" dirty="0"/>
                        <a:t>3 haftada bir </a:t>
                      </a:r>
                      <a:r>
                        <a:rPr lang="en-GB" sz="1200" dirty="0"/>
                        <a:t>Do</a:t>
                      </a:r>
                      <a:r>
                        <a:rPr lang="tr-TR" sz="1200" dirty="0"/>
                        <a:t>s</a:t>
                      </a:r>
                      <a:r>
                        <a:rPr lang="en-GB" sz="1200" dirty="0"/>
                        <a:t>eta</a:t>
                      </a:r>
                      <a:r>
                        <a:rPr lang="tr-TR" sz="1200" dirty="0" err="1"/>
                        <a:t>ks</a:t>
                      </a:r>
                      <a:r>
                        <a:rPr lang="en-GB" sz="1200" dirty="0"/>
                        <a:t>el</a:t>
                      </a:r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tr-TR" sz="1200" dirty="0"/>
                        <a:t>Haftalık </a:t>
                      </a:r>
                      <a:r>
                        <a:rPr lang="en-GB" sz="1200" dirty="0"/>
                        <a:t>do</a:t>
                      </a:r>
                      <a:r>
                        <a:rPr lang="tr-TR" sz="1200" dirty="0"/>
                        <a:t>s</a:t>
                      </a:r>
                      <a:r>
                        <a:rPr lang="en-GB" sz="1200" dirty="0"/>
                        <a:t>eta</a:t>
                      </a:r>
                      <a:r>
                        <a:rPr lang="tr-TR" sz="1200" dirty="0" err="1"/>
                        <a:t>ks</a:t>
                      </a:r>
                      <a:r>
                        <a:rPr lang="en-GB" sz="1200" dirty="0"/>
                        <a:t>el</a:t>
                      </a:r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/>
                        <a:t>Mito</a:t>
                      </a:r>
                      <a:r>
                        <a:rPr lang="tr-TR" sz="1200" dirty="0" err="1"/>
                        <a:t>ks</a:t>
                      </a:r>
                      <a:r>
                        <a:rPr lang="en-GB" sz="1200" dirty="0" err="1"/>
                        <a:t>antron</a:t>
                      </a:r>
                      <a:endParaRPr lang="en-GB" sz="1200" dirty="0"/>
                    </a:p>
                    <a:p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dirty="0"/>
                    </a:p>
                  </a:txBody>
                  <a:tcPr marL="36000" marR="36000" marT="36000" marB="3600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" name="Text Placeholder 4"/>
          <p:cNvSpPr txBox="1">
            <a:spLocks/>
          </p:cNvSpPr>
          <p:nvPr/>
        </p:nvSpPr>
        <p:spPr>
          <a:xfrm>
            <a:off x="1674707" y="6128590"/>
            <a:ext cx="7142240" cy="5821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tr-TR" sz="1100" b="0" i="0" u="none" strike="noStrike" kern="1200" cap="none" spc="0" normalizeH="0" baseline="0" noProof="0" dirty="0">
              <a:ln>
                <a:noFill/>
              </a:ln>
              <a:solidFill>
                <a:srgbClr val="2929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nnock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F,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 ark. N </a:t>
            </a:r>
            <a:r>
              <a:rPr kumimoji="0" lang="en-GB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gl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 Med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4;351:1502–12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874994" y="4609586"/>
            <a:ext cx="439544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35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222332" y="4609586"/>
            <a:ext cx="439544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17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549850" y="4609586"/>
            <a:ext cx="439544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9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334882" y="4609586"/>
            <a:ext cx="269625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616671" y="4609586"/>
            <a:ext cx="354584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7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898009" y="4609586"/>
            <a:ext cx="439544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4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874994" y="5047651"/>
            <a:ext cx="439544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34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222332" y="5047651"/>
            <a:ext cx="439544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549850" y="5047651"/>
            <a:ext cx="439544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97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334882" y="5047651"/>
            <a:ext cx="269625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616671" y="5047651"/>
            <a:ext cx="354584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9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898009" y="5047651"/>
            <a:ext cx="439544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5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874994" y="5382316"/>
            <a:ext cx="439544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37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222332" y="5382316"/>
            <a:ext cx="439544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2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549850" y="5382316"/>
            <a:ext cx="439544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97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334882" y="5382316"/>
            <a:ext cx="269625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616671" y="5382316"/>
            <a:ext cx="354584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9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940489" y="5382316"/>
            <a:ext cx="354584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5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3CCC0A6-18B4-4441-AC66-75C3310DD1C8}"/>
              </a:ext>
            </a:extLst>
          </p:cNvPr>
          <p:cNvGrpSpPr/>
          <p:nvPr/>
        </p:nvGrpSpPr>
        <p:grpSpPr>
          <a:xfrm>
            <a:off x="2303054" y="1792409"/>
            <a:ext cx="4692680" cy="2657776"/>
            <a:chOff x="2303054" y="1792409"/>
            <a:chExt cx="4692680" cy="2657776"/>
          </a:xfrm>
        </p:grpSpPr>
        <p:sp>
          <p:nvSpPr>
            <p:cNvPr id="29" name="TextBox 28"/>
            <p:cNvSpPr txBox="1"/>
            <p:nvPr/>
          </p:nvSpPr>
          <p:spPr>
            <a:xfrm>
              <a:off x="5152674" y="1792409"/>
              <a:ext cx="1813317" cy="276999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 haftada bir dosetaksel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52674" y="2308676"/>
              <a:ext cx="1063112" cy="276999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to</a:t>
              </a:r>
              <a:r>
                <a:rPr kumimoji="0" lang="tr-TR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santron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152674" y="2069592"/>
              <a:ext cx="1481496" cy="276999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ftalık dosetaksel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5"/>
            <p:cNvSpPr>
              <a:spLocks/>
            </p:cNvSpPr>
            <p:nvPr/>
          </p:nvSpPr>
          <p:spPr bwMode="auto">
            <a:xfrm>
              <a:off x="3111490" y="2005399"/>
              <a:ext cx="3563937" cy="1227137"/>
            </a:xfrm>
            <a:custGeom>
              <a:avLst/>
              <a:gdLst>
                <a:gd name="T0" fmla="*/ 51 w 2245"/>
                <a:gd name="T1" fmla="*/ 3 h 773"/>
                <a:gd name="T2" fmla="*/ 115 w 2245"/>
                <a:gd name="T3" fmla="*/ 19 h 773"/>
                <a:gd name="T4" fmla="*/ 193 w 2245"/>
                <a:gd name="T5" fmla="*/ 33 h 773"/>
                <a:gd name="T6" fmla="*/ 254 w 2245"/>
                <a:gd name="T7" fmla="*/ 52 h 773"/>
                <a:gd name="T8" fmla="*/ 283 w 2245"/>
                <a:gd name="T9" fmla="*/ 66 h 773"/>
                <a:gd name="T10" fmla="*/ 307 w 2245"/>
                <a:gd name="T11" fmla="*/ 76 h 773"/>
                <a:gd name="T12" fmla="*/ 332 w 2245"/>
                <a:gd name="T13" fmla="*/ 90 h 773"/>
                <a:gd name="T14" fmla="*/ 356 w 2245"/>
                <a:gd name="T15" fmla="*/ 104 h 773"/>
                <a:gd name="T16" fmla="*/ 371 w 2245"/>
                <a:gd name="T17" fmla="*/ 116 h 773"/>
                <a:gd name="T18" fmla="*/ 429 w 2245"/>
                <a:gd name="T19" fmla="*/ 137 h 773"/>
                <a:gd name="T20" fmla="*/ 471 w 2245"/>
                <a:gd name="T21" fmla="*/ 151 h 773"/>
                <a:gd name="T22" fmla="*/ 510 w 2245"/>
                <a:gd name="T23" fmla="*/ 166 h 773"/>
                <a:gd name="T24" fmla="*/ 566 w 2245"/>
                <a:gd name="T25" fmla="*/ 177 h 773"/>
                <a:gd name="T26" fmla="*/ 590 w 2245"/>
                <a:gd name="T27" fmla="*/ 187 h 773"/>
                <a:gd name="T28" fmla="*/ 607 w 2245"/>
                <a:gd name="T29" fmla="*/ 199 h 773"/>
                <a:gd name="T30" fmla="*/ 636 w 2245"/>
                <a:gd name="T31" fmla="*/ 203 h 773"/>
                <a:gd name="T32" fmla="*/ 649 w 2245"/>
                <a:gd name="T33" fmla="*/ 215 h 773"/>
                <a:gd name="T34" fmla="*/ 675 w 2245"/>
                <a:gd name="T35" fmla="*/ 222 h 773"/>
                <a:gd name="T36" fmla="*/ 695 w 2245"/>
                <a:gd name="T37" fmla="*/ 239 h 773"/>
                <a:gd name="T38" fmla="*/ 717 w 2245"/>
                <a:gd name="T39" fmla="*/ 251 h 773"/>
                <a:gd name="T40" fmla="*/ 739 w 2245"/>
                <a:gd name="T41" fmla="*/ 265 h 773"/>
                <a:gd name="T42" fmla="*/ 758 w 2245"/>
                <a:gd name="T43" fmla="*/ 277 h 773"/>
                <a:gd name="T44" fmla="*/ 773 w 2245"/>
                <a:gd name="T45" fmla="*/ 298 h 773"/>
                <a:gd name="T46" fmla="*/ 802 w 2245"/>
                <a:gd name="T47" fmla="*/ 310 h 773"/>
                <a:gd name="T48" fmla="*/ 844 w 2245"/>
                <a:gd name="T49" fmla="*/ 319 h 773"/>
                <a:gd name="T50" fmla="*/ 900 w 2245"/>
                <a:gd name="T51" fmla="*/ 336 h 773"/>
                <a:gd name="T52" fmla="*/ 917 w 2245"/>
                <a:gd name="T53" fmla="*/ 350 h 773"/>
                <a:gd name="T54" fmla="*/ 968 w 2245"/>
                <a:gd name="T55" fmla="*/ 359 h 773"/>
                <a:gd name="T56" fmla="*/ 985 w 2245"/>
                <a:gd name="T57" fmla="*/ 376 h 773"/>
                <a:gd name="T58" fmla="*/ 1012 w 2245"/>
                <a:gd name="T59" fmla="*/ 397 h 773"/>
                <a:gd name="T60" fmla="*/ 1022 w 2245"/>
                <a:gd name="T61" fmla="*/ 409 h 773"/>
                <a:gd name="T62" fmla="*/ 1046 w 2245"/>
                <a:gd name="T63" fmla="*/ 423 h 773"/>
                <a:gd name="T64" fmla="*/ 1061 w 2245"/>
                <a:gd name="T65" fmla="*/ 435 h 773"/>
                <a:gd name="T66" fmla="*/ 1087 w 2245"/>
                <a:gd name="T67" fmla="*/ 451 h 773"/>
                <a:gd name="T68" fmla="*/ 1117 w 2245"/>
                <a:gd name="T69" fmla="*/ 468 h 773"/>
                <a:gd name="T70" fmla="*/ 1153 w 2245"/>
                <a:gd name="T71" fmla="*/ 477 h 773"/>
                <a:gd name="T72" fmla="*/ 1170 w 2245"/>
                <a:gd name="T73" fmla="*/ 492 h 773"/>
                <a:gd name="T74" fmla="*/ 1192 w 2245"/>
                <a:gd name="T75" fmla="*/ 508 h 773"/>
                <a:gd name="T76" fmla="*/ 1209 w 2245"/>
                <a:gd name="T77" fmla="*/ 522 h 773"/>
                <a:gd name="T78" fmla="*/ 1229 w 2245"/>
                <a:gd name="T79" fmla="*/ 539 h 773"/>
                <a:gd name="T80" fmla="*/ 1285 w 2245"/>
                <a:gd name="T81" fmla="*/ 553 h 773"/>
                <a:gd name="T82" fmla="*/ 1321 w 2245"/>
                <a:gd name="T83" fmla="*/ 562 h 773"/>
                <a:gd name="T84" fmla="*/ 1348 w 2245"/>
                <a:gd name="T85" fmla="*/ 586 h 773"/>
                <a:gd name="T86" fmla="*/ 1370 w 2245"/>
                <a:gd name="T87" fmla="*/ 600 h 773"/>
                <a:gd name="T88" fmla="*/ 1390 w 2245"/>
                <a:gd name="T89" fmla="*/ 612 h 773"/>
                <a:gd name="T90" fmla="*/ 1463 w 2245"/>
                <a:gd name="T91" fmla="*/ 631 h 773"/>
                <a:gd name="T92" fmla="*/ 1492 w 2245"/>
                <a:gd name="T93" fmla="*/ 655 h 773"/>
                <a:gd name="T94" fmla="*/ 1531 w 2245"/>
                <a:gd name="T95" fmla="*/ 669 h 773"/>
                <a:gd name="T96" fmla="*/ 1568 w 2245"/>
                <a:gd name="T97" fmla="*/ 683 h 773"/>
                <a:gd name="T98" fmla="*/ 1643 w 2245"/>
                <a:gd name="T99" fmla="*/ 709 h 773"/>
                <a:gd name="T100" fmla="*/ 1697 w 2245"/>
                <a:gd name="T101" fmla="*/ 733 h 773"/>
                <a:gd name="T102" fmla="*/ 1738 w 2245"/>
                <a:gd name="T103" fmla="*/ 758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45" h="773">
                  <a:moveTo>
                    <a:pt x="0" y="0"/>
                  </a:moveTo>
                  <a:lnTo>
                    <a:pt x="37" y="0"/>
                  </a:lnTo>
                  <a:lnTo>
                    <a:pt x="37" y="3"/>
                  </a:lnTo>
                  <a:lnTo>
                    <a:pt x="51" y="3"/>
                  </a:lnTo>
                  <a:lnTo>
                    <a:pt x="73" y="3"/>
                  </a:lnTo>
                  <a:lnTo>
                    <a:pt x="73" y="7"/>
                  </a:lnTo>
                  <a:lnTo>
                    <a:pt x="115" y="7"/>
                  </a:lnTo>
                  <a:lnTo>
                    <a:pt x="115" y="19"/>
                  </a:lnTo>
                  <a:lnTo>
                    <a:pt x="156" y="19"/>
                  </a:lnTo>
                  <a:lnTo>
                    <a:pt x="156" y="26"/>
                  </a:lnTo>
                  <a:lnTo>
                    <a:pt x="193" y="26"/>
                  </a:lnTo>
                  <a:lnTo>
                    <a:pt x="193" y="33"/>
                  </a:lnTo>
                  <a:lnTo>
                    <a:pt x="202" y="33"/>
                  </a:lnTo>
                  <a:lnTo>
                    <a:pt x="202" y="40"/>
                  </a:lnTo>
                  <a:lnTo>
                    <a:pt x="254" y="40"/>
                  </a:lnTo>
                  <a:lnTo>
                    <a:pt x="254" y="52"/>
                  </a:lnTo>
                  <a:lnTo>
                    <a:pt x="266" y="52"/>
                  </a:lnTo>
                  <a:lnTo>
                    <a:pt x="266" y="59"/>
                  </a:lnTo>
                  <a:lnTo>
                    <a:pt x="283" y="59"/>
                  </a:lnTo>
                  <a:lnTo>
                    <a:pt x="283" y="66"/>
                  </a:lnTo>
                  <a:lnTo>
                    <a:pt x="290" y="66"/>
                  </a:lnTo>
                  <a:lnTo>
                    <a:pt x="290" y="71"/>
                  </a:lnTo>
                  <a:lnTo>
                    <a:pt x="307" y="71"/>
                  </a:lnTo>
                  <a:lnTo>
                    <a:pt x="307" y="76"/>
                  </a:lnTo>
                  <a:lnTo>
                    <a:pt x="319" y="76"/>
                  </a:lnTo>
                  <a:lnTo>
                    <a:pt x="319" y="83"/>
                  </a:lnTo>
                  <a:lnTo>
                    <a:pt x="332" y="83"/>
                  </a:lnTo>
                  <a:lnTo>
                    <a:pt x="332" y="90"/>
                  </a:lnTo>
                  <a:lnTo>
                    <a:pt x="339" y="90"/>
                  </a:lnTo>
                  <a:lnTo>
                    <a:pt x="339" y="97"/>
                  </a:lnTo>
                  <a:lnTo>
                    <a:pt x="356" y="97"/>
                  </a:lnTo>
                  <a:lnTo>
                    <a:pt x="356" y="104"/>
                  </a:lnTo>
                  <a:lnTo>
                    <a:pt x="363" y="104"/>
                  </a:lnTo>
                  <a:lnTo>
                    <a:pt x="363" y="109"/>
                  </a:lnTo>
                  <a:lnTo>
                    <a:pt x="371" y="109"/>
                  </a:lnTo>
                  <a:lnTo>
                    <a:pt x="371" y="116"/>
                  </a:lnTo>
                  <a:lnTo>
                    <a:pt x="388" y="116"/>
                  </a:lnTo>
                  <a:lnTo>
                    <a:pt x="388" y="123"/>
                  </a:lnTo>
                  <a:lnTo>
                    <a:pt x="429" y="123"/>
                  </a:lnTo>
                  <a:lnTo>
                    <a:pt x="429" y="137"/>
                  </a:lnTo>
                  <a:lnTo>
                    <a:pt x="446" y="137"/>
                  </a:lnTo>
                  <a:lnTo>
                    <a:pt x="446" y="142"/>
                  </a:lnTo>
                  <a:lnTo>
                    <a:pt x="471" y="142"/>
                  </a:lnTo>
                  <a:lnTo>
                    <a:pt x="471" y="151"/>
                  </a:lnTo>
                  <a:lnTo>
                    <a:pt x="502" y="151"/>
                  </a:lnTo>
                  <a:lnTo>
                    <a:pt x="502" y="158"/>
                  </a:lnTo>
                  <a:lnTo>
                    <a:pt x="510" y="158"/>
                  </a:lnTo>
                  <a:lnTo>
                    <a:pt x="510" y="166"/>
                  </a:lnTo>
                  <a:lnTo>
                    <a:pt x="517" y="166"/>
                  </a:lnTo>
                  <a:lnTo>
                    <a:pt x="517" y="170"/>
                  </a:lnTo>
                  <a:lnTo>
                    <a:pt x="566" y="170"/>
                  </a:lnTo>
                  <a:lnTo>
                    <a:pt x="566" y="177"/>
                  </a:lnTo>
                  <a:lnTo>
                    <a:pt x="573" y="177"/>
                  </a:lnTo>
                  <a:lnTo>
                    <a:pt x="573" y="182"/>
                  </a:lnTo>
                  <a:lnTo>
                    <a:pt x="590" y="182"/>
                  </a:lnTo>
                  <a:lnTo>
                    <a:pt x="590" y="187"/>
                  </a:lnTo>
                  <a:lnTo>
                    <a:pt x="602" y="187"/>
                  </a:lnTo>
                  <a:lnTo>
                    <a:pt x="602" y="192"/>
                  </a:lnTo>
                  <a:lnTo>
                    <a:pt x="607" y="192"/>
                  </a:lnTo>
                  <a:lnTo>
                    <a:pt x="607" y="199"/>
                  </a:lnTo>
                  <a:lnTo>
                    <a:pt x="619" y="199"/>
                  </a:lnTo>
                  <a:lnTo>
                    <a:pt x="627" y="199"/>
                  </a:lnTo>
                  <a:lnTo>
                    <a:pt x="627" y="203"/>
                  </a:lnTo>
                  <a:lnTo>
                    <a:pt x="636" y="203"/>
                  </a:lnTo>
                  <a:lnTo>
                    <a:pt x="636" y="210"/>
                  </a:lnTo>
                  <a:lnTo>
                    <a:pt x="641" y="210"/>
                  </a:lnTo>
                  <a:lnTo>
                    <a:pt x="641" y="215"/>
                  </a:lnTo>
                  <a:lnTo>
                    <a:pt x="649" y="215"/>
                  </a:lnTo>
                  <a:lnTo>
                    <a:pt x="649" y="220"/>
                  </a:lnTo>
                  <a:lnTo>
                    <a:pt x="653" y="220"/>
                  </a:lnTo>
                  <a:lnTo>
                    <a:pt x="653" y="222"/>
                  </a:lnTo>
                  <a:lnTo>
                    <a:pt x="675" y="222"/>
                  </a:lnTo>
                  <a:lnTo>
                    <a:pt x="690" y="222"/>
                  </a:lnTo>
                  <a:lnTo>
                    <a:pt x="690" y="232"/>
                  </a:lnTo>
                  <a:lnTo>
                    <a:pt x="695" y="232"/>
                  </a:lnTo>
                  <a:lnTo>
                    <a:pt x="695" y="239"/>
                  </a:lnTo>
                  <a:lnTo>
                    <a:pt x="702" y="239"/>
                  </a:lnTo>
                  <a:lnTo>
                    <a:pt x="702" y="246"/>
                  </a:lnTo>
                  <a:lnTo>
                    <a:pt x="717" y="246"/>
                  </a:lnTo>
                  <a:lnTo>
                    <a:pt x="717" y="251"/>
                  </a:lnTo>
                  <a:lnTo>
                    <a:pt x="729" y="251"/>
                  </a:lnTo>
                  <a:lnTo>
                    <a:pt x="729" y="258"/>
                  </a:lnTo>
                  <a:lnTo>
                    <a:pt x="739" y="258"/>
                  </a:lnTo>
                  <a:lnTo>
                    <a:pt x="739" y="265"/>
                  </a:lnTo>
                  <a:lnTo>
                    <a:pt x="746" y="265"/>
                  </a:lnTo>
                  <a:lnTo>
                    <a:pt x="746" y="269"/>
                  </a:lnTo>
                  <a:lnTo>
                    <a:pt x="758" y="269"/>
                  </a:lnTo>
                  <a:lnTo>
                    <a:pt x="758" y="277"/>
                  </a:lnTo>
                  <a:lnTo>
                    <a:pt x="766" y="277"/>
                  </a:lnTo>
                  <a:lnTo>
                    <a:pt x="766" y="291"/>
                  </a:lnTo>
                  <a:lnTo>
                    <a:pt x="773" y="291"/>
                  </a:lnTo>
                  <a:lnTo>
                    <a:pt x="773" y="298"/>
                  </a:lnTo>
                  <a:lnTo>
                    <a:pt x="785" y="298"/>
                  </a:lnTo>
                  <a:lnTo>
                    <a:pt x="785" y="305"/>
                  </a:lnTo>
                  <a:lnTo>
                    <a:pt x="802" y="305"/>
                  </a:lnTo>
                  <a:lnTo>
                    <a:pt x="802" y="310"/>
                  </a:lnTo>
                  <a:lnTo>
                    <a:pt x="812" y="310"/>
                  </a:lnTo>
                  <a:lnTo>
                    <a:pt x="812" y="314"/>
                  </a:lnTo>
                  <a:lnTo>
                    <a:pt x="844" y="314"/>
                  </a:lnTo>
                  <a:lnTo>
                    <a:pt x="844" y="319"/>
                  </a:lnTo>
                  <a:lnTo>
                    <a:pt x="890" y="319"/>
                  </a:lnTo>
                  <a:lnTo>
                    <a:pt x="890" y="326"/>
                  </a:lnTo>
                  <a:lnTo>
                    <a:pt x="900" y="326"/>
                  </a:lnTo>
                  <a:lnTo>
                    <a:pt x="900" y="336"/>
                  </a:lnTo>
                  <a:lnTo>
                    <a:pt x="909" y="336"/>
                  </a:lnTo>
                  <a:lnTo>
                    <a:pt x="909" y="345"/>
                  </a:lnTo>
                  <a:lnTo>
                    <a:pt x="917" y="345"/>
                  </a:lnTo>
                  <a:lnTo>
                    <a:pt x="917" y="350"/>
                  </a:lnTo>
                  <a:lnTo>
                    <a:pt x="929" y="350"/>
                  </a:lnTo>
                  <a:lnTo>
                    <a:pt x="929" y="355"/>
                  </a:lnTo>
                  <a:lnTo>
                    <a:pt x="968" y="355"/>
                  </a:lnTo>
                  <a:lnTo>
                    <a:pt x="968" y="359"/>
                  </a:lnTo>
                  <a:lnTo>
                    <a:pt x="978" y="359"/>
                  </a:lnTo>
                  <a:lnTo>
                    <a:pt x="978" y="366"/>
                  </a:lnTo>
                  <a:lnTo>
                    <a:pt x="985" y="366"/>
                  </a:lnTo>
                  <a:lnTo>
                    <a:pt x="985" y="376"/>
                  </a:lnTo>
                  <a:lnTo>
                    <a:pt x="1007" y="376"/>
                  </a:lnTo>
                  <a:lnTo>
                    <a:pt x="1007" y="381"/>
                  </a:lnTo>
                  <a:lnTo>
                    <a:pt x="1012" y="381"/>
                  </a:lnTo>
                  <a:lnTo>
                    <a:pt x="1012" y="397"/>
                  </a:lnTo>
                  <a:lnTo>
                    <a:pt x="1017" y="397"/>
                  </a:lnTo>
                  <a:lnTo>
                    <a:pt x="1017" y="402"/>
                  </a:lnTo>
                  <a:lnTo>
                    <a:pt x="1022" y="402"/>
                  </a:lnTo>
                  <a:lnTo>
                    <a:pt x="1022" y="409"/>
                  </a:lnTo>
                  <a:lnTo>
                    <a:pt x="1034" y="409"/>
                  </a:lnTo>
                  <a:lnTo>
                    <a:pt x="1034" y="414"/>
                  </a:lnTo>
                  <a:lnTo>
                    <a:pt x="1046" y="414"/>
                  </a:lnTo>
                  <a:lnTo>
                    <a:pt x="1046" y="423"/>
                  </a:lnTo>
                  <a:lnTo>
                    <a:pt x="1053" y="423"/>
                  </a:lnTo>
                  <a:lnTo>
                    <a:pt x="1053" y="430"/>
                  </a:lnTo>
                  <a:lnTo>
                    <a:pt x="1061" y="430"/>
                  </a:lnTo>
                  <a:lnTo>
                    <a:pt x="1061" y="435"/>
                  </a:lnTo>
                  <a:lnTo>
                    <a:pt x="1078" y="435"/>
                  </a:lnTo>
                  <a:lnTo>
                    <a:pt x="1078" y="444"/>
                  </a:lnTo>
                  <a:lnTo>
                    <a:pt x="1087" y="444"/>
                  </a:lnTo>
                  <a:lnTo>
                    <a:pt x="1087" y="451"/>
                  </a:lnTo>
                  <a:lnTo>
                    <a:pt x="1095" y="451"/>
                  </a:lnTo>
                  <a:lnTo>
                    <a:pt x="1107" y="451"/>
                  </a:lnTo>
                  <a:lnTo>
                    <a:pt x="1107" y="468"/>
                  </a:lnTo>
                  <a:lnTo>
                    <a:pt x="1117" y="468"/>
                  </a:lnTo>
                  <a:lnTo>
                    <a:pt x="1117" y="473"/>
                  </a:lnTo>
                  <a:lnTo>
                    <a:pt x="1131" y="473"/>
                  </a:lnTo>
                  <a:lnTo>
                    <a:pt x="1131" y="477"/>
                  </a:lnTo>
                  <a:lnTo>
                    <a:pt x="1153" y="477"/>
                  </a:lnTo>
                  <a:lnTo>
                    <a:pt x="1153" y="482"/>
                  </a:lnTo>
                  <a:lnTo>
                    <a:pt x="1163" y="482"/>
                  </a:lnTo>
                  <a:lnTo>
                    <a:pt x="1163" y="492"/>
                  </a:lnTo>
                  <a:lnTo>
                    <a:pt x="1170" y="492"/>
                  </a:lnTo>
                  <a:lnTo>
                    <a:pt x="1170" y="499"/>
                  </a:lnTo>
                  <a:lnTo>
                    <a:pt x="1180" y="499"/>
                  </a:lnTo>
                  <a:lnTo>
                    <a:pt x="1180" y="508"/>
                  </a:lnTo>
                  <a:lnTo>
                    <a:pt x="1192" y="508"/>
                  </a:lnTo>
                  <a:lnTo>
                    <a:pt x="1192" y="518"/>
                  </a:lnTo>
                  <a:lnTo>
                    <a:pt x="1200" y="518"/>
                  </a:lnTo>
                  <a:lnTo>
                    <a:pt x="1200" y="522"/>
                  </a:lnTo>
                  <a:lnTo>
                    <a:pt x="1209" y="522"/>
                  </a:lnTo>
                  <a:lnTo>
                    <a:pt x="1209" y="527"/>
                  </a:lnTo>
                  <a:lnTo>
                    <a:pt x="1219" y="527"/>
                  </a:lnTo>
                  <a:lnTo>
                    <a:pt x="1219" y="539"/>
                  </a:lnTo>
                  <a:lnTo>
                    <a:pt x="1229" y="539"/>
                  </a:lnTo>
                  <a:lnTo>
                    <a:pt x="1229" y="546"/>
                  </a:lnTo>
                  <a:lnTo>
                    <a:pt x="1241" y="546"/>
                  </a:lnTo>
                  <a:lnTo>
                    <a:pt x="1241" y="553"/>
                  </a:lnTo>
                  <a:lnTo>
                    <a:pt x="1285" y="553"/>
                  </a:lnTo>
                  <a:lnTo>
                    <a:pt x="1285" y="558"/>
                  </a:lnTo>
                  <a:lnTo>
                    <a:pt x="1290" y="558"/>
                  </a:lnTo>
                  <a:lnTo>
                    <a:pt x="1290" y="562"/>
                  </a:lnTo>
                  <a:lnTo>
                    <a:pt x="1321" y="562"/>
                  </a:lnTo>
                  <a:lnTo>
                    <a:pt x="1321" y="570"/>
                  </a:lnTo>
                  <a:lnTo>
                    <a:pt x="1326" y="570"/>
                  </a:lnTo>
                  <a:lnTo>
                    <a:pt x="1326" y="586"/>
                  </a:lnTo>
                  <a:lnTo>
                    <a:pt x="1348" y="586"/>
                  </a:lnTo>
                  <a:lnTo>
                    <a:pt x="1348" y="593"/>
                  </a:lnTo>
                  <a:lnTo>
                    <a:pt x="1360" y="593"/>
                  </a:lnTo>
                  <a:lnTo>
                    <a:pt x="1360" y="600"/>
                  </a:lnTo>
                  <a:lnTo>
                    <a:pt x="1370" y="600"/>
                  </a:lnTo>
                  <a:lnTo>
                    <a:pt x="1370" y="605"/>
                  </a:lnTo>
                  <a:lnTo>
                    <a:pt x="1375" y="605"/>
                  </a:lnTo>
                  <a:lnTo>
                    <a:pt x="1375" y="612"/>
                  </a:lnTo>
                  <a:lnTo>
                    <a:pt x="1390" y="612"/>
                  </a:lnTo>
                  <a:lnTo>
                    <a:pt x="1390" y="624"/>
                  </a:lnTo>
                  <a:lnTo>
                    <a:pt x="1409" y="624"/>
                  </a:lnTo>
                  <a:lnTo>
                    <a:pt x="1409" y="631"/>
                  </a:lnTo>
                  <a:lnTo>
                    <a:pt x="1463" y="631"/>
                  </a:lnTo>
                  <a:lnTo>
                    <a:pt x="1463" y="643"/>
                  </a:lnTo>
                  <a:lnTo>
                    <a:pt x="1482" y="643"/>
                  </a:lnTo>
                  <a:lnTo>
                    <a:pt x="1482" y="655"/>
                  </a:lnTo>
                  <a:lnTo>
                    <a:pt x="1492" y="655"/>
                  </a:lnTo>
                  <a:lnTo>
                    <a:pt x="1492" y="662"/>
                  </a:lnTo>
                  <a:lnTo>
                    <a:pt x="1517" y="662"/>
                  </a:lnTo>
                  <a:lnTo>
                    <a:pt x="1517" y="669"/>
                  </a:lnTo>
                  <a:lnTo>
                    <a:pt x="1531" y="669"/>
                  </a:lnTo>
                  <a:lnTo>
                    <a:pt x="1531" y="673"/>
                  </a:lnTo>
                  <a:lnTo>
                    <a:pt x="1551" y="673"/>
                  </a:lnTo>
                  <a:lnTo>
                    <a:pt x="1551" y="683"/>
                  </a:lnTo>
                  <a:lnTo>
                    <a:pt x="1568" y="683"/>
                  </a:lnTo>
                  <a:lnTo>
                    <a:pt x="1568" y="695"/>
                  </a:lnTo>
                  <a:lnTo>
                    <a:pt x="1599" y="695"/>
                  </a:lnTo>
                  <a:lnTo>
                    <a:pt x="1599" y="709"/>
                  </a:lnTo>
                  <a:lnTo>
                    <a:pt x="1643" y="709"/>
                  </a:lnTo>
                  <a:lnTo>
                    <a:pt x="1643" y="721"/>
                  </a:lnTo>
                  <a:lnTo>
                    <a:pt x="1663" y="721"/>
                  </a:lnTo>
                  <a:lnTo>
                    <a:pt x="1663" y="733"/>
                  </a:lnTo>
                  <a:lnTo>
                    <a:pt x="1697" y="733"/>
                  </a:lnTo>
                  <a:lnTo>
                    <a:pt x="1697" y="744"/>
                  </a:lnTo>
                  <a:lnTo>
                    <a:pt x="1716" y="744"/>
                  </a:lnTo>
                  <a:lnTo>
                    <a:pt x="1716" y="758"/>
                  </a:lnTo>
                  <a:lnTo>
                    <a:pt x="1738" y="758"/>
                  </a:lnTo>
                  <a:lnTo>
                    <a:pt x="1738" y="773"/>
                  </a:lnTo>
                  <a:lnTo>
                    <a:pt x="2245" y="773"/>
                  </a:lnTo>
                </a:path>
              </a:pathLst>
            </a:custGeom>
            <a:noFill/>
            <a:ln w="19050" cap="sq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 6"/>
            <p:cNvSpPr>
              <a:spLocks/>
            </p:cNvSpPr>
            <p:nvPr/>
          </p:nvSpPr>
          <p:spPr bwMode="auto">
            <a:xfrm>
              <a:off x="3111490" y="2005399"/>
              <a:ext cx="3681412" cy="1676400"/>
            </a:xfrm>
            <a:custGeom>
              <a:avLst/>
              <a:gdLst>
                <a:gd name="T0" fmla="*/ 22 w 951"/>
                <a:gd name="T1" fmla="*/ 2 h 447"/>
                <a:gd name="T2" fmla="*/ 55 w 951"/>
                <a:gd name="T3" fmla="*/ 10 h 447"/>
                <a:gd name="T4" fmla="*/ 69 w 951"/>
                <a:gd name="T5" fmla="*/ 18 h 447"/>
                <a:gd name="T6" fmla="*/ 106 w 951"/>
                <a:gd name="T7" fmla="*/ 20 h 447"/>
                <a:gd name="T8" fmla="*/ 132 w 951"/>
                <a:gd name="T9" fmla="*/ 28 h 447"/>
                <a:gd name="T10" fmla="*/ 147 w 951"/>
                <a:gd name="T11" fmla="*/ 35 h 447"/>
                <a:gd name="T12" fmla="*/ 159 w 951"/>
                <a:gd name="T13" fmla="*/ 46 h 447"/>
                <a:gd name="T14" fmla="*/ 177 w 951"/>
                <a:gd name="T15" fmla="*/ 53 h 447"/>
                <a:gd name="T16" fmla="*/ 193 w 951"/>
                <a:gd name="T17" fmla="*/ 60 h 447"/>
                <a:gd name="T18" fmla="*/ 211 w 951"/>
                <a:gd name="T19" fmla="*/ 75 h 447"/>
                <a:gd name="T20" fmla="*/ 227 w 951"/>
                <a:gd name="T21" fmla="*/ 87 h 447"/>
                <a:gd name="T22" fmla="*/ 242 w 951"/>
                <a:gd name="T23" fmla="*/ 95 h 447"/>
                <a:gd name="T24" fmla="*/ 259 w 951"/>
                <a:gd name="T25" fmla="*/ 101 h 447"/>
                <a:gd name="T26" fmla="*/ 276 w 951"/>
                <a:gd name="T27" fmla="*/ 109 h 447"/>
                <a:gd name="T28" fmla="*/ 291 w 951"/>
                <a:gd name="T29" fmla="*/ 115 h 447"/>
                <a:gd name="T30" fmla="*/ 306 w 951"/>
                <a:gd name="T31" fmla="*/ 124 h 447"/>
                <a:gd name="T32" fmla="*/ 318 w 951"/>
                <a:gd name="T33" fmla="*/ 133 h 447"/>
                <a:gd name="T34" fmla="*/ 327 w 951"/>
                <a:gd name="T35" fmla="*/ 144 h 447"/>
                <a:gd name="T36" fmla="*/ 343 w 951"/>
                <a:gd name="T37" fmla="*/ 152 h 447"/>
                <a:gd name="T38" fmla="*/ 355 w 951"/>
                <a:gd name="T39" fmla="*/ 162 h 447"/>
                <a:gd name="T40" fmla="*/ 371 w 951"/>
                <a:gd name="T41" fmla="*/ 171 h 447"/>
                <a:gd name="T42" fmla="*/ 386 w 951"/>
                <a:gd name="T43" fmla="*/ 180 h 447"/>
                <a:gd name="T44" fmla="*/ 408 w 951"/>
                <a:gd name="T45" fmla="*/ 185 h 447"/>
                <a:gd name="T46" fmla="*/ 421 w 951"/>
                <a:gd name="T47" fmla="*/ 195 h 447"/>
                <a:gd name="T48" fmla="*/ 432 w 951"/>
                <a:gd name="T49" fmla="*/ 207 h 447"/>
                <a:gd name="T50" fmla="*/ 448 w 951"/>
                <a:gd name="T51" fmla="*/ 215 h 447"/>
                <a:gd name="T52" fmla="*/ 462 w 951"/>
                <a:gd name="T53" fmla="*/ 224 h 447"/>
                <a:gd name="T54" fmla="*/ 478 w 951"/>
                <a:gd name="T55" fmla="*/ 233 h 447"/>
                <a:gd name="T56" fmla="*/ 497 w 951"/>
                <a:gd name="T57" fmla="*/ 241 h 447"/>
                <a:gd name="T58" fmla="*/ 511 w 951"/>
                <a:gd name="T59" fmla="*/ 250 h 447"/>
                <a:gd name="T60" fmla="*/ 527 w 951"/>
                <a:gd name="T61" fmla="*/ 259 h 447"/>
                <a:gd name="T62" fmla="*/ 538 w 951"/>
                <a:gd name="T63" fmla="*/ 270 h 447"/>
                <a:gd name="T64" fmla="*/ 554 w 951"/>
                <a:gd name="T65" fmla="*/ 276 h 447"/>
                <a:gd name="T66" fmla="*/ 563 w 951"/>
                <a:gd name="T67" fmla="*/ 283 h 447"/>
                <a:gd name="T68" fmla="*/ 579 w 951"/>
                <a:gd name="T69" fmla="*/ 291 h 447"/>
                <a:gd name="T70" fmla="*/ 595 w 951"/>
                <a:gd name="T71" fmla="*/ 299 h 447"/>
                <a:gd name="T72" fmla="*/ 617 w 951"/>
                <a:gd name="T73" fmla="*/ 309 h 447"/>
                <a:gd name="T74" fmla="*/ 628 w 951"/>
                <a:gd name="T75" fmla="*/ 315 h 447"/>
                <a:gd name="T76" fmla="*/ 644 w 951"/>
                <a:gd name="T77" fmla="*/ 325 h 447"/>
                <a:gd name="T78" fmla="*/ 669 w 951"/>
                <a:gd name="T79" fmla="*/ 334 h 447"/>
                <a:gd name="T80" fmla="*/ 695 w 951"/>
                <a:gd name="T81" fmla="*/ 344 h 447"/>
                <a:gd name="T82" fmla="*/ 748 w 951"/>
                <a:gd name="T83" fmla="*/ 344 h 447"/>
                <a:gd name="T84" fmla="*/ 758 w 951"/>
                <a:gd name="T85" fmla="*/ 359 h 447"/>
                <a:gd name="T86" fmla="*/ 780 w 951"/>
                <a:gd name="T87" fmla="*/ 369 h 447"/>
                <a:gd name="T88" fmla="*/ 794 w 951"/>
                <a:gd name="T89" fmla="*/ 380 h 447"/>
                <a:gd name="T90" fmla="*/ 820 w 951"/>
                <a:gd name="T91" fmla="*/ 384 h 447"/>
                <a:gd name="T92" fmla="*/ 848 w 951"/>
                <a:gd name="T93" fmla="*/ 402 h 447"/>
                <a:gd name="T94" fmla="*/ 930 w 951"/>
                <a:gd name="T95" fmla="*/ 443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1" h="447">
                  <a:moveTo>
                    <a:pt x="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100" y="20"/>
                    <a:pt x="100" y="20"/>
                    <a:pt x="100" y="20"/>
                  </a:cubicBezTo>
                  <a:cubicBezTo>
                    <a:pt x="106" y="20"/>
                    <a:pt x="106" y="20"/>
                    <a:pt x="106" y="20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14" y="24"/>
                    <a:pt x="114" y="24"/>
                    <a:pt x="114" y="24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40" y="32"/>
                    <a:pt x="140" y="32"/>
                    <a:pt x="140" y="32"/>
                  </a:cubicBezTo>
                  <a:cubicBezTo>
                    <a:pt x="140" y="35"/>
                    <a:pt x="140" y="35"/>
                    <a:pt x="140" y="35"/>
                  </a:cubicBezTo>
                  <a:cubicBezTo>
                    <a:pt x="147" y="35"/>
                    <a:pt x="147" y="35"/>
                    <a:pt x="147" y="35"/>
                  </a:cubicBezTo>
                  <a:cubicBezTo>
                    <a:pt x="147" y="38"/>
                    <a:pt x="147" y="38"/>
                    <a:pt x="147" y="38"/>
                  </a:cubicBezTo>
                  <a:cubicBezTo>
                    <a:pt x="155" y="38"/>
                    <a:pt x="155" y="38"/>
                    <a:pt x="155" y="38"/>
                  </a:cubicBezTo>
                  <a:cubicBezTo>
                    <a:pt x="155" y="46"/>
                    <a:pt x="155" y="46"/>
                    <a:pt x="155" y="46"/>
                  </a:cubicBezTo>
                  <a:cubicBezTo>
                    <a:pt x="159" y="46"/>
                    <a:pt x="159" y="46"/>
                    <a:pt x="159" y="46"/>
                  </a:cubicBezTo>
                  <a:cubicBezTo>
                    <a:pt x="159" y="50"/>
                    <a:pt x="159" y="50"/>
                    <a:pt x="159" y="50"/>
                  </a:cubicBezTo>
                  <a:cubicBezTo>
                    <a:pt x="169" y="50"/>
                    <a:pt x="169" y="50"/>
                    <a:pt x="169" y="50"/>
                  </a:cubicBezTo>
                  <a:cubicBezTo>
                    <a:pt x="169" y="53"/>
                    <a:pt x="169" y="53"/>
                    <a:pt x="169" y="53"/>
                  </a:cubicBezTo>
                  <a:cubicBezTo>
                    <a:pt x="177" y="53"/>
                    <a:pt x="177" y="53"/>
                    <a:pt x="177" y="53"/>
                  </a:cubicBezTo>
                  <a:cubicBezTo>
                    <a:pt x="177" y="57"/>
                    <a:pt x="177" y="57"/>
                    <a:pt x="177" y="57"/>
                  </a:cubicBezTo>
                  <a:cubicBezTo>
                    <a:pt x="185" y="57"/>
                    <a:pt x="185" y="57"/>
                    <a:pt x="185" y="57"/>
                  </a:cubicBezTo>
                  <a:cubicBezTo>
                    <a:pt x="185" y="60"/>
                    <a:pt x="185" y="60"/>
                    <a:pt x="185" y="60"/>
                  </a:cubicBezTo>
                  <a:cubicBezTo>
                    <a:pt x="193" y="60"/>
                    <a:pt x="193" y="60"/>
                    <a:pt x="193" y="60"/>
                  </a:cubicBezTo>
                  <a:cubicBezTo>
                    <a:pt x="193" y="67"/>
                    <a:pt x="193" y="67"/>
                    <a:pt x="193" y="67"/>
                  </a:cubicBezTo>
                  <a:cubicBezTo>
                    <a:pt x="206" y="67"/>
                    <a:pt x="206" y="67"/>
                    <a:pt x="206" y="67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11" y="75"/>
                    <a:pt x="211" y="75"/>
                    <a:pt x="211" y="75"/>
                  </a:cubicBezTo>
                  <a:cubicBezTo>
                    <a:pt x="211" y="80"/>
                    <a:pt x="211" y="80"/>
                    <a:pt x="211" y="80"/>
                  </a:cubicBezTo>
                  <a:cubicBezTo>
                    <a:pt x="223" y="80"/>
                    <a:pt x="223" y="80"/>
                    <a:pt x="223" y="80"/>
                  </a:cubicBezTo>
                  <a:cubicBezTo>
                    <a:pt x="223" y="87"/>
                    <a:pt x="223" y="87"/>
                    <a:pt x="223" y="87"/>
                  </a:cubicBezTo>
                  <a:cubicBezTo>
                    <a:pt x="227" y="87"/>
                    <a:pt x="227" y="87"/>
                    <a:pt x="227" y="87"/>
                  </a:cubicBezTo>
                  <a:cubicBezTo>
                    <a:pt x="227" y="91"/>
                    <a:pt x="227" y="91"/>
                    <a:pt x="227" y="91"/>
                  </a:cubicBezTo>
                  <a:cubicBezTo>
                    <a:pt x="235" y="91"/>
                    <a:pt x="235" y="91"/>
                    <a:pt x="235" y="91"/>
                  </a:cubicBezTo>
                  <a:cubicBezTo>
                    <a:pt x="235" y="95"/>
                    <a:pt x="235" y="95"/>
                    <a:pt x="235" y="95"/>
                  </a:cubicBezTo>
                  <a:cubicBezTo>
                    <a:pt x="242" y="95"/>
                    <a:pt x="242" y="95"/>
                    <a:pt x="242" y="95"/>
                  </a:cubicBezTo>
                  <a:cubicBezTo>
                    <a:pt x="242" y="99"/>
                    <a:pt x="242" y="99"/>
                    <a:pt x="242" y="99"/>
                  </a:cubicBezTo>
                  <a:cubicBezTo>
                    <a:pt x="253" y="99"/>
                    <a:pt x="253" y="99"/>
                    <a:pt x="253" y="99"/>
                  </a:cubicBezTo>
                  <a:cubicBezTo>
                    <a:pt x="253" y="101"/>
                    <a:pt x="253" y="101"/>
                    <a:pt x="253" y="101"/>
                  </a:cubicBezTo>
                  <a:cubicBezTo>
                    <a:pt x="259" y="101"/>
                    <a:pt x="259" y="101"/>
                    <a:pt x="259" y="101"/>
                  </a:cubicBezTo>
                  <a:cubicBezTo>
                    <a:pt x="259" y="105"/>
                    <a:pt x="259" y="105"/>
                    <a:pt x="259" y="105"/>
                  </a:cubicBezTo>
                  <a:cubicBezTo>
                    <a:pt x="267" y="105"/>
                    <a:pt x="267" y="105"/>
                    <a:pt x="267" y="105"/>
                  </a:cubicBezTo>
                  <a:cubicBezTo>
                    <a:pt x="267" y="109"/>
                    <a:pt x="267" y="109"/>
                    <a:pt x="267" y="109"/>
                  </a:cubicBezTo>
                  <a:cubicBezTo>
                    <a:pt x="276" y="109"/>
                    <a:pt x="276" y="109"/>
                    <a:pt x="276" y="109"/>
                  </a:cubicBezTo>
                  <a:cubicBezTo>
                    <a:pt x="276" y="112"/>
                    <a:pt x="276" y="112"/>
                    <a:pt x="276" y="112"/>
                  </a:cubicBezTo>
                  <a:cubicBezTo>
                    <a:pt x="284" y="112"/>
                    <a:pt x="284" y="112"/>
                    <a:pt x="284" y="112"/>
                  </a:cubicBezTo>
                  <a:cubicBezTo>
                    <a:pt x="284" y="115"/>
                    <a:pt x="284" y="115"/>
                    <a:pt x="284" y="115"/>
                  </a:cubicBezTo>
                  <a:cubicBezTo>
                    <a:pt x="291" y="115"/>
                    <a:pt x="291" y="115"/>
                    <a:pt x="291" y="115"/>
                  </a:cubicBezTo>
                  <a:cubicBezTo>
                    <a:pt x="291" y="120"/>
                    <a:pt x="291" y="120"/>
                    <a:pt x="291" y="120"/>
                  </a:cubicBezTo>
                  <a:cubicBezTo>
                    <a:pt x="298" y="120"/>
                    <a:pt x="298" y="120"/>
                    <a:pt x="298" y="120"/>
                  </a:cubicBezTo>
                  <a:cubicBezTo>
                    <a:pt x="298" y="124"/>
                    <a:pt x="298" y="124"/>
                    <a:pt x="298" y="124"/>
                  </a:cubicBezTo>
                  <a:cubicBezTo>
                    <a:pt x="306" y="124"/>
                    <a:pt x="306" y="124"/>
                    <a:pt x="306" y="124"/>
                  </a:cubicBezTo>
                  <a:cubicBezTo>
                    <a:pt x="306" y="129"/>
                    <a:pt x="306" y="129"/>
                    <a:pt x="306" y="129"/>
                  </a:cubicBezTo>
                  <a:cubicBezTo>
                    <a:pt x="306" y="133"/>
                    <a:pt x="306" y="133"/>
                    <a:pt x="306" y="133"/>
                  </a:cubicBezTo>
                  <a:cubicBezTo>
                    <a:pt x="313" y="133"/>
                    <a:pt x="313" y="133"/>
                    <a:pt x="313" y="133"/>
                  </a:cubicBezTo>
                  <a:cubicBezTo>
                    <a:pt x="318" y="133"/>
                    <a:pt x="318" y="133"/>
                    <a:pt x="318" y="133"/>
                  </a:cubicBezTo>
                  <a:cubicBezTo>
                    <a:pt x="318" y="137"/>
                    <a:pt x="318" y="137"/>
                    <a:pt x="318" y="137"/>
                  </a:cubicBezTo>
                  <a:cubicBezTo>
                    <a:pt x="323" y="137"/>
                    <a:pt x="323" y="137"/>
                    <a:pt x="323" y="137"/>
                  </a:cubicBezTo>
                  <a:cubicBezTo>
                    <a:pt x="323" y="144"/>
                    <a:pt x="323" y="144"/>
                    <a:pt x="323" y="144"/>
                  </a:cubicBezTo>
                  <a:cubicBezTo>
                    <a:pt x="327" y="144"/>
                    <a:pt x="327" y="144"/>
                    <a:pt x="327" y="144"/>
                  </a:cubicBezTo>
                  <a:cubicBezTo>
                    <a:pt x="327" y="148"/>
                    <a:pt x="327" y="148"/>
                    <a:pt x="327" y="148"/>
                  </a:cubicBezTo>
                  <a:cubicBezTo>
                    <a:pt x="335" y="148"/>
                    <a:pt x="335" y="148"/>
                    <a:pt x="335" y="148"/>
                  </a:cubicBezTo>
                  <a:cubicBezTo>
                    <a:pt x="335" y="152"/>
                    <a:pt x="335" y="152"/>
                    <a:pt x="335" y="152"/>
                  </a:cubicBezTo>
                  <a:cubicBezTo>
                    <a:pt x="343" y="152"/>
                    <a:pt x="343" y="152"/>
                    <a:pt x="343" y="152"/>
                  </a:cubicBezTo>
                  <a:cubicBezTo>
                    <a:pt x="343" y="157"/>
                    <a:pt x="343" y="157"/>
                    <a:pt x="343" y="157"/>
                  </a:cubicBezTo>
                  <a:cubicBezTo>
                    <a:pt x="349" y="157"/>
                    <a:pt x="349" y="157"/>
                    <a:pt x="349" y="157"/>
                  </a:cubicBezTo>
                  <a:cubicBezTo>
                    <a:pt x="349" y="162"/>
                    <a:pt x="349" y="162"/>
                    <a:pt x="349" y="162"/>
                  </a:cubicBezTo>
                  <a:cubicBezTo>
                    <a:pt x="355" y="162"/>
                    <a:pt x="355" y="162"/>
                    <a:pt x="355" y="162"/>
                  </a:cubicBezTo>
                  <a:cubicBezTo>
                    <a:pt x="355" y="166"/>
                    <a:pt x="355" y="166"/>
                    <a:pt x="355" y="166"/>
                  </a:cubicBezTo>
                  <a:cubicBezTo>
                    <a:pt x="364" y="166"/>
                    <a:pt x="364" y="166"/>
                    <a:pt x="364" y="166"/>
                  </a:cubicBezTo>
                  <a:cubicBezTo>
                    <a:pt x="364" y="171"/>
                    <a:pt x="364" y="171"/>
                    <a:pt x="364" y="171"/>
                  </a:cubicBezTo>
                  <a:cubicBezTo>
                    <a:pt x="371" y="171"/>
                    <a:pt x="371" y="171"/>
                    <a:pt x="371" y="171"/>
                  </a:cubicBezTo>
                  <a:cubicBezTo>
                    <a:pt x="371" y="176"/>
                    <a:pt x="371" y="176"/>
                    <a:pt x="371" y="176"/>
                  </a:cubicBezTo>
                  <a:cubicBezTo>
                    <a:pt x="379" y="176"/>
                    <a:pt x="379" y="176"/>
                    <a:pt x="379" y="176"/>
                  </a:cubicBezTo>
                  <a:cubicBezTo>
                    <a:pt x="379" y="180"/>
                    <a:pt x="379" y="180"/>
                    <a:pt x="379" y="180"/>
                  </a:cubicBezTo>
                  <a:cubicBezTo>
                    <a:pt x="386" y="180"/>
                    <a:pt x="386" y="180"/>
                    <a:pt x="386" y="180"/>
                  </a:cubicBezTo>
                  <a:cubicBezTo>
                    <a:pt x="386" y="183"/>
                    <a:pt x="386" y="183"/>
                    <a:pt x="386" y="183"/>
                  </a:cubicBezTo>
                  <a:cubicBezTo>
                    <a:pt x="398" y="183"/>
                    <a:pt x="398" y="183"/>
                    <a:pt x="398" y="183"/>
                  </a:cubicBezTo>
                  <a:cubicBezTo>
                    <a:pt x="398" y="185"/>
                    <a:pt x="398" y="185"/>
                    <a:pt x="398" y="185"/>
                  </a:cubicBezTo>
                  <a:cubicBezTo>
                    <a:pt x="408" y="185"/>
                    <a:pt x="408" y="185"/>
                    <a:pt x="408" y="185"/>
                  </a:cubicBezTo>
                  <a:cubicBezTo>
                    <a:pt x="408" y="192"/>
                    <a:pt x="408" y="192"/>
                    <a:pt x="408" y="192"/>
                  </a:cubicBezTo>
                  <a:cubicBezTo>
                    <a:pt x="413" y="192"/>
                    <a:pt x="413" y="192"/>
                    <a:pt x="413" y="192"/>
                  </a:cubicBezTo>
                  <a:cubicBezTo>
                    <a:pt x="413" y="195"/>
                    <a:pt x="413" y="195"/>
                    <a:pt x="413" y="195"/>
                  </a:cubicBezTo>
                  <a:cubicBezTo>
                    <a:pt x="421" y="195"/>
                    <a:pt x="421" y="195"/>
                    <a:pt x="421" y="195"/>
                  </a:cubicBezTo>
                  <a:cubicBezTo>
                    <a:pt x="421" y="202"/>
                    <a:pt x="421" y="202"/>
                    <a:pt x="421" y="202"/>
                  </a:cubicBezTo>
                  <a:cubicBezTo>
                    <a:pt x="427" y="202"/>
                    <a:pt x="427" y="202"/>
                    <a:pt x="427" y="202"/>
                  </a:cubicBezTo>
                  <a:cubicBezTo>
                    <a:pt x="427" y="207"/>
                    <a:pt x="427" y="207"/>
                    <a:pt x="427" y="207"/>
                  </a:cubicBezTo>
                  <a:cubicBezTo>
                    <a:pt x="432" y="207"/>
                    <a:pt x="432" y="207"/>
                    <a:pt x="432" y="207"/>
                  </a:cubicBezTo>
                  <a:cubicBezTo>
                    <a:pt x="432" y="211"/>
                    <a:pt x="432" y="211"/>
                    <a:pt x="432" y="211"/>
                  </a:cubicBezTo>
                  <a:cubicBezTo>
                    <a:pt x="438" y="211"/>
                    <a:pt x="438" y="211"/>
                    <a:pt x="438" y="211"/>
                  </a:cubicBezTo>
                  <a:cubicBezTo>
                    <a:pt x="438" y="215"/>
                    <a:pt x="438" y="215"/>
                    <a:pt x="438" y="215"/>
                  </a:cubicBezTo>
                  <a:cubicBezTo>
                    <a:pt x="448" y="215"/>
                    <a:pt x="448" y="215"/>
                    <a:pt x="448" y="215"/>
                  </a:cubicBezTo>
                  <a:cubicBezTo>
                    <a:pt x="448" y="218"/>
                    <a:pt x="448" y="218"/>
                    <a:pt x="448" y="218"/>
                  </a:cubicBezTo>
                  <a:cubicBezTo>
                    <a:pt x="456" y="218"/>
                    <a:pt x="456" y="218"/>
                    <a:pt x="456" y="218"/>
                  </a:cubicBezTo>
                  <a:cubicBezTo>
                    <a:pt x="456" y="224"/>
                    <a:pt x="456" y="224"/>
                    <a:pt x="456" y="224"/>
                  </a:cubicBezTo>
                  <a:cubicBezTo>
                    <a:pt x="462" y="224"/>
                    <a:pt x="462" y="224"/>
                    <a:pt x="462" y="224"/>
                  </a:cubicBezTo>
                  <a:cubicBezTo>
                    <a:pt x="462" y="229"/>
                    <a:pt x="462" y="229"/>
                    <a:pt x="462" y="229"/>
                  </a:cubicBezTo>
                  <a:cubicBezTo>
                    <a:pt x="472" y="229"/>
                    <a:pt x="472" y="229"/>
                    <a:pt x="472" y="229"/>
                  </a:cubicBezTo>
                  <a:cubicBezTo>
                    <a:pt x="472" y="233"/>
                    <a:pt x="472" y="233"/>
                    <a:pt x="472" y="233"/>
                  </a:cubicBezTo>
                  <a:cubicBezTo>
                    <a:pt x="478" y="233"/>
                    <a:pt x="478" y="233"/>
                    <a:pt x="478" y="233"/>
                  </a:cubicBezTo>
                  <a:cubicBezTo>
                    <a:pt x="478" y="236"/>
                    <a:pt x="478" y="236"/>
                    <a:pt x="478" y="236"/>
                  </a:cubicBezTo>
                  <a:cubicBezTo>
                    <a:pt x="489" y="236"/>
                    <a:pt x="489" y="236"/>
                    <a:pt x="489" y="236"/>
                  </a:cubicBezTo>
                  <a:cubicBezTo>
                    <a:pt x="489" y="241"/>
                    <a:pt x="489" y="241"/>
                    <a:pt x="489" y="241"/>
                  </a:cubicBezTo>
                  <a:cubicBezTo>
                    <a:pt x="497" y="241"/>
                    <a:pt x="497" y="241"/>
                    <a:pt x="497" y="241"/>
                  </a:cubicBezTo>
                  <a:cubicBezTo>
                    <a:pt x="497" y="248"/>
                    <a:pt x="497" y="248"/>
                    <a:pt x="497" y="248"/>
                  </a:cubicBezTo>
                  <a:cubicBezTo>
                    <a:pt x="500" y="248"/>
                    <a:pt x="500" y="248"/>
                    <a:pt x="500" y="248"/>
                  </a:cubicBezTo>
                  <a:cubicBezTo>
                    <a:pt x="500" y="250"/>
                    <a:pt x="500" y="250"/>
                    <a:pt x="500" y="250"/>
                  </a:cubicBezTo>
                  <a:cubicBezTo>
                    <a:pt x="511" y="250"/>
                    <a:pt x="511" y="250"/>
                    <a:pt x="511" y="250"/>
                  </a:cubicBezTo>
                  <a:cubicBezTo>
                    <a:pt x="511" y="253"/>
                    <a:pt x="511" y="253"/>
                    <a:pt x="511" y="253"/>
                  </a:cubicBezTo>
                  <a:cubicBezTo>
                    <a:pt x="520" y="253"/>
                    <a:pt x="520" y="253"/>
                    <a:pt x="520" y="253"/>
                  </a:cubicBezTo>
                  <a:cubicBezTo>
                    <a:pt x="520" y="259"/>
                    <a:pt x="520" y="259"/>
                    <a:pt x="520" y="259"/>
                  </a:cubicBezTo>
                  <a:cubicBezTo>
                    <a:pt x="527" y="259"/>
                    <a:pt x="527" y="259"/>
                    <a:pt x="527" y="259"/>
                  </a:cubicBezTo>
                  <a:cubicBezTo>
                    <a:pt x="527" y="263"/>
                    <a:pt x="527" y="263"/>
                    <a:pt x="527" y="263"/>
                  </a:cubicBezTo>
                  <a:cubicBezTo>
                    <a:pt x="534" y="263"/>
                    <a:pt x="534" y="263"/>
                    <a:pt x="534" y="263"/>
                  </a:cubicBezTo>
                  <a:cubicBezTo>
                    <a:pt x="534" y="270"/>
                    <a:pt x="534" y="270"/>
                    <a:pt x="534" y="270"/>
                  </a:cubicBezTo>
                  <a:cubicBezTo>
                    <a:pt x="538" y="270"/>
                    <a:pt x="538" y="270"/>
                    <a:pt x="538" y="270"/>
                  </a:cubicBezTo>
                  <a:cubicBezTo>
                    <a:pt x="538" y="273"/>
                    <a:pt x="538" y="273"/>
                    <a:pt x="538" y="273"/>
                  </a:cubicBezTo>
                  <a:cubicBezTo>
                    <a:pt x="546" y="273"/>
                    <a:pt x="546" y="273"/>
                    <a:pt x="546" y="273"/>
                  </a:cubicBezTo>
                  <a:cubicBezTo>
                    <a:pt x="546" y="276"/>
                    <a:pt x="546" y="276"/>
                    <a:pt x="546" y="276"/>
                  </a:cubicBezTo>
                  <a:cubicBezTo>
                    <a:pt x="554" y="276"/>
                    <a:pt x="554" y="276"/>
                    <a:pt x="554" y="276"/>
                  </a:cubicBezTo>
                  <a:cubicBezTo>
                    <a:pt x="554" y="280"/>
                    <a:pt x="554" y="280"/>
                    <a:pt x="554" y="280"/>
                  </a:cubicBezTo>
                  <a:cubicBezTo>
                    <a:pt x="558" y="280"/>
                    <a:pt x="558" y="280"/>
                    <a:pt x="558" y="280"/>
                  </a:cubicBezTo>
                  <a:cubicBezTo>
                    <a:pt x="558" y="283"/>
                    <a:pt x="558" y="283"/>
                    <a:pt x="558" y="283"/>
                  </a:cubicBezTo>
                  <a:cubicBezTo>
                    <a:pt x="563" y="283"/>
                    <a:pt x="563" y="283"/>
                    <a:pt x="563" y="283"/>
                  </a:cubicBezTo>
                  <a:cubicBezTo>
                    <a:pt x="563" y="287"/>
                    <a:pt x="563" y="287"/>
                    <a:pt x="563" y="287"/>
                  </a:cubicBezTo>
                  <a:cubicBezTo>
                    <a:pt x="568" y="287"/>
                    <a:pt x="568" y="287"/>
                    <a:pt x="568" y="287"/>
                  </a:cubicBezTo>
                  <a:cubicBezTo>
                    <a:pt x="568" y="291"/>
                    <a:pt x="568" y="291"/>
                    <a:pt x="568" y="291"/>
                  </a:cubicBezTo>
                  <a:cubicBezTo>
                    <a:pt x="579" y="291"/>
                    <a:pt x="579" y="291"/>
                    <a:pt x="579" y="291"/>
                  </a:cubicBezTo>
                  <a:cubicBezTo>
                    <a:pt x="579" y="294"/>
                    <a:pt x="579" y="294"/>
                    <a:pt x="579" y="294"/>
                  </a:cubicBezTo>
                  <a:cubicBezTo>
                    <a:pt x="588" y="294"/>
                    <a:pt x="588" y="294"/>
                    <a:pt x="588" y="294"/>
                  </a:cubicBezTo>
                  <a:cubicBezTo>
                    <a:pt x="588" y="299"/>
                    <a:pt x="588" y="299"/>
                    <a:pt x="588" y="299"/>
                  </a:cubicBezTo>
                  <a:cubicBezTo>
                    <a:pt x="595" y="299"/>
                    <a:pt x="595" y="299"/>
                    <a:pt x="595" y="299"/>
                  </a:cubicBezTo>
                  <a:cubicBezTo>
                    <a:pt x="595" y="302"/>
                    <a:pt x="595" y="302"/>
                    <a:pt x="595" y="302"/>
                  </a:cubicBezTo>
                  <a:cubicBezTo>
                    <a:pt x="605" y="302"/>
                    <a:pt x="605" y="302"/>
                    <a:pt x="605" y="302"/>
                  </a:cubicBezTo>
                  <a:cubicBezTo>
                    <a:pt x="605" y="309"/>
                    <a:pt x="605" y="309"/>
                    <a:pt x="605" y="309"/>
                  </a:cubicBezTo>
                  <a:cubicBezTo>
                    <a:pt x="617" y="309"/>
                    <a:pt x="617" y="309"/>
                    <a:pt x="617" y="309"/>
                  </a:cubicBezTo>
                  <a:cubicBezTo>
                    <a:pt x="621" y="309"/>
                    <a:pt x="621" y="309"/>
                    <a:pt x="621" y="309"/>
                  </a:cubicBezTo>
                  <a:cubicBezTo>
                    <a:pt x="621" y="309"/>
                    <a:pt x="621" y="312"/>
                    <a:pt x="621" y="313"/>
                  </a:cubicBezTo>
                  <a:cubicBezTo>
                    <a:pt x="621" y="314"/>
                    <a:pt x="621" y="315"/>
                    <a:pt x="621" y="315"/>
                  </a:cubicBezTo>
                  <a:cubicBezTo>
                    <a:pt x="628" y="315"/>
                    <a:pt x="628" y="315"/>
                    <a:pt x="628" y="315"/>
                  </a:cubicBezTo>
                  <a:cubicBezTo>
                    <a:pt x="628" y="319"/>
                    <a:pt x="628" y="319"/>
                    <a:pt x="628" y="319"/>
                  </a:cubicBezTo>
                  <a:cubicBezTo>
                    <a:pt x="638" y="319"/>
                    <a:pt x="638" y="319"/>
                    <a:pt x="638" y="319"/>
                  </a:cubicBezTo>
                  <a:cubicBezTo>
                    <a:pt x="638" y="325"/>
                    <a:pt x="638" y="325"/>
                    <a:pt x="638" y="325"/>
                  </a:cubicBezTo>
                  <a:cubicBezTo>
                    <a:pt x="644" y="325"/>
                    <a:pt x="644" y="325"/>
                    <a:pt x="644" y="325"/>
                  </a:cubicBezTo>
                  <a:cubicBezTo>
                    <a:pt x="644" y="329"/>
                    <a:pt x="644" y="329"/>
                    <a:pt x="644" y="329"/>
                  </a:cubicBezTo>
                  <a:cubicBezTo>
                    <a:pt x="652" y="329"/>
                    <a:pt x="652" y="329"/>
                    <a:pt x="652" y="329"/>
                  </a:cubicBezTo>
                  <a:cubicBezTo>
                    <a:pt x="652" y="334"/>
                    <a:pt x="652" y="334"/>
                    <a:pt x="652" y="334"/>
                  </a:cubicBezTo>
                  <a:cubicBezTo>
                    <a:pt x="669" y="334"/>
                    <a:pt x="669" y="334"/>
                    <a:pt x="669" y="334"/>
                  </a:cubicBezTo>
                  <a:cubicBezTo>
                    <a:pt x="669" y="340"/>
                    <a:pt x="669" y="340"/>
                    <a:pt x="669" y="340"/>
                  </a:cubicBezTo>
                  <a:cubicBezTo>
                    <a:pt x="687" y="340"/>
                    <a:pt x="687" y="340"/>
                    <a:pt x="687" y="340"/>
                  </a:cubicBezTo>
                  <a:cubicBezTo>
                    <a:pt x="687" y="344"/>
                    <a:pt x="687" y="344"/>
                    <a:pt x="687" y="344"/>
                  </a:cubicBezTo>
                  <a:cubicBezTo>
                    <a:pt x="695" y="344"/>
                    <a:pt x="695" y="344"/>
                    <a:pt x="695" y="344"/>
                  </a:cubicBezTo>
                  <a:cubicBezTo>
                    <a:pt x="708" y="344"/>
                    <a:pt x="708" y="344"/>
                    <a:pt x="708" y="344"/>
                  </a:cubicBezTo>
                  <a:cubicBezTo>
                    <a:pt x="721" y="344"/>
                    <a:pt x="721" y="344"/>
                    <a:pt x="721" y="344"/>
                  </a:cubicBezTo>
                  <a:cubicBezTo>
                    <a:pt x="734" y="344"/>
                    <a:pt x="734" y="344"/>
                    <a:pt x="734" y="344"/>
                  </a:cubicBezTo>
                  <a:cubicBezTo>
                    <a:pt x="748" y="344"/>
                    <a:pt x="748" y="344"/>
                    <a:pt x="748" y="344"/>
                  </a:cubicBezTo>
                  <a:cubicBezTo>
                    <a:pt x="756" y="344"/>
                    <a:pt x="756" y="344"/>
                    <a:pt x="756" y="344"/>
                  </a:cubicBezTo>
                  <a:cubicBezTo>
                    <a:pt x="756" y="350"/>
                    <a:pt x="756" y="350"/>
                    <a:pt x="756" y="350"/>
                  </a:cubicBezTo>
                  <a:cubicBezTo>
                    <a:pt x="758" y="350"/>
                    <a:pt x="758" y="350"/>
                    <a:pt x="758" y="350"/>
                  </a:cubicBezTo>
                  <a:cubicBezTo>
                    <a:pt x="758" y="359"/>
                    <a:pt x="758" y="359"/>
                    <a:pt x="758" y="359"/>
                  </a:cubicBezTo>
                  <a:cubicBezTo>
                    <a:pt x="765" y="359"/>
                    <a:pt x="765" y="359"/>
                    <a:pt x="765" y="359"/>
                  </a:cubicBezTo>
                  <a:cubicBezTo>
                    <a:pt x="765" y="363"/>
                    <a:pt x="765" y="363"/>
                    <a:pt x="765" y="363"/>
                  </a:cubicBezTo>
                  <a:cubicBezTo>
                    <a:pt x="780" y="363"/>
                    <a:pt x="780" y="363"/>
                    <a:pt x="780" y="363"/>
                  </a:cubicBezTo>
                  <a:cubicBezTo>
                    <a:pt x="780" y="369"/>
                    <a:pt x="780" y="369"/>
                    <a:pt x="780" y="369"/>
                  </a:cubicBezTo>
                  <a:cubicBezTo>
                    <a:pt x="786" y="369"/>
                    <a:pt x="786" y="369"/>
                    <a:pt x="786" y="369"/>
                  </a:cubicBezTo>
                  <a:cubicBezTo>
                    <a:pt x="786" y="372"/>
                    <a:pt x="786" y="372"/>
                    <a:pt x="786" y="372"/>
                  </a:cubicBezTo>
                  <a:cubicBezTo>
                    <a:pt x="794" y="372"/>
                    <a:pt x="794" y="372"/>
                    <a:pt x="794" y="372"/>
                  </a:cubicBezTo>
                  <a:cubicBezTo>
                    <a:pt x="794" y="380"/>
                    <a:pt x="794" y="380"/>
                    <a:pt x="794" y="380"/>
                  </a:cubicBezTo>
                  <a:cubicBezTo>
                    <a:pt x="799" y="380"/>
                    <a:pt x="799" y="380"/>
                    <a:pt x="799" y="380"/>
                  </a:cubicBezTo>
                  <a:cubicBezTo>
                    <a:pt x="799" y="384"/>
                    <a:pt x="799" y="384"/>
                    <a:pt x="799" y="384"/>
                  </a:cubicBezTo>
                  <a:cubicBezTo>
                    <a:pt x="806" y="384"/>
                    <a:pt x="806" y="384"/>
                    <a:pt x="806" y="384"/>
                  </a:cubicBezTo>
                  <a:cubicBezTo>
                    <a:pt x="820" y="384"/>
                    <a:pt x="820" y="384"/>
                    <a:pt x="820" y="384"/>
                  </a:cubicBezTo>
                  <a:cubicBezTo>
                    <a:pt x="833" y="384"/>
                    <a:pt x="833" y="384"/>
                    <a:pt x="833" y="384"/>
                  </a:cubicBezTo>
                  <a:cubicBezTo>
                    <a:pt x="833" y="391"/>
                    <a:pt x="833" y="391"/>
                    <a:pt x="833" y="391"/>
                  </a:cubicBezTo>
                  <a:cubicBezTo>
                    <a:pt x="848" y="391"/>
                    <a:pt x="848" y="391"/>
                    <a:pt x="848" y="391"/>
                  </a:cubicBezTo>
                  <a:cubicBezTo>
                    <a:pt x="848" y="402"/>
                    <a:pt x="848" y="402"/>
                    <a:pt x="848" y="402"/>
                  </a:cubicBezTo>
                  <a:cubicBezTo>
                    <a:pt x="863" y="402"/>
                    <a:pt x="863" y="402"/>
                    <a:pt x="863" y="402"/>
                  </a:cubicBezTo>
                  <a:cubicBezTo>
                    <a:pt x="876" y="402"/>
                    <a:pt x="876" y="402"/>
                    <a:pt x="876" y="402"/>
                  </a:cubicBezTo>
                  <a:cubicBezTo>
                    <a:pt x="930" y="402"/>
                    <a:pt x="930" y="402"/>
                    <a:pt x="930" y="402"/>
                  </a:cubicBezTo>
                  <a:cubicBezTo>
                    <a:pt x="930" y="443"/>
                    <a:pt x="930" y="443"/>
                    <a:pt x="930" y="443"/>
                  </a:cubicBezTo>
                  <a:cubicBezTo>
                    <a:pt x="937" y="443"/>
                    <a:pt x="937" y="443"/>
                    <a:pt x="937" y="443"/>
                  </a:cubicBezTo>
                  <a:cubicBezTo>
                    <a:pt x="937" y="447"/>
                    <a:pt x="937" y="447"/>
                    <a:pt x="937" y="447"/>
                  </a:cubicBezTo>
                  <a:cubicBezTo>
                    <a:pt x="951" y="447"/>
                    <a:pt x="951" y="447"/>
                    <a:pt x="951" y="447"/>
                  </a:cubicBezTo>
                </a:path>
              </a:pathLst>
            </a:custGeom>
            <a:noFill/>
            <a:ln w="19050" cap="sq">
              <a:solidFill>
                <a:schemeClr val="tx2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7"/>
            <p:cNvSpPr>
              <a:spLocks/>
            </p:cNvSpPr>
            <p:nvPr/>
          </p:nvSpPr>
          <p:spPr bwMode="auto">
            <a:xfrm>
              <a:off x="3111490" y="2005399"/>
              <a:ext cx="3619500" cy="1485900"/>
            </a:xfrm>
            <a:custGeom>
              <a:avLst/>
              <a:gdLst>
                <a:gd name="T0" fmla="*/ 15 w 935"/>
                <a:gd name="T1" fmla="*/ 2 h 396"/>
                <a:gd name="T2" fmla="*/ 43 w 935"/>
                <a:gd name="T3" fmla="*/ 5 h 396"/>
                <a:gd name="T4" fmla="*/ 56 w 935"/>
                <a:gd name="T5" fmla="*/ 12 h 396"/>
                <a:gd name="T6" fmla="*/ 70 w 935"/>
                <a:gd name="T7" fmla="*/ 16 h 396"/>
                <a:gd name="T8" fmla="*/ 96 w 935"/>
                <a:gd name="T9" fmla="*/ 19 h 396"/>
                <a:gd name="T10" fmla="*/ 106 w 935"/>
                <a:gd name="T11" fmla="*/ 26 h 396"/>
                <a:gd name="T12" fmla="*/ 119 w 935"/>
                <a:gd name="T13" fmla="*/ 30 h 396"/>
                <a:gd name="T14" fmla="*/ 131 w 935"/>
                <a:gd name="T15" fmla="*/ 34 h 396"/>
                <a:gd name="T16" fmla="*/ 137 w 935"/>
                <a:gd name="T17" fmla="*/ 43 h 396"/>
                <a:gd name="T18" fmla="*/ 150 w 935"/>
                <a:gd name="T19" fmla="*/ 47 h 396"/>
                <a:gd name="T20" fmla="*/ 154 w 935"/>
                <a:gd name="T21" fmla="*/ 54 h 396"/>
                <a:gd name="T22" fmla="*/ 173 w 935"/>
                <a:gd name="T23" fmla="*/ 56 h 396"/>
                <a:gd name="T24" fmla="*/ 187 w 935"/>
                <a:gd name="T25" fmla="*/ 61 h 396"/>
                <a:gd name="T26" fmla="*/ 202 w 935"/>
                <a:gd name="T27" fmla="*/ 67 h 396"/>
                <a:gd name="T28" fmla="*/ 209 w 935"/>
                <a:gd name="T29" fmla="*/ 83 h 396"/>
                <a:gd name="T30" fmla="*/ 227 w 935"/>
                <a:gd name="T31" fmla="*/ 91 h 396"/>
                <a:gd name="T32" fmla="*/ 242 w 935"/>
                <a:gd name="T33" fmla="*/ 101 h 396"/>
                <a:gd name="T34" fmla="*/ 264 w 935"/>
                <a:gd name="T35" fmla="*/ 108 h 396"/>
                <a:gd name="T36" fmla="*/ 278 w 935"/>
                <a:gd name="T37" fmla="*/ 119 h 396"/>
                <a:gd name="T38" fmla="*/ 304 w 935"/>
                <a:gd name="T39" fmla="*/ 130 h 396"/>
                <a:gd name="T40" fmla="*/ 311 w 935"/>
                <a:gd name="T41" fmla="*/ 143 h 396"/>
                <a:gd name="T42" fmla="*/ 318 w 935"/>
                <a:gd name="T43" fmla="*/ 146 h 396"/>
                <a:gd name="T44" fmla="*/ 324 w 935"/>
                <a:gd name="T45" fmla="*/ 157 h 396"/>
                <a:gd name="T46" fmla="*/ 333 w 935"/>
                <a:gd name="T47" fmla="*/ 159 h 396"/>
                <a:gd name="T48" fmla="*/ 337 w 935"/>
                <a:gd name="T49" fmla="*/ 168 h 396"/>
                <a:gd name="T50" fmla="*/ 346 w 935"/>
                <a:gd name="T51" fmla="*/ 172 h 396"/>
                <a:gd name="T52" fmla="*/ 353 w 935"/>
                <a:gd name="T53" fmla="*/ 176 h 396"/>
                <a:gd name="T54" fmla="*/ 361 w 935"/>
                <a:gd name="T55" fmla="*/ 188 h 396"/>
                <a:gd name="T56" fmla="*/ 369 w 935"/>
                <a:gd name="T57" fmla="*/ 193 h 396"/>
                <a:gd name="T58" fmla="*/ 379 w 935"/>
                <a:gd name="T59" fmla="*/ 199 h 396"/>
                <a:gd name="T60" fmla="*/ 385 w 935"/>
                <a:gd name="T61" fmla="*/ 204 h 396"/>
                <a:gd name="T62" fmla="*/ 394 w 935"/>
                <a:gd name="T63" fmla="*/ 207 h 396"/>
                <a:gd name="T64" fmla="*/ 405 w 935"/>
                <a:gd name="T65" fmla="*/ 214 h 396"/>
                <a:gd name="T66" fmla="*/ 417 w 935"/>
                <a:gd name="T67" fmla="*/ 218 h 396"/>
                <a:gd name="T68" fmla="*/ 420 w 935"/>
                <a:gd name="T69" fmla="*/ 224 h 396"/>
                <a:gd name="T70" fmla="*/ 433 w 935"/>
                <a:gd name="T71" fmla="*/ 228 h 396"/>
                <a:gd name="T72" fmla="*/ 436 w 935"/>
                <a:gd name="T73" fmla="*/ 235 h 396"/>
                <a:gd name="T74" fmla="*/ 469 w 935"/>
                <a:gd name="T75" fmla="*/ 240 h 396"/>
                <a:gd name="T76" fmla="*/ 480 w 935"/>
                <a:gd name="T77" fmla="*/ 251 h 396"/>
                <a:gd name="T78" fmla="*/ 483 w 935"/>
                <a:gd name="T79" fmla="*/ 258 h 396"/>
                <a:gd name="T80" fmla="*/ 500 w 935"/>
                <a:gd name="T81" fmla="*/ 263 h 396"/>
                <a:gd name="T82" fmla="*/ 526 w 935"/>
                <a:gd name="T83" fmla="*/ 273 h 396"/>
                <a:gd name="T84" fmla="*/ 545 w 935"/>
                <a:gd name="T85" fmla="*/ 278 h 396"/>
                <a:gd name="T86" fmla="*/ 554 w 935"/>
                <a:gd name="T87" fmla="*/ 288 h 396"/>
                <a:gd name="T88" fmla="*/ 572 w 935"/>
                <a:gd name="T89" fmla="*/ 291 h 396"/>
                <a:gd name="T90" fmla="*/ 577 w 935"/>
                <a:gd name="T91" fmla="*/ 297 h 396"/>
                <a:gd name="T92" fmla="*/ 593 w 935"/>
                <a:gd name="T93" fmla="*/ 302 h 396"/>
                <a:gd name="T94" fmla="*/ 596 w 935"/>
                <a:gd name="T95" fmla="*/ 310 h 396"/>
                <a:gd name="T96" fmla="*/ 612 w 935"/>
                <a:gd name="T97" fmla="*/ 321 h 396"/>
                <a:gd name="T98" fmla="*/ 634 w 935"/>
                <a:gd name="T99" fmla="*/ 328 h 396"/>
                <a:gd name="T100" fmla="*/ 645 w 935"/>
                <a:gd name="T101" fmla="*/ 333 h 396"/>
                <a:gd name="T102" fmla="*/ 650 w 935"/>
                <a:gd name="T103" fmla="*/ 337 h 396"/>
                <a:gd name="T104" fmla="*/ 656 w 935"/>
                <a:gd name="T105" fmla="*/ 340 h 396"/>
                <a:gd name="T106" fmla="*/ 679 w 935"/>
                <a:gd name="T107" fmla="*/ 344 h 396"/>
                <a:gd name="T108" fmla="*/ 688 w 935"/>
                <a:gd name="T109" fmla="*/ 353 h 396"/>
                <a:gd name="T110" fmla="*/ 720 w 935"/>
                <a:gd name="T111" fmla="*/ 359 h 396"/>
                <a:gd name="T112" fmla="*/ 723 w 935"/>
                <a:gd name="T113" fmla="*/ 368 h 396"/>
                <a:gd name="T114" fmla="*/ 748 w 935"/>
                <a:gd name="T115" fmla="*/ 370 h 396"/>
                <a:gd name="T116" fmla="*/ 754 w 935"/>
                <a:gd name="T117" fmla="*/ 383 h 396"/>
                <a:gd name="T118" fmla="*/ 838 w 935"/>
                <a:gd name="T119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5" h="396">
                  <a:moveTo>
                    <a:pt x="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106" y="23"/>
                    <a:pt x="106" y="23"/>
                    <a:pt x="106" y="23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109" y="26"/>
                    <a:pt x="109" y="26"/>
                    <a:pt x="109" y="26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24" y="30"/>
                    <a:pt x="124" y="30"/>
                    <a:pt x="124" y="30"/>
                  </a:cubicBezTo>
                  <a:cubicBezTo>
                    <a:pt x="124" y="34"/>
                    <a:pt x="124" y="34"/>
                    <a:pt x="124" y="34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7" y="39"/>
                    <a:pt x="137" y="39"/>
                    <a:pt x="137" y="39"/>
                  </a:cubicBezTo>
                  <a:cubicBezTo>
                    <a:pt x="137" y="43"/>
                    <a:pt x="137" y="43"/>
                    <a:pt x="137" y="43"/>
                  </a:cubicBezTo>
                  <a:cubicBezTo>
                    <a:pt x="146" y="43"/>
                    <a:pt x="146" y="43"/>
                    <a:pt x="146" y="43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50" y="47"/>
                    <a:pt x="150" y="47"/>
                    <a:pt x="150" y="47"/>
                  </a:cubicBezTo>
                  <a:cubicBezTo>
                    <a:pt x="150" y="50"/>
                    <a:pt x="150" y="50"/>
                    <a:pt x="150" y="50"/>
                  </a:cubicBezTo>
                  <a:cubicBezTo>
                    <a:pt x="154" y="50"/>
                    <a:pt x="154" y="50"/>
                    <a:pt x="154" y="50"/>
                  </a:cubicBezTo>
                  <a:cubicBezTo>
                    <a:pt x="154" y="54"/>
                    <a:pt x="154" y="54"/>
                    <a:pt x="154" y="54"/>
                  </a:cubicBezTo>
                  <a:cubicBezTo>
                    <a:pt x="167" y="54"/>
                    <a:pt x="167" y="54"/>
                    <a:pt x="167" y="54"/>
                  </a:cubicBezTo>
                  <a:cubicBezTo>
                    <a:pt x="167" y="56"/>
                    <a:pt x="167" y="56"/>
                    <a:pt x="167" y="56"/>
                  </a:cubicBezTo>
                  <a:cubicBezTo>
                    <a:pt x="173" y="56"/>
                    <a:pt x="173" y="56"/>
                    <a:pt x="173" y="56"/>
                  </a:cubicBezTo>
                  <a:cubicBezTo>
                    <a:pt x="173" y="61"/>
                    <a:pt x="173" y="61"/>
                    <a:pt x="173" y="61"/>
                  </a:cubicBezTo>
                  <a:cubicBezTo>
                    <a:pt x="182" y="61"/>
                    <a:pt x="182" y="61"/>
                    <a:pt x="182" y="61"/>
                  </a:cubicBezTo>
                  <a:cubicBezTo>
                    <a:pt x="187" y="61"/>
                    <a:pt x="187" y="61"/>
                    <a:pt x="187" y="61"/>
                  </a:cubicBezTo>
                  <a:cubicBezTo>
                    <a:pt x="187" y="67"/>
                    <a:pt x="187" y="67"/>
                    <a:pt x="187" y="67"/>
                  </a:cubicBezTo>
                  <a:cubicBezTo>
                    <a:pt x="197" y="67"/>
                    <a:pt x="197" y="67"/>
                    <a:pt x="197" y="67"/>
                  </a:cubicBezTo>
                  <a:cubicBezTo>
                    <a:pt x="202" y="67"/>
                    <a:pt x="202" y="67"/>
                    <a:pt x="202" y="67"/>
                  </a:cubicBezTo>
                  <a:cubicBezTo>
                    <a:pt x="202" y="75"/>
                    <a:pt x="202" y="75"/>
                    <a:pt x="202" y="75"/>
                  </a:cubicBezTo>
                  <a:cubicBezTo>
                    <a:pt x="209" y="75"/>
                    <a:pt x="209" y="75"/>
                    <a:pt x="209" y="75"/>
                  </a:cubicBezTo>
                  <a:cubicBezTo>
                    <a:pt x="209" y="83"/>
                    <a:pt x="209" y="83"/>
                    <a:pt x="209" y="83"/>
                  </a:cubicBezTo>
                  <a:cubicBezTo>
                    <a:pt x="221" y="83"/>
                    <a:pt x="221" y="83"/>
                    <a:pt x="221" y="83"/>
                  </a:cubicBezTo>
                  <a:cubicBezTo>
                    <a:pt x="221" y="91"/>
                    <a:pt x="221" y="91"/>
                    <a:pt x="221" y="91"/>
                  </a:cubicBezTo>
                  <a:cubicBezTo>
                    <a:pt x="227" y="91"/>
                    <a:pt x="227" y="91"/>
                    <a:pt x="227" y="91"/>
                  </a:cubicBezTo>
                  <a:cubicBezTo>
                    <a:pt x="227" y="93"/>
                    <a:pt x="227" y="93"/>
                    <a:pt x="227" y="93"/>
                  </a:cubicBezTo>
                  <a:cubicBezTo>
                    <a:pt x="242" y="93"/>
                    <a:pt x="242" y="93"/>
                    <a:pt x="242" y="93"/>
                  </a:cubicBezTo>
                  <a:cubicBezTo>
                    <a:pt x="242" y="101"/>
                    <a:pt x="242" y="101"/>
                    <a:pt x="242" y="101"/>
                  </a:cubicBezTo>
                  <a:cubicBezTo>
                    <a:pt x="257" y="101"/>
                    <a:pt x="257" y="101"/>
                    <a:pt x="257" y="101"/>
                  </a:cubicBezTo>
                  <a:cubicBezTo>
                    <a:pt x="257" y="108"/>
                    <a:pt x="257" y="108"/>
                    <a:pt x="257" y="108"/>
                  </a:cubicBezTo>
                  <a:cubicBezTo>
                    <a:pt x="264" y="108"/>
                    <a:pt x="264" y="108"/>
                    <a:pt x="264" y="108"/>
                  </a:cubicBezTo>
                  <a:cubicBezTo>
                    <a:pt x="264" y="112"/>
                    <a:pt x="264" y="112"/>
                    <a:pt x="264" y="112"/>
                  </a:cubicBezTo>
                  <a:cubicBezTo>
                    <a:pt x="278" y="112"/>
                    <a:pt x="278" y="112"/>
                    <a:pt x="278" y="112"/>
                  </a:cubicBezTo>
                  <a:cubicBezTo>
                    <a:pt x="278" y="119"/>
                    <a:pt x="278" y="119"/>
                    <a:pt x="278" y="119"/>
                  </a:cubicBezTo>
                  <a:cubicBezTo>
                    <a:pt x="297" y="119"/>
                    <a:pt x="297" y="119"/>
                    <a:pt x="297" y="119"/>
                  </a:cubicBezTo>
                  <a:cubicBezTo>
                    <a:pt x="297" y="130"/>
                    <a:pt x="297" y="130"/>
                    <a:pt x="297" y="130"/>
                  </a:cubicBezTo>
                  <a:cubicBezTo>
                    <a:pt x="304" y="130"/>
                    <a:pt x="304" y="130"/>
                    <a:pt x="304" y="130"/>
                  </a:cubicBezTo>
                  <a:cubicBezTo>
                    <a:pt x="304" y="137"/>
                    <a:pt x="304" y="137"/>
                    <a:pt x="304" y="137"/>
                  </a:cubicBezTo>
                  <a:cubicBezTo>
                    <a:pt x="311" y="137"/>
                    <a:pt x="311" y="137"/>
                    <a:pt x="311" y="137"/>
                  </a:cubicBezTo>
                  <a:cubicBezTo>
                    <a:pt x="311" y="143"/>
                    <a:pt x="311" y="143"/>
                    <a:pt x="311" y="143"/>
                  </a:cubicBezTo>
                  <a:cubicBezTo>
                    <a:pt x="314" y="143"/>
                    <a:pt x="314" y="143"/>
                    <a:pt x="314" y="143"/>
                  </a:cubicBezTo>
                  <a:cubicBezTo>
                    <a:pt x="314" y="146"/>
                    <a:pt x="314" y="146"/>
                    <a:pt x="314" y="146"/>
                  </a:cubicBezTo>
                  <a:cubicBezTo>
                    <a:pt x="318" y="146"/>
                    <a:pt x="318" y="146"/>
                    <a:pt x="318" y="146"/>
                  </a:cubicBezTo>
                  <a:cubicBezTo>
                    <a:pt x="318" y="150"/>
                    <a:pt x="318" y="150"/>
                    <a:pt x="318" y="150"/>
                  </a:cubicBezTo>
                  <a:cubicBezTo>
                    <a:pt x="324" y="150"/>
                    <a:pt x="324" y="150"/>
                    <a:pt x="324" y="150"/>
                  </a:cubicBezTo>
                  <a:cubicBezTo>
                    <a:pt x="324" y="157"/>
                    <a:pt x="324" y="157"/>
                    <a:pt x="324" y="157"/>
                  </a:cubicBezTo>
                  <a:cubicBezTo>
                    <a:pt x="330" y="157"/>
                    <a:pt x="330" y="157"/>
                    <a:pt x="330" y="157"/>
                  </a:cubicBezTo>
                  <a:cubicBezTo>
                    <a:pt x="330" y="159"/>
                    <a:pt x="330" y="159"/>
                    <a:pt x="330" y="159"/>
                  </a:cubicBezTo>
                  <a:cubicBezTo>
                    <a:pt x="333" y="159"/>
                    <a:pt x="333" y="159"/>
                    <a:pt x="333" y="159"/>
                  </a:cubicBezTo>
                  <a:cubicBezTo>
                    <a:pt x="333" y="165"/>
                    <a:pt x="333" y="165"/>
                    <a:pt x="333" y="165"/>
                  </a:cubicBezTo>
                  <a:cubicBezTo>
                    <a:pt x="337" y="165"/>
                    <a:pt x="337" y="165"/>
                    <a:pt x="337" y="165"/>
                  </a:cubicBezTo>
                  <a:cubicBezTo>
                    <a:pt x="337" y="168"/>
                    <a:pt x="337" y="168"/>
                    <a:pt x="337" y="168"/>
                  </a:cubicBezTo>
                  <a:cubicBezTo>
                    <a:pt x="343" y="168"/>
                    <a:pt x="343" y="168"/>
                    <a:pt x="343" y="168"/>
                  </a:cubicBezTo>
                  <a:cubicBezTo>
                    <a:pt x="343" y="172"/>
                    <a:pt x="343" y="172"/>
                    <a:pt x="343" y="172"/>
                  </a:cubicBezTo>
                  <a:cubicBezTo>
                    <a:pt x="346" y="172"/>
                    <a:pt x="346" y="172"/>
                    <a:pt x="346" y="172"/>
                  </a:cubicBezTo>
                  <a:cubicBezTo>
                    <a:pt x="346" y="176"/>
                    <a:pt x="346" y="176"/>
                    <a:pt x="346" y="176"/>
                  </a:cubicBezTo>
                  <a:cubicBezTo>
                    <a:pt x="346" y="176"/>
                    <a:pt x="350" y="176"/>
                    <a:pt x="351" y="176"/>
                  </a:cubicBezTo>
                  <a:cubicBezTo>
                    <a:pt x="351" y="176"/>
                    <a:pt x="353" y="176"/>
                    <a:pt x="353" y="176"/>
                  </a:cubicBezTo>
                  <a:cubicBezTo>
                    <a:pt x="353" y="181"/>
                    <a:pt x="353" y="181"/>
                    <a:pt x="353" y="181"/>
                  </a:cubicBezTo>
                  <a:cubicBezTo>
                    <a:pt x="361" y="181"/>
                    <a:pt x="361" y="181"/>
                    <a:pt x="361" y="181"/>
                  </a:cubicBezTo>
                  <a:cubicBezTo>
                    <a:pt x="361" y="188"/>
                    <a:pt x="361" y="188"/>
                    <a:pt x="361" y="188"/>
                  </a:cubicBezTo>
                  <a:cubicBezTo>
                    <a:pt x="365" y="188"/>
                    <a:pt x="365" y="188"/>
                    <a:pt x="365" y="188"/>
                  </a:cubicBezTo>
                  <a:cubicBezTo>
                    <a:pt x="369" y="188"/>
                    <a:pt x="369" y="188"/>
                    <a:pt x="369" y="188"/>
                  </a:cubicBezTo>
                  <a:cubicBezTo>
                    <a:pt x="369" y="193"/>
                    <a:pt x="369" y="193"/>
                    <a:pt x="369" y="193"/>
                  </a:cubicBezTo>
                  <a:cubicBezTo>
                    <a:pt x="374" y="193"/>
                    <a:pt x="374" y="193"/>
                    <a:pt x="374" y="193"/>
                  </a:cubicBezTo>
                  <a:cubicBezTo>
                    <a:pt x="374" y="199"/>
                    <a:pt x="374" y="199"/>
                    <a:pt x="374" y="199"/>
                  </a:cubicBezTo>
                  <a:cubicBezTo>
                    <a:pt x="379" y="199"/>
                    <a:pt x="379" y="199"/>
                    <a:pt x="379" y="199"/>
                  </a:cubicBezTo>
                  <a:cubicBezTo>
                    <a:pt x="379" y="202"/>
                    <a:pt x="379" y="202"/>
                    <a:pt x="379" y="202"/>
                  </a:cubicBezTo>
                  <a:cubicBezTo>
                    <a:pt x="385" y="202"/>
                    <a:pt x="385" y="202"/>
                    <a:pt x="385" y="202"/>
                  </a:cubicBezTo>
                  <a:cubicBezTo>
                    <a:pt x="385" y="204"/>
                    <a:pt x="385" y="204"/>
                    <a:pt x="385" y="204"/>
                  </a:cubicBezTo>
                  <a:cubicBezTo>
                    <a:pt x="390" y="204"/>
                    <a:pt x="390" y="204"/>
                    <a:pt x="390" y="204"/>
                  </a:cubicBezTo>
                  <a:cubicBezTo>
                    <a:pt x="390" y="207"/>
                    <a:pt x="390" y="207"/>
                    <a:pt x="390" y="207"/>
                  </a:cubicBezTo>
                  <a:cubicBezTo>
                    <a:pt x="394" y="207"/>
                    <a:pt x="394" y="207"/>
                    <a:pt x="394" y="207"/>
                  </a:cubicBezTo>
                  <a:cubicBezTo>
                    <a:pt x="394" y="210"/>
                    <a:pt x="394" y="210"/>
                    <a:pt x="394" y="210"/>
                  </a:cubicBezTo>
                  <a:cubicBezTo>
                    <a:pt x="405" y="210"/>
                    <a:pt x="405" y="210"/>
                    <a:pt x="405" y="210"/>
                  </a:cubicBezTo>
                  <a:cubicBezTo>
                    <a:pt x="405" y="214"/>
                    <a:pt x="405" y="214"/>
                    <a:pt x="405" y="214"/>
                  </a:cubicBezTo>
                  <a:cubicBezTo>
                    <a:pt x="410" y="214"/>
                    <a:pt x="410" y="214"/>
                    <a:pt x="410" y="214"/>
                  </a:cubicBezTo>
                  <a:cubicBezTo>
                    <a:pt x="410" y="218"/>
                    <a:pt x="410" y="218"/>
                    <a:pt x="410" y="218"/>
                  </a:cubicBezTo>
                  <a:cubicBezTo>
                    <a:pt x="417" y="218"/>
                    <a:pt x="417" y="218"/>
                    <a:pt x="417" y="218"/>
                  </a:cubicBezTo>
                  <a:cubicBezTo>
                    <a:pt x="417" y="222"/>
                    <a:pt x="417" y="222"/>
                    <a:pt x="417" y="222"/>
                  </a:cubicBezTo>
                  <a:cubicBezTo>
                    <a:pt x="420" y="222"/>
                    <a:pt x="420" y="222"/>
                    <a:pt x="420" y="222"/>
                  </a:cubicBezTo>
                  <a:cubicBezTo>
                    <a:pt x="420" y="224"/>
                    <a:pt x="420" y="224"/>
                    <a:pt x="420" y="224"/>
                  </a:cubicBezTo>
                  <a:cubicBezTo>
                    <a:pt x="427" y="224"/>
                    <a:pt x="427" y="224"/>
                    <a:pt x="427" y="224"/>
                  </a:cubicBezTo>
                  <a:cubicBezTo>
                    <a:pt x="427" y="228"/>
                    <a:pt x="427" y="228"/>
                    <a:pt x="427" y="228"/>
                  </a:cubicBezTo>
                  <a:cubicBezTo>
                    <a:pt x="433" y="228"/>
                    <a:pt x="433" y="228"/>
                    <a:pt x="433" y="228"/>
                  </a:cubicBezTo>
                  <a:cubicBezTo>
                    <a:pt x="433" y="232"/>
                    <a:pt x="433" y="232"/>
                    <a:pt x="433" y="232"/>
                  </a:cubicBezTo>
                  <a:cubicBezTo>
                    <a:pt x="436" y="232"/>
                    <a:pt x="436" y="232"/>
                    <a:pt x="436" y="232"/>
                  </a:cubicBezTo>
                  <a:cubicBezTo>
                    <a:pt x="436" y="235"/>
                    <a:pt x="436" y="235"/>
                    <a:pt x="436" y="235"/>
                  </a:cubicBezTo>
                  <a:cubicBezTo>
                    <a:pt x="441" y="235"/>
                    <a:pt x="441" y="235"/>
                    <a:pt x="441" y="235"/>
                  </a:cubicBezTo>
                  <a:cubicBezTo>
                    <a:pt x="441" y="240"/>
                    <a:pt x="441" y="240"/>
                    <a:pt x="441" y="240"/>
                  </a:cubicBezTo>
                  <a:cubicBezTo>
                    <a:pt x="469" y="240"/>
                    <a:pt x="469" y="240"/>
                    <a:pt x="469" y="240"/>
                  </a:cubicBezTo>
                  <a:cubicBezTo>
                    <a:pt x="469" y="248"/>
                    <a:pt x="469" y="248"/>
                    <a:pt x="469" y="248"/>
                  </a:cubicBezTo>
                  <a:cubicBezTo>
                    <a:pt x="480" y="248"/>
                    <a:pt x="480" y="248"/>
                    <a:pt x="480" y="248"/>
                  </a:cubicBezTo>
                  <a:cubicBezTo>
                    <a:pt x="480" y="251"/>
                    <a:pt x="480" y="251"/>
                    <a:pt x="480" y="251"/>
                  </a:cubicBezTo>
                  <a:cubicBezTo>
                    <a:pt x="483" y="251"/>
                    <a:pt x="483" y="251"/>
                    <a:pt x="483" y="251"/>
                  </a:cubicBezTo>
                  <a:cubicBezTo>
                    <a:pt x="483" y="253"/>
                    <a:pt x="483" y="253"/>
                    <a:pt x="483" y="253"/>
                  </a:cubicBezTo>
                  <a:cubicBezTo>
                    <a:pt x="483" y="258"/>
                    <a:pt x="483" y="258"/>
                    <a:pt x="483" y="258"/>
                  </a:cubicBezTo>
                  <a:cubicBezTo>
                    <a:pt x="493" y="258"/>
                    <a:pt x="493" y="258"/>
                    <a:pt x="493" y="258"/>
                  </a:cubicBezTo>
                  <a:cubicBezTo>
                    <a:pt x="493" y="263"/>
                    <a:pt x="493" y="263"/>
                    <a:pt x="493" y="263"/>
                  </a:cubicBezTo>
                  <a:cubicBezTo>
                    <a:pt x="500" y="263"/>
                    <a:pt x="500" y="263"/>
                    <a:pt x="500" y="263"/>
                  </a:cubicBezTo>
                  <a:cubicBezTo>
                    <a:pt x="500" y="269"/>
                    <a:pt x="500" y="269"/>
                    <a:pt x="500" y="269"/>
                  </a:cubicBezTo>
                  <a:cubicBezTo>
                    <a:pt x="526" y="269"/>
                    <a:pt x="526" y="269"/>
                    <a:pt x="526" y="269"/>
                  </a:cubicBezTo>
                  <a:cubicBezTo>
                    <a:pt x="526" y="273"/>
                    <a:pt x="526" y="273"/>
                    <a:pt x="526" y="273"/>
                  </a:cubicBezTo>
                  <a:cubicBezTo>
                    <a:pt x="538" y="273"/>
                    <a:pt x="538" y="273"/>
                    <a:pt x="538" y="273"/>
                  </a:cubicBezTo>
                  <a:cubicBezTo>
                    <a:pt x="538" y="278"/>
                    <a:pt x="538" y="278"/>
                    <a:pt x="538" y="278"/>
                  </a:cubicBezTo>
                  <a:cubicBezTo>
                    <a:pt x="545" y="278"/>
                    <a:pt x="545" y="278"/>
                    <a:pt x="545" y="278"/>
                  </a:cubicBezTo>
                  <a:cubicBezTo>
                    <a:pt x="545" y="283"/>
                    <a:pt x="545" y="283"/>
                    <a:pt x="545" y="283"/>
                  </a:cubicBezTo>
                  <a:cubicBezTo>
                    <a:pt x="554" y="283"/>
                    <a:pt x="554" y="283"/>
                    <a:pt x="554" y="283"/>
                  </a:cubicBezTo>
                  <a:cubicBezTo>
                    <a:pt x="554" y="288"/>
                    <a:pt x="554" y="288"/>
                    <a:pt x="554" y="288"/>
                  </a:cubicBezTo>
                  <a:cubicBezTo>
                    <a:pt x="560" y="288"/>
                    <a:pt x="560" y="288"/>
                    <a:pt x="560" y="288"/>
                  </a:cubicBezTo>
                  <a:cubicBezTo>
                    <a:pt x="560" y="291"/>
                    <a:pt x="560" y="291"/>
                    <a:pt x="560" y="291"/>
                  </a:cubicBezTo>
                  <a:cubicBezTo>
                    <a:pt x="572" y="291"/>
                    <a:pt x="572" y="291"/>
                    <a:pt x="572" y="291"/>
                  </a:cubicBezTo>
                  <a:cubicBezTo>
                    <a:pt x="572" y="294"/>
                    <a:pt x="572" y="294"/>
                    <a:pt x="572" y="294"/>
                  </a:cubicBezTo>
                  <a:cubicBezTo>
                    <a:pt x="577" y="294"/>
                    <a:pt x="577" y="294"/>
                    <a:pt x="577" y="294"/>
                  </a:cubicBezTo>
                  <a:cubicBezTo>
                    <a:pt x="577" y="297"/>
                    <a:pt x="577" y="297"/>
                    <a:pt x="577" y="297"/>
                  </a:cubicBezTo>
                  <a:cubicBezTo>
                    <a:pt x="585" y="297"/>
                    <a:pt x="585" y="297"/>
                    <a:pt x="585" y="297"/>
                  </a:cubicBezTo>
                  <a:cubicBezTo>
                    <a:pt x="585" y="302"/>
                    <a:pt x="585" y="302"/>
                    <a:pt x="585" y="302"/>
                  </a:cubicBezTo>
                  <a:cubicBezTo>
                    <a:pt x="593" y="302"/>
                    <a:pt x="593" y="302"/>
                    <a:pt x="593" y="302"/>
                  </a:cubicBezTo>
                  <a:cubicBezTo>
                    <a:pt x="593" y="305"/>
                    <a:pt x="593" y="305"/>
                    <a:pt x="593" y="305"/>
                  </a:cubicBezTo>
                  <a:cubicBezTo>
                    <a:pt x="596" y="305"/>
                    <a:pt x="596" y="305"/>
                    <a:pt x="596" y="305"/>
                  </a:cubicBezTo>
                  <a:cubicBezTo>
                    <a:pt x="596" y="310"/>
                    <a:pt x="596" y="310"/>
                    <a:pt x="596" y="310"/>
                  </a:cubicBezTo>
                  <a:cubicBezTo>
                    <a:pt x="600" y="310"/>
                    <a:pt x="600" y="310"/>
                    <a:pt x="600" y="310"/>
                  </a:cubicBezTo>
                  <a:cubicBezTo>
                    <a:pt x="600" y="321"/>
                    <a:pt x="600" y="321"/>
                    <a:pt x="600" y="321"/>
                  </a:cubicBezTo>
                  <a:cubicBezTo>
                    <a:pt x="612" y="321"/>
                    <a:pt x="612" y="321"/>
                    <a:pt x="612" y="321"/>
                  </a:cubicBezTo>
                  <a:cubicBezTo>
                    <a:pt x="612" y="324"/>
                    <a:pt x="612" y="324"/>
                    <a:pt x="612" y="324"/>
                  </a:cubicBezTo>
                  <a:cubicBezTo>
                    <a:pt x="634" y="324"/>
                    <a:pt x="634" y="324"/>
                    <a:pt x="634" y="324"/>
                  </a:cubicBezTo>
                  <a:cubicBezTo>
                    <a:pt x="634" y="328"/>
                    <a:pt x="634" y="328"/>
                    <a:pt x="634" y="328"/>
                  </a:cubicBezTo>
                  <a:cubicBezTo>
                    <a:pt x="638" y="328"/>
                    <a:pt x="638" y="328"/>
                    <a:pt x="638" y="328"/>
                  </a:cubicBezTo>
                  <a:cubicBezTo>
                    <a:pt x="638" y="333"/>
                    <a:pt x="638" y="333"/>
                    <a:pt x="638" y="333"/>
                  </a:cubicBezTo>
                  <a:cubicBezTo>
                    <a:pt x="645" y="333"/>
                    <a:pt x="645" y="333"/>
                    <a:pt x="645" y="333"/>
                  </a:cubicBezTo>
                  <a:cubicBezTo>
                    <a:pt x="645" y="335"/>
                    <a:pt x="645" y="335"/>
                    <a:pt x="645" y="335"/>
                  </a:cubicBezTo>
                  <a:cubicBezTo>
                    <a:pt x="650" y="335"/>
                    <a:pt x="650" y="335"/>
                    <a:pt x="650" y="335"/>
                  </a:cubicBezTo>
                  <a:cubicBezTo>
                    <a:pt x="650" y="337"/>
                    <a:pt x="650" y="337"/>
                    <a:pt x="650" y="337"/>
                  </a:cubicBezTo>
                  <a:cubicBezTo>
                    <a:pt x="654" y="337"/>
                    <a:pt x="654" y="337"/>
                    <a:pt x="654" y="337"/>
                  </a:cubicBezTo>
                  <a:cubicBezTo>
                    <a:pt x="654" y="340"/>
                    <a:pt x="654" y="340"/>
                    <a:pt x="654" y="340"/>
                  </a:cubicBezTo>
                  <a:cubicBezTo>
                    <a:pt x="656" y="340"/>
                    <a:pt x="656" y="340"/>
                    <a:pt x="656" y="340"/>
                  </a:cubicBezTo>
                  <a:cubicBezTo>
                    <a:pt x="656" y="344"/>
                    <a:pt x="656" y="344"/>
                    <a:pt x="656" y="344"/>
                  </a:cubicBezTo>
                  <a:cubicBezTo>
                    <a:pt x="674" y="344"/>
                    <a:pt x="674" y="344"/>
                    <a:pt x="674" y="344"/>
                  </a:cubicBezTo>
                  <a:cubicBezTo>
                    <a:pt x="679" y="344"/>
                    <a:pt x="679" y="344"/>
                    <a:pt x="679" y="344"/>
                  </a:cubicBezTo>
                  <a:cubicBezTo>
                    <a:pt x="679" y="349"/>
                    <a:pt x="679" y="349"/>
                    <a:pt x="679" y="349"/>
                  </a:cubicBezTo>
                  <a:cubicBezTo>
                    <a:pt x="688" y="349"/>
                    <a:pt x="688" y="349"/>
                    <a:pt x="688" y="349"/>
                  </a:cubicBezTo>
                  <a:cubicBezTo>
                    <a:pt x="688" y="353"/>
                    <a:pt x="688" y="353"/>
                    <a:pt x="688" y="353"/>
                  </a:cubicBezTo>
                  <a:cubicBezTo>
                    <a:pt x="693" y="353"/>
                    <a:pt x="693" y="353"/>
                    <a:pt x="693" y="353"/>
                  </a:cubicBezTo>
                  <a:cubicBezTo>
                    <a:pt x="693" y="359"/>
                    <a:pt x="693" y="359"/>
                    <a:pt x="693" y="359"/>
                  </a:cubicBezTo>
                  <a:cubicBezTo>
                    <a:pt x="720" y="359"/>
                    <a:pt x="720" y="359"/>
                    <a:pt x="720" y="359"/>
                  </a:cubicBezTo>
                  <a:cubicBezTo>
                    <a:pt x="720" y="363"/>
                    <a:pt x="720" y="363"/>
                    <a:pt x="720" y="363"/>
                  </a:cubicBezTo>
                  <a:cubicBezTo>
                    <a:pt x="723" y="363"/>
                    <a:pt x="723" y="363"/>
                    <a:pt x="723" y="363"/>
                  </a:cubicBezTo>
                  <a:cubicBezTo>
                    <a:pt x="723" y="368"/>
                    <a:pt x="723" y="368"/>
                    <a:pt x="723" y="368"/>
                  </a:cubicBezTo>
                  <a:cubicBezTo>
                    <a:pt x="745" y="368"/>
                    <a:pt x="745" y="368"/>
                    <a:pt x="745" y="368"/>
                  </a:cubicBezTo>
                  <a:cubicBezTo>
                    <a:pt x="745" y="370"/>
                    <a:pt x="745" y="370"/>
                    <a:pt x="745" y="370"/>
                  </a:cubicBezTo>
                  <a:cubicBezTo>
                    <a:pt x="748" y="370"/>
                    <a:pt x="748" y="370"/>
                    <a:pt x="748" y="370"/>
                  </a:cubicBezTo>
                  <a:cubicBezTo>
                    <a:pt x="748" y="377"/>
                    <a:pt x="748" y="377"/>
                    <a:pt x="748" y="377"/>
                  </a:cubicBezTo>
                  <a:cubicBezTo>
                    <a:pt x="754" y="377"/>
                    <a:pt x="754" y="377"/>
                    <a:pt x="754" y="377"/>
                  </a:cubicBezTo>
                  <a:cubicBezTo>
                    <a:pt x="754" y="383"/>
                    <a:pt x="754" y="383"/>
                    <a:pt x="754" y="383"/>
                  </a:cubicBezTo>
                  <a:cubicBezTo>
                    <a:pt x="802" y="383"/>
                    <a:pt x="802" y="383"/>
                    <a:pt x="802" y="383"/>
                  </a:cubicBezTo>
                  <a:cubicBezTo>
                    <a:pt x="802" y="396"/>
                    <a:pt x="802" y="396"/>
                    <a:pt x="802" y="396"/>
                  </a:cubicBezTo>
                  <a:cubicBezTo>
                    <a:pt x="838" y="396"/>
                    <a:pt x="838" y="396"/>
                    <a:pt x="838" y="396"/>
                  </a:cubicBezTo>
                  <a:cubicBezTo>
                    <a:pt x="935" y="396"/>
                    <a:pt x="935" y="396"/>
                    <a:pt x="935" y="396"/>
                  </a:cubicBezTo>
                </a:path>
              </a:pathLst>
            </a:custGeom>
            <a:noFill/>
            <a:ln w="19050" cap="sq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5" name="Straight Connector 34"/>
            <p:cNvCxnSpPr/>
            <p:nvPr/>
          </p:nvCxnSpPr>
          <p:spPr>
            <a:xfrm>
              <a:off x="4908159" y="1937822"/>
              <a:ext cx="230927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4908159" y="2208091"/>
              <a:ext cx="230927" cy="0"/>
            </a:xfrm>
            <a:prstGeom prst="line">
              <a:avLst/>
            </a:prstGeom>
            <a:ln w="19050">
              <a:solidFill>
                <a:schemeClr val="tx2">
                  <a:lumMod val="60000"/>
                  <a:lumOff val="4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4908159" y="2444327"/>
              <a:ext cx="230927" cy="0"/>
            </a:xfrm>
            <a:prstGeom prst="line">
              <a:avLst/>
            </a:prstGeom>
            <a:ln w="19050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3094766" y="4142408"/>
              <a:ext cx="3751793" cy="307777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Zaman [ay]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 rot="16200000">
              <a:off x="1553490" y="2789843"/>
              <a:ext cx="1806905" cy="307777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Genel </a:t>
              </a:r>
              <a:r>
                <a:rPr kumimoji="0" lang="tr-TR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ğkalım</a:t>
              </a:r>
              <a:r>
                <a:rPr kumimoji="0" lang="tr-T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%)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2592811" y="1862218"/>
              <a:ext cx="482824" cy="2154436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0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0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952740" y="3886361"/>
              <a:ext cx="284052" cy="307777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3962662" y="3886361"/>
              <a:ext cx="284052" cy="307777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9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4926062" y="3886361"/>
              <a:ext cx="383438" cy="307777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8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598268" y="3886361"/>
              <a:ext cx="383438" cy="307777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4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6274881" y="3886361"/>
              <a:ext cx="383438" cy="307777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</a:t>
              </a:r>
            </a:p>
          </p:txBody>
        </p:sp>
        <p:sp>
          <p:nvSpPr>
            <p:cNvPr id="46" name="Freeform 7"/>
            <p:cNvSpPr>
              <a:spLocks/>
            </p:cNvSpPr>
            <p:nvPr/>
          </p:nvSpPr>
          <p:spPr bwMode="auto">
            <a:xfrm>
              <a:off x="3092440" y="2006085"/>
              <a:ext cx="3711575" cy="1857375"/>
            </a:xfrm>
            <a:custGeom>
              <a:avLst/>
              <a:gdLst>
                <a:gd name="T0" fmla="*/ 0 w 2338"/>
                <a:gd name="T1" fmla="*/ 0 h 1170"/>
                <a:gd name="T2" fmla="*/ 0 w 2338"/>
                <a:gd name="T3" fmla="*/ 1170 h 1170"/>
                <a:gd name="T4" fmla="*/ 2338 w 2338"/>
                <a:gd name="T5" fmla="*/ 1170 h 1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38" h="1170">
                  <a:moveTo>
                    <a:pt x="0" y="0"/>
                  </a:moveTo>
                  <a:lnTo>
                    <a:pt x="0" y="1170"/>
                  </a:lnTo>
                  <a:lnTo>
                    <a:pt x="2338" y="1170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Line 8"/>
            <p:cNvSpPr>
              <a:spLocks noChangeShapeType="1"/>
            </p:cNvSpPr>
            <p:nvPr/>
          </p:nvSpPr>
          <p:spPr bwMode="auto">
            <a:xfrm>
              <a:off x="3030528" y="3863460"/>
              <a:ext cx="61913" cy="0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Line 9"/>
            <p:cNvSpPr>
              <a:spLocks noChangeShapeType="1"/>
            </p:cNvSpPr>
            <p:nvPr/>
          </p:nvSpPr>
          <p:spPr bwMode="auto">
            <a:xfrm>
              <a:off x="3030528" y="3491985"/>
              <a:ext cx="61913" cy="0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Line 10"/>
            <p:cNvSpPr>
              <a:spLocks noChangeShapeType="1"/>
            </p:cNvSpPr>
            <p:nvPr/>
          </p:nvSpPr>
          <p:spPr bwMode="auto">
            <a:xfrm>
              <a:off x="3030528" y="3120510"/>
              <a:ext cx="61913" cy="0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Line 11"/>
            <p:cNvSpPr>
              <a:spLocks noChangeShapeType="1"/>
            </p:cNvSpPr>
            <p:nvPr/>
          </p:nvSpPr>
          <p:spPr bwMode="auto">
            <a:xfrm>
              <a:off x="3030528" y="2749035"/>
              <a:ext cx="61913" cy="0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Line 12"/>
            <p:cNvSpPr>
              <a:spLocks noChangeShapeType="1"/>
            </p:cNvSpPr>
            <p:nvPr/>
          </p:nvSpPr>
          <p:spPr bwMode="auto">
            <a:xfrm>
              <a:off x="3030528" y="2377560"/>
              <a:ext cx="61913" cy="0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Line 13"/>
            <p:cNvSpPr>
              <a:spLocks noChangeShapeType="1"/>
            </p:cNvSpPr>
            <p:nvPr/>
          </p:nvSpPr>
          <p:spPr bwMode="auto">
            <a:xfrm>
              <a:off x="3030528" y="2006085"/>
              <a:ext cx="61913" cy="0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Line 14"/>
            <p:cNvSpPr>
              <a:spLocks noChangeShapeType="1"/>
            </p:cNvSpPr>
            <p:nvPr/>
          </p:nvSpPr>
          <p:spPr bwMode="auto">
            <a:xfrm>
              <a:off x="3092440" y="3863460"/>
              <a:ext cx="0" cy="58738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Line 15"/>
            <p:cNvSpPr>
              <a:spLocks noChangeShapeType="1"/>
            </p:cNvSpPr>
            <p:nvPr/>
          </p:nvSpPr>
          <p:spPr bwMode="auto">
            <a:xfrm>
              <a:off x="4779520" y="3863460"/>
              <a:ext cx="0" cy="58738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Line 16"/>
            <p:cNvSpPr>
              <a:spLocks noChangeShapeType="1"/>
            </p:cNvSpPr>
            <p:nvPr/>
          </p:nvSpPr>
          <p:spPr bwMode="auto">
            <a:xfrm>
              <a:off x="5454352" y="3863460"/>
              <a:ext cx="0" cy="58738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Line 17"/>
            <p:cNvSpPr>
              <a:spLocks noChangeShapeType="1"/>
            </p:cNvSpPr>
            <p:nvPr/>
          </p:nvSpPr>
          <p:spPr bwMode="auto">
            <a:xfrm>
              <a:off x="6129184" y="3863460"/>
              <a:ext cx="0" cy="58738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Line 18"/>
            <p:cNvSpPr>
              <a:spLocks noChangeShapeType="1"/>
            </p:cNvSpPr>
            <p:nvPr/>
          </p:nvSpPr>
          <p:spPr bwMode="auto">
            <a:xfrm>
              <a:off x="6804015" y="3863460"/>
              <a:ext cx="0" cy="58738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Line 14"/>
            <p:cNvSpPr>
              <a:spLocks noChangeShapeType="1"/>
            </p:cNvSpPr>
            <p:nvPr/>
          </p:nvSpPr>
          <p:spPr bwMode="auto">
            <a:xfrm>
              <a:off x="3767272" y="3863460"/>
              <a:ext cx="0" cy="58738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Line 15"/>
            <p:cNvSpPr>
              <a:spLocks noChangeShapeType="1"/>
            </p:cNvSpPr>
            <p:nvPr/>
          </p:nvSpPr>
          <p:spPr bwMode="auto">
            <a:xfrm>
              <a:off x="5116936" y="3863460"/>
              <a:ext cx="0" cy="58738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Line 16"/>
            <p:cNvSpPr>
              <a:spLocks noChangeShapeType="1"/>
            </p:cNvSpPr>
            <p:nvPr/>
          </p:nvSpPr>
          <p:spPr bwMode="auto">
            <a:xfrm>
              <a:off x="5791768" y="3863460"/>
              <a:ext cx="0" cy="58738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Line 17"/>
            <p:cNvSpPr>
              <a:spLocks noChangeShapeType="1"/>
            </p:cNvSpPr>
            <p:nvPr/>
          </p:nvSpPr>
          <p:spPr bwMode="auto">
            <a:xfrm>
              <a:off x="6466600" y="3863460"/>
              <a:ext cx="0" cy="58738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3287830" y="3886361"/>
              <a:ext cx="284052" cy="307777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4246714" y="3886361"/>
              <a:ext cx="383438" cy="307777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5262633" y="3886361"/>
              <a:ext cx="383438" cy="307777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1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5938331" y="3886361"/>
              <a:ext cx="383438" cy="307777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7</a:t>
              </a:r>
            </a:p>
          </p:txBody>
        </p:sp>
        <p:sp>
          <p:nvSpPr>
            <p:cNvPr id="66" name="Line 15"/>
            <p:cNvSpPr>
              <a:spLocks noChangeShapeType="1"/>
            </p:cNvSpPr>
            <p:nvPr/>
          </p:nvSpPr>
          <p:spPr bwMode="auto">
            <a:xfrm>
              <a:off x="4442104" y="3863460"/>
              <a:ext cx="0" cy="58738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Line 15"/>
            <p:cNvSpPr>
              <a:spLocks noChangeShapeType="1"/>
            </p:cNvSpPr>
            <p:nvPr/>
          </p:nvSpPr>
          <p:spPr bwMode="auto">
            <a:xfrm>
              <a:off x="4104688" y="3863460"/>
              <a:ext cx="0" cy="58738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Line 15"/>
            <p:cNvSpPr>
              <a:spLocks noChangeShapeType="1"/>
            </p:cNvSpPr>
            <p:nvPr/>
          </p:nvSpPr>
          <p:spPr bwMode="auto">
            <a:xfrm>
              <a:off x="3429856" y="3863460"/>
              <a:ext cx="0" cy="58738"/>
            </a:xfrm>
            <a:prstGeom prst="line">
              <a:avLst/>
            </a:prstGeom>
            <a:noFill/>
            <a:ln w="1905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3625246" y="3886361"/>
              <a:ext cx="284052" cy="307777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587224" y="3886361"/>
              <a:ext cx="383438" cy="307777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6612296" y="3886361"/>
              <a:ext cx="383438" cy="307777"/>
            </a:xfrm>
            <a:prstGeom prst="rect">
              <a:avLst/>
            </a:prstGeom>
            <a:noFill/>
            <a:ln w="12700" algn="ctr">
              <a:noFill/>
              <a:round/>
              <a:headEnd/>
              <a:tailEnd/>
            </a:ln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9293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3</a:t>
              </a:r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2204251" y="1447801"/>
            <a:ext cx="4713173" cy="276999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1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l </a:t>
            </a:r>
            <a:r>
              <a:rPr kumimoji="0" lang="tr-TR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ğkalım</a:t>
            </a:r>
            <a:r>
              <a:rPr kumimoji="0" lang="tr-TR" sz="1200" b="1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OS) için Kaplan-</a:t>
            </a:r>
            <a:r>
              <a:rPr kumimoji="0" lang="tr-TR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ier</a:t>
            </a:r>
            <a:r>
              <a:rPr kumimoji="0" lang="tr-TR" sz="1200" b="1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ğrileri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CF8952E-6BB6-4269-BFA4-26481F8F20F5}"/>
              </a:ext>
            </a:extLst>
          </p:cNvPr>
          <p:cNvGrpSpPr/>
          <p:nvPr/>
        </p:nvGrpSpPr>
        <p:grpSpPr>
          <a:xfrm>
            <a:off x="7048869" y="3663327"/>
            <a:ext cx="3264486" cy="1122390"/>
            <a:chOff x="7048869" y="3663327"/>
            <a:chExt cx="3264486" cy="1122390"/>
          </a:xfrm>
        </p:grpSpPr>
        <p:sp>
          <p:nvSpPr>
            <p:cNvPr id="74" name="object 4"/>
            <p:cNvSpPr txBox="1"/>
            <p:nvPr/>
          </p:nvSpPr>
          <p:spPr>
            <a:xfrm>
              <a:off x="7048869" y="4135673"/>
              <a:ext cx="874056" cy="612412"/>
            </a:xfrm>
            <a:prstGeom prst="rect">
              <a:avLst/>
            </a:prstGeom>
          </p:spPr>
          <p:txBody>
            <a:bodyPr vert="horz" wrap="square" lIns="0" tIns="3683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29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-5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D</a:t>
              </a:r>
              <a:r>
                <a:rPr kumimoji="0" sz="1200" b="1" i="0" u="none" strike="noStrike" kern="1200" cap="none" spc="-15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q3w: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12700" marR="508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-5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D </a:t>
              </a:r>
              <a:r>
                <a:rPr kumimoji="0" lang="en-US" sz="1200" b="1" i="0" u="none" strike="noStrike" kern="1200" cap="none" spc="-5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q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1w:</a:t>
              </a:r>
              <a:r>
                <a:rPr kumimoji="0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 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12700" marR="508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-5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: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5" name="object 5"/>
            <p:cNvSpPr txBox="1"/>
            <p:nvPr/>
          </p:nvSpPr>
          <p:spPr>
            <a:xfrm>
              <a:off x="7820980" y="3663327"/>
              <a:ext cx="1958975" cy="1087477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508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-5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edian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508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400" b="1" i="0" u="none" strike="noStrike" kern="1200" cap="none" spc="-5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</a:t>
              </a:r>
              <a:r>
                <a:rPr kumimoji="0" lang="en-US" sz="1400" b="1" i="0" u="none" strike="noStrike" kern="1200" cap="none" spc="-5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ğkalım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    </a:t>
              </a:r>
              <a:r>
                <a:rPr kumimoji="0" lang="en-US" sz="1400" b="1" i="0" u="none" strike="noStrike" kern="1200" cap="none" spc="-5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HR</a:t>
              </a:r>
              <a:endPara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24701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336675" algn="l"/>
                </a:tabLst>
                <a:defRPr/>
              </a:pPr>
              <a:r>
                <a:rPr kumimoji="0" sz="1200" b="1" i="0" u="none" strike="noStrike" kern="1200" cap="none" spc="-5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18.9	0.76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24701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95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336675" algn="l"/>
                </a:tabLst>
                <a:defRPr/>
              </a:pPr>
              <a:r>
                <a:rPr kumimoji="0" sz="1200" b="1" i="0" u="none" strike="noStrike" kern="1200" cap="none" spc="-5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17.3	0.91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24701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9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432560" algn="l"/>
                </a:tabLst>
                <a:defRPr/>
              </a:pPr>
              <a:r>
                <a:rPr kumimoji="0" sz="1200" b="1" i="0" u="none" strike="noStrike" kern="1200" cap="none" spc="-5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16.4	—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6" name="object 6"/>
            <p:cNvSpPr txBox="1"/>
            <p:nvPr/>
          </p:nvSpPr>
          <p:spPr>
            <a:xfrm>
              <a:off x="9779955" y="4143233"/>
              <a:ext cx="533400" cy="642484"/>
            </a:xfrm>
            <a:prstGeom prst="rect">
              <a:avLst/>
            </a:prstGeom>
          </p:spPr>
          <p:txBody>
            <a:bodyPr vert="horz" wrap="square" lIns="0" tIns="3683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29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-5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0.009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5715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-5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0.36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5715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9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-5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—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85" name="object 47"/>
          <p:cNvSpPr txBox="1"/>
          <p:nvPr/>
        </p:nvSpPr>
        <p:spPr>
          <a:xfrm>
            <a:off x="7551530" y="1967434"/>
            <a:ext cx="61531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+mn-ea"/>
                <a:cs typeface="Corbel"/>
              </a:rPr>
              <a:t>2.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+mn-ea"/>
                <a:cs typeface="Corbel"/>
              </a:rPr>
              <a:t>5</a:t>
            </a:r>
            <a:r>
              <a:rPr kumimoji="0" sz="1800" b="0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+mn-ea"/>
                <a:cs typeface="Corbel"/>
              </a:rPr>
              <a:t> </a:t>
            </a:r>
            <a:r>
              <a:rPr kumimoji="0" sz="1800" b="0" i="0" u="none" strike="noStrike" kern="1200" cap="none" spc="-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  <a:ea typeface="+mn-ea"/>
                <a:cs typeface="Corbel"/>
              </a:rPr>
              <a:t>AY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/>
              <a:ea typeface="+mn-ea"/>
              <a:cs typeface="Corbe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C5261B-93AC-4D23-B685-75128FC1C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918"/>
            <a:ext cx="12192000" cy="1268413"/>
          </a:xfrm>
        </p:spPr>
        <p:txBody>
          <a:bodyPr/>
          <a:lstStyle/>
          <a:p>
            <a:r>
              <a:rPr lang="en-GB" dirty="0"/>
              <a:t>TAX-327</a:t>
            </a:r>
          </a:p>
        </p:txBody>
      </p:sp>
    </p:spTree>
    <p:extLst>
      <p:ext uri="{BB962C8B-B14F-4D97-AF65-F5344CB8AC3E}">
        <p14:creationId xmlns:p14="http://schemas.microsoft.com/office/powerpoint/2010/main" val="102816431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tr-TR" sz="3600" dirty="0">
                <a:latin typeface="+mn-lt"/>
                <a:ea typeface="+mn-ea"/>
                <a:cs typeface="+mn-cs"/>
              </a:rPr>
              <a:t>Dosetaksel: SWOG9916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005811" y="2195988"/>
            <a:ext cx="2628000" cy="550997"/>
          </a:xfrm>
          <a:prstGeom prst="roundRect">
            <a:avLst/>
          </a:prstGeom>
          <a:solidFill>
            <a:schemeClr val="accent3"/>
          </a:solidFill>
          <a:ln w="12700" algn="ctr">
            <a:solidFill>
              <a:schemeClr val="accent3">
                <a:lumMod val="50000"/>
              </a:schemeClr>
            </a:solidFill>
            <a:round/>
            <a:headEnd/>
            <a:tailEnd/>
          </a:ln>
        </p:spPr>
        <p:txBody>
          <a:bodyPr lIns="18000" tIns="18000" rIns="18000" bIns="18000" anchor="ctr">
            <a:spAutoFit/>
          </a:bodyPr>
          <a:lstStyle>
            <a:defPPr>
              <a:defRPr lang="en-US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andomize hastalar</a:t>
            </a:r>
            <a:br>
              <a:rPr kumimoji="0" lang="tr-T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(Tedaviye niyetlenilen popülasyon) (ITT)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(N=674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005931" y="4109117"/>
            <a:ext cx="2628000" cy="1490077"/>
          </a:xfrm>
          <a:prstGeom prst="roundRect">
            <a:avLst>
              <a:gd name="adj" fmla="val 9038"/>
            </a:avLst>
          </a:prstGeom>
          <a:solidFill>
            <a:srgbClr val="FFFF00"/>
          </a:solidFill>
          <a:ln w="28575" algn="ctr">
            <a:solidFill>
              <a:schemeClr val="accent3">
                <a:lumMod val="50000"/>
              </a:schemeClr>
            </a:solidFill>
            <a:round/>
            <a:headEnd/>
            <a:tailEnd/>
          </a:ln>
        </p:spPr>
        <p:txBody>
          <a:bodyPr wrap="square" lIns="18000" tIns="18000" rIns="18000" bIns="18000" anchor="ctr">
            <a:spAutoFit/>
          </a:bodyPr>
          <a:lstStyle>
            <a:defPPr>
              <a:defRPr lang="en-US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er</a:t>
            </a:r>
            <a:r>
              <a:rPr kumimoji="0" lang="tr-TR" sz="1000" b="1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onlanım noktası:</a:t>
            </a:r>
          </a:p>
          <a:p>
            <a:pPr marL="171450" marR="0" lvl="0" indent="-17145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9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l sağkalı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konder</a:t>
            </a:r>
            <a:r>
              <a:rPr kumimoji="0" lang="tr-TR" sz="1000" b="1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onlanım noktası :</a:t>
            </a:r>
          </a:p>
          <a:p>
            <a:pPr marL="171450" marR="0" lvl="0" indent="-17145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esyonsuz sağkalım</a:t>
            </a:r>
          </a:p>
          <a:p>
            <a:pPr marL="171450" marR="0" lvl="0" indent="-17145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jektif yanıt oranı</a:t>
            </a:r>
          </a:p>
          <a:p>
            <a:pPr marL="171450" marR="0" lvl="0" indent="-17145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SA yanıt oranı (≥50% düşüş)</a:t>
            </a:r>
          </a:p>
          <a:p>
            <a:pPr marL="171450" marR="0" lvl="0" indent="-17145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an etkiler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005931" y="1443110"/>
            <a:ext cx="2627760" cy="380738"/>
          </a:xfrm>
          <a:prstGeom prst="roundRect">
            <a:avLst/>
          </a:prstGeom>
          <a:solidFill>
            <a:schemeClr val="accent3"/>
          </a:solidFill>
          <a:ln w="12700" algn="ctr">
            <a:solidFill>
              <a:schemeClr val="accent3">
                <a:lumMod val="50000"/>
              </a:schemeClr>
            </a:solidFill>
            <a:round/>
            <a:headEnd/>
            <a:tailEnd/>
          </a:ln>
        </p:spPr>
        <p:txBody>
          <a:bodyPr lIns="18000" tIns="18000" rIns="18000" bIns="18000" anchor="ctr">
            <a:spAutoFit/>
          </a:bodyPr>
          <a:lstStyle>
            <a:defPPr>
              <a:defRPr lang="en-US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mKDPK hastalarda </a:t>
            </a:r>
            <a:r>
              <a:rPr kumimoji="0" lang="tr-TR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rospektif</a:t>
            </a: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tr-TR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andomize</a:t>
            </a: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, Faz 3 çalışma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817297" y="3119124"/>
            <a:ext cx="2502634" cy="608324"/>
          </a:xfrm>
          <a:prstGeom prst="roundRect">
            <a:avLst>
              <a:gd name="adj" fmla="val 10382"/>
            </a:avLst>
          </a:prstGeom>
          <a:solidFill>
            <a:schemeClr val="accent3"/>
          </a:solidFill>
          <a:ln w="12700" algn="ctr">
            <a:solidFill>
              <a:schemeClr val="accent3">
                <a:lumMod val="50000"/>
              </a:schemeClr>
            </a:solidFill>
            <a:round/>
            <a:headEnd/>
            <a:tailEnd/>
          </a:ln>
        </p:spPr>
        <p:txBody>
          <a:bodyPr wrap="square" lIns="18000" tIns="18000" rIns="18000" bIns="18000" anchor="ctr">
            <a:spAutoFit/>
          </a:bodyPr>
          <a:lstStyle>
            <a:defPPr>
              <a:defRPr lang="en-US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osetaksel + </a:t>
            </a:r>
            <a:r>
              <a:rPr kumimoji="0" lang="tr-TR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Estramustin</a:t>
            </a: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+ </a:t>
            </a:r>
            <a:r>
              <a:rPr kumimoji="0" lang="tr-TR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eksametazon</a:t>
            </a: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21 günde bir (3w) (n=338)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ürekli AD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724400" y="3124686"/>
            <a:ext cx="1508366" cy="602763"/>
          </a:xfrm>
          <a:prstGeom prst="roundRect">
            <a:avLst>
              <a:gd name="adj" fmla="val 8643"/>
            </a:avLst>
          </a:prstGeom>
          <a:solidFill>
            <a:schemeClr val="accent3"/>
          </a:solidFill>
          <a:ln w="12700" algn="ctr">
            <a:solidFill>
              <a:schemeClr val="accent3">
                <a:lumMod val="50000"/>
              </a:schemeClr>
            </a:solidFill>
            <a:round/>
            <a:headEnd/>
            <a:tailEnd/>
          </a:ln>
        </p:spPr>
        <p:txBody>
          <a:bodyPr wrap="square" lIns="18000" tIns="18000" rIns="18000" bIns="18000" anchor="ctr">
            <a:spAutoFit/>
          </a:bodyPr>
          <a:lstStyle>
            <a:defPPr>
              <a:defRPr lang="en-US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Mitoksantron</a:t>
            </a: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+ </a:t>
            </a:r>
            <a:r>
              <a:rPr kumimoji="0" lang="tr-TR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rednizon</a:t>
            </a: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21 günde bir (3w)(n=336)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ürekli ADT</a:t>
            </a:r>
          </a:p>
        </p:txBody>
      </p:sp>
      <p:cxnSp>
        <p:nvCxnSpPr>
          <p:cNvPr id="5" name="Straight Arrow Connector 4"/>
          <p:cNvCxnSpPr>
            <a:stCxn id="12" idx="2"/>
            <a:endCxn id="10" idx="0"/>
          </p:cNvCxnSpPr>
          <p:nvPr/>
        </p:nvCxnSpPr>
        <p:spPr>
          <a:xfrm>
            <a:off x="4319811" y="1823849"/>
            <a:ext cx="0" cy="372139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15"/>
          <p:cNvCxnSpPr>
            <a:stCxn id="10" idx="2"/>
            <a:endCxn id="13" idx="0"/>
          </p:cNvCxnSpPr>
          <p:nvPr/>
        </p:nvCxnSpPr>
        <p:spPr>
          <a:xfrm rot="5400000">
            <a:off x="3508143" y="2307457"/>
            <a:ext cx="372140" cy="1251197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10" idx="2"/>
            <a:endCxn id="14" idx="0"/>
          </p:cNvCxnSpPr>
          <p:nvPr/>
        </p:nvCxnSpPr>
        <p:spPr>
          <a:xfrm rot="16200000" flipH="1">
            <a:off x="4710348" y="2356448"/>
            <a:ext cx="377701" cy="1158772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/>
          <p:cNvCxnSpPr>
            <a:stCxn id="13" idx="2"/>
            <a:endCxn id="11" idx="0"/>
          </p:cNvCxnSpPr>
          <p:nvPr/>
        </p:nvCxnSpPr>
        <p:spPr>
          <a:xfrm rot="16200000" flipH="1">
            <a:off x="3503438" y="3292624"/>
            <a:ext cx="381668" cy="1251317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21"/>
          <p:cNvCxnSpPr>
            <a:stCxn id="14" idx="2"/>
            <a:endCxn id="11" idx="0"/>
          </p:cNvCxnSpPr>
          <p:nvPr/>
        </p:nvCxnSpPr>
        <p:spPr>
          <a:xfrm rot="5400000">
            <a:off x="4708423" y="3338956"/>
            <a:ext cx="381668" cy="1158652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60AD7354-05B0-4404-AF56-6E5B271DF4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6907" y="3119124"/>
            <a:ext cx="5578323" cy="264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3461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Başlık 1">
            <a:extLst>
              <a:ext uri="{FF2B5EF4-FFF2-40B4-BE49-F238E27FC236}">
                <a16:creationId xmlns:a16="http://schemas.microsoft.com/office/drawing/2014/main" id="{7860E71D-2DB3-4D67-8960-1E181C83D68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 rot="16200000">
            <a:off x="-1314449" y="2830512"/>
            <a:ext cx="6858000" cy="1196975"/>
          </a:xfrm>
        </p:spPr>
        <p:txBody>
          <a:bodyPr/>
          <a:lstStyle/>
          <a:p>
            <a:r>
              <a:rPr lang="tr-TR" altLang="en-US"/>
              <a:t>Yaşam süresi</a:t>
            </a:r>
            <a:endParaRPr lang="en-US" altLang="en-US"/>
          </a:p>
        </p:txBody>
      </p:sp>
      <p:pic>
        <p:nvPicPr>
          <p:cNvPr id="68611" name="Picture 2">
            <a:extLst>
              <a:ext uri="{FF2B5EF4-FFF2-40B4-BE49-F238E27FC236}">
                <a16:creationId xmlns:a16="http://schemas.microsoft.com/office/drawing/2014/main" id="{74582F0B-4CEE-438A-B73F-DD20138570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1325" y="0"/>
            <a:ext cx="73310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Şeritli Sağ Ok 2">
            <a:extLst>
              <a:ext uri="{FF2B5EF4-FFF2-40B4-BE49-F238E27FC236}">
                <a16:creationId xmlns:a16="http://schemas.microsoft.com/office/drawing/2014/main" id="{C682120B-6F27-47D1-94C8-C2AB7F4DE444}"/>
              </a:ext>
            </a:extLst>
          </p:cNvPr>
          <p:cNvSpPr/>
          <p:nvPr/>
        </p:nvSpPr>
        <p:spPr>
          <a:xfrm>
            <a:off x="3157538" y="3170238"/>
            <a:ext cx="1093787" cy="863600"/>
          </a:xfrm>
          <a:prstGeom prst="striped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tr-TR" sz="3360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771F9C93-3804-4BD2-B7B5-9B536DCFF9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79" t="72584" r="979" b="1965"/>
          <a:stretch/>
        </p:blipFill>
        <p:spPr bwMode="auto">
          <a:xfrm>
            <a:off x="0" y="1977622"/>
            <a:ext cx="12192000" cy="2902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5C53C379-D51F-456F-A885-B02E50E0FA04}"/>
              </a:ext>
            </a:extLst>
          </p:cNvPr>
          <p:cNvGrpSpPr/>
          <p:nvPr/>
        </p:nvGrpSpPr>
        <p:grpSpPr>
          <a:xfrm>
            <a:off x="1775520" y="1772816"/>
            <a:ext cx="8893174" cy="4347181"/>
            <a:chOff x="1801467" y="1628800"/>
            <a:chExt cx="8893174" cy="4347181"/>
          </a:xfrm>
        </p:grpSpPr>
        <p:sp>
          <p:nvSpPr>
            <p:cNvPr id="3" name="object 3"/>
            <p:cNvSpPr/>
            <p:nvPr/>
          </p:nvSpPr>
          <p:spPr>
            <a:xfrm>
              <a:off x="1801467" y="1628800"/>
              <a:ext cx="8893174" cy="4347181"/>
            </a:xfrm>
            <a:prstGeom prst="rect">
              <a:avLst/>
            </a:prstGeom>
            <a:blipFill>
              <a:blip r:embed="rId3" cstate="print"/>
              <a:stretch>
                <a:fillRect b="-30842"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" name="object 4"/>
            <p:cNvSpPr/>
            <p:nvPr/>
          </p:nvSpPr>
          <p:spPr>
            <a:xfrm>
              <a:off x="7072194" y="3658498"/>
              <a:ext cx="2520950" cy="431800"/>
            </a:xfrm>
            <a:custGeom>
              <a:avLst/>
              <a:gdLst/>
              <a:ahLst/>
              <a:cxnLst/>
              <a:rect l="l" t="t" r="r" b="b"/>
              <a:pathLst>
                <a:path w="2520950" h="431800">
                  <a:moveTo>
                    <a:pt x="0" y="431800"/>
                  </a:moveTo>
                  <a:lnTo>
                    <a:pt x="2520950" y="431800"/>
                  </a:lnTo>
                  <a:lnTo>
                    <a:pt x="2520950" y="0"/>
                  </a:lnTo>
                  <a:lnTo>
                    <a:pt x="0" y="0"/>
                  </a:lnTo>
                  <a:lnTo>
                    <a:pt x="0" y="431800"/>
                  </a:lnTo>
                  <a:close/>
                </a:path>
              </a:pathLst>
            </a:custGeom>
            <a:ln w="57150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object 5"/>
            <p:cNvSpPr/>
            <p:nvPr/>
          </p:nvSpPr>
          <p:spPr>
            <a:xfrm>
              <a:off x="7059266" y="5445224"/>
              <a:ext cx="3635375" cy="431800"/>
            </a:xfrm>
            <a:custGeom>
              <a:avLst/>
              <a:gdLst/>
              <a:ahLst/>
              <a:cxnLst/>
              <a:rect l="l" t="t" r="r" b="b"/>
              <a:pathLst>
                <a:path w="3635375" h="431800">
                  <a:moveTo>
                    <a:pt x="0" y="431800"/>
                  </a:moveTo>
                  <a:lnTo>
                    <a:pt x="3635375" y="431800"/>
                  </a:lnTo>
                  <a:lnTo>
                    <a:pt x="3635375" y="0"/>
                  </a:lnTo>
                  <a:lnTo>
                    <a:pt x="0" y="0"/>
                  </a:lnTo>
                  <a:lnTo>
                    <a:pt x="0" y="431800"/>
                  </a:lnTo>
                  <a:close/>
                </a:path>
              </a:pathLst>
            </a:custGeom>
            <a:ln w="57150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A615715A-7275-4E58-8864-3A6B9351F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Docetaksel</a:t>
            </a:r>
            <a:r>
              <a:rPr lang="en-GB" dirty="0"/>
              <a:t> </a:t>
            </a:r>
            <a:r>
              <a:rPr lang="en-GB" dirty="0" err="1"/>
              <a:t>Çalışmaları</a:t>
            </a:r>
            <a:r>
              <a:rPr lang="en-GB" dirty="0"/>
              <a:t> </a:t>
            </a:r>
            <a:r>
              <a:rPr lang="en-GB" dirty="0" err="1"/>
              <a:t>Tutarlıdı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742127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0642" name="Picture 2"/>
          <p:cNvPicPr>
            <a:picLocks noChangeAspect="1" noChangeArrowheads="1"/>
          </p:cNvPicPr>
          <p:nvPr/>
        </p:nvPicPr>
        <p:blipFill rotWithShape="1">
          <a:blip r:embed="rId2" cstate="print"/>
          <a:srcRect l="-838" t="21529" r="838" b="1133"/>
          <a:stretch/>
        </p:blipFill>
        <p:spPr bwMode="auto">
          <a:xfrm>
            <a:off x="2063552" y="1772816"/>
            <a:ext cx="8595417" cy="491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84D05FB7-EFA3-417F-A0E5-82B06951E2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Docetaksel</a:t>
            </a:r>
            <a:r>
              <a:rPr lang="en-GB" dirty="0"/>
              <a:t> 10 </a:t>
            </a:r>
            <a:r>
              <a:rPr lang="en-GB" dirty="0" err="1"/>
              <a:t>küre</a:t>
            </a:r>
            <a:r>
              <a:rPr lang="en-GB" dirty="0"/>
              <a:t> </a:t>
            </a:r>
            <a:r>
              <a:rPr lang="en-GB" dirty="0" err="1"/>
              <a:t>kada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3940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346DF2AE-6ABB-4239-8D14-1A906218D1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80176" y="1628800"/>
            <a:ext cx="3712290" cy="489547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AC2E3D7-6684-403E-AE08-F59AD10B23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Enzalutamid</a:t>
            </a:r>
            <a:r>
              <a:rPr lang="en-GB" dirty="0"/>
              <a:t> (PREVAİL)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15E157B5-9FCA-46D1-A8CE-E82A740DAA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368" y="2420888"/>
            <a:ext cx="6782156" cy="258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29064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EDC421-A328-497C-80FF-28A9F3A3A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Abirateron</a:t>
            </a:r>
            <a:r>
              <a:rPr lang="en-GB" dirty="0"/>
              <a:t> </a:t>
            </a:r>
            <a:r>
              <a:rPr lang="en-GB" sz="4400" dirty="0">
                <a:solidFill>
                  <a:srgbClr val="F64312"/>
                </a:solidFill>
                <a:latin typeface="Arial" charset="0"/>
              </a:rPr>
              <a:t>COU-AA-302</a:t>
            </a:r>
            <a:endParaRPr lang="en-GB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40BE3FD-7E33-495B-B6E2-D9F0AD13D5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0767" y="4149129"/>
            <a:ext cx="8424974" cy="25474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04ACC71-36A3-41B9-80D7-2F56FE138B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43872" y="1628800"/>
            <a:ext cx="6407361" cy="2547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25949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F9E63-8B1E-4019-A321-C74223F4B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tr-TR" dirty="0"/>
              <a:t>R-223 ALSYMPCA</a:t>
            </a:r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2BDD512-04D2-4B2B-B901-8E3A772F7CA0}"/>
              </a:ext>
            </a:extLst>
          </p:cNvPr>
          <p:cNvGrpSpPr/>
          <p:nvPr/>
        </p:nvGrpSpPr>
        <p:grpSpPr>
          <a:xfrm>
            <a:off x="6234871" y="2578589"/>
            <a:ext cx="5954453" cy="2647692"/>
            <a:chOff x="2051480" y="2627573"/>
            <a:chExt cx="5954453" cy="2647692"/>
          </a:xfrm>
        </p:grpSpPr>
        <p:grpSp>
          <p:nvGrpSpPr>
            <p:cNvPr id="4" name="Group 25">
              <a:extLst>
                <a:ext uri="{FF2B5EF4-FFF2-40B4-BE49-F238E27FC236}">
                  <a16:creationId xmlns:a16="http://schemas.microsoft.com/office/drawing/2014/main" id="{C5EDAB02-9415-470A-8B28-450BB82C374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51480" y="2665411"/>
              <a:ext cx="5610891" cy="2609852"/>
              <a:chOff x="881112" y="3207499"/>
              <a:chExt cx="5301574" cy="2169992"/>
            </a:xfrm>
          </p:grpSpPr>
          <p:sp>
            <p:nvSpPr>
              <p:cNvPr id="10" name="AutoShape 6">
                <a:extLst>
                  <a:ext uri="{FF2B5EF4-FFF2-40B4-BE49-F238E27FC236}">
                    <a16:creationId xmlns:a16="http://schemas.microsoft.com/office/drawing/2014/main" id="{B998C99D-8297-4662-958C-EFD6CD15532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81112" y="3262941"/>
                <a:ext cx="1841577" cy="2114550"/>
              </a:xfrm>
              <a:prstGeom prst="roundRect">
                <a:avLst/>
              </a:prstGeom>
              <a:solidFill>
                <a:srgbClr val="79463D"/>
              </a:solidFill>
              <a:ln w="26425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36000" tIns="36000" rIns="36000" bIns="36000" anchor="ctr"/>
              <a:lstStyle>
                <a:lvl1pPr marL="342900" indent="-3429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Faz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3</a:t>
                </a: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921 hasta</a:t>
                </a: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Progresif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,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semptomatik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KDPK</a:t>
                </a: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Önceden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dosetaksel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almış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,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dosetaksele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uygun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değil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veya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reddetmiş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Calibri" pitchFamily="34" charset="0"/>
                </a:endParaRP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≥2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kemik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metastazı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Calibri" pitchFamily="34" charset="0"/>
                </a:endParaRP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Bilinen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visseral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metastaz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yok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Calibri" pitchFamily="34" charset="0"/>
                </a:endParaRP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tr-T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En iyi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tr-T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SB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alan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Calibri" pitchFamily="34" charset="0"/>
                </a:endParaRPr>
              </a:p>
            </p:txBody>
          </p:sp>
          <p:sp>
            <p:nvSpPr>
              <p:cNvPr id="11" name="Rectangle 20">
                <a:extLst>
                  <a:ext uri="{FF2B5EF4-FFF2-40B4-BE49-F238E27FC236}">
                    <a16:creationId xmlns:a16="http://schemas.microsoft.com/office/drawing/2014/main" id="{52A5AB85-D97A-42F5-967D-0E28356A43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4194" y="3207499"/>
                <a:ext cx="2208492" cy="864000"/>
              </a:xfrm>
              <a:prstGeom prst="roundRect">
                <a:avLst/>
              </a:prstGeom>
              <a:solidFill>
                <a:srgbClr val="F3F2DC">
                  <a:lumMod val="50000"/>
                </a:srgbClr>
              </a:solidFill>
              <a:ln w="28575">
                <a:solidFill>
                  <a:srgbClr val="F3F2DC">
                    <a:lumMod val="75000"/>
                  </a:srgbClr>
                </a:solidFill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wrap="none" anchor="ctr"/>
              <a:lstStyle>
                <a:lvl1pPr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Altı enjeksiyon</a:t>
                </a:r>
                <a:b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</a:br>
                <a: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Radyum-223 klorür </a:t>
                </a:r>
              </a:p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4 haftada bir IV 50 kBq/kg</a:t>
                </a:r>
              </a:p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 (n=614)</a:t>
                </a:r>
              </a:p>
            </p:txBody>
          </p:sp>
          <p:sp>
            <p:nvSpPr>
              <p:cNvPr id="12" name="Rectangle 20">
                <a:extLst>
                  <a:ext uri="{FF2B5EF4-FFF2-40B4-BE49-F238E27FC236}">
                    <a16:creationId xmlns:a16="http://schemas.microsoft.com/office/drawing/2014/main" id="{57FED0A3-C603-4CDF-B114-880CD5EAFB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4486" y="4642282"/>
                <a:ext cx="2208200" cy="637869"/>
              </a:xfrm>
              <a:prstGeom prst="roundRect">
                <a:avLst/>
              </a:prstGeom>
              <a:solidFill>
                <a:srgbClr val="4C5A6A"/>
              </a:solidFill>
              <a:ln w="28575">
                <a:solidFill>
                  <a:srgbClr val="4C5A6A"/>
                </a:solidFill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wrap="none" anchor="ctr"/>
              <a:lstStyle>
                <a:lvl1pPr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Altı enjeksiyon plasebo</a:t>
                </a:r>
              </a:p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 4 haftada bir</a:t>
                </a:r>
              </a:p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 (n=307)</a:t>
                </a:r>
              </a:p>
            </p:txBody>
          </p:sp>
        </p:grpSp>
        <p:sp>
          <p:nvSpPr>
            <p:cNvPr id="5" name="AutoShape 17">
              <a:extLst>
                <a:ext uri="{FF2B5EF4-FFF2-40B4-BE49-F238E27FC236}">
                  <a16:creationId xmlns:a16="http://schemas.microsoft.com/office/drawing/2014/main" id="{AFCC87F9-9447-49CB-90DE-D03B3DCB2C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2300" y="2627573"/>
              <a:ext cx="609846" cy="2647692"/>
            </a:xfrm>
            <a:prstGeom prst="roundRect">
              <a:avLst>
                <a:gd name="adj" fmla="val 16667"/>
              </a:avLst>
            </a:prstGeom>
            <a:solidFill>
              <a:srgbClr val="F8F8F8"/>
            </a:solidFill>
            <a:ln w="19050">
              <a:solidFill>
                <a:srgbClr val="808DA0"/>
              </a:solidFill>
              <a:round/>
              <a:headEnd/>
              <a:tailEnd/>
            </a:ln>
          </p:spPr>
          <p:txBody>
            <a:bodyPr wrap="none" lIns="80131" tIns="40066" rIns="80131" bIns="40066" anchor="ctr"/>
            <a:lstStyle/>
            <a:p>
              <a:pPr marL="0" marR="0" lvl="0" indent="0" algn="ctr" defTabSz="858838" eaLnBrk="1" fontAlgn="auto" latinLnBrk="0" hangingPunct="1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R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A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N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D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O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M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İ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Z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</a:br>
              <a:r>
                <a:rPr kumimoji="0" lang="tr-T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A</a:t>
              </a:r>
            </a:p>
            <a:p>
              <a:pPr marL="0" marR="0" lvl="0" indent="0" algn="ctr" defTabSz="858838" eaLnBrk="1" fontAlgn="auto" latinLnBrk="0" hangingPunct="1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tr-T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S</a:t>
              </a:r>
            </a:p>
            <a:p>
              <a:pPr marL="0" marR="0" lvl="0" indent="0" algn="ctr" defTabSz="858838" eaLnBrk="1" fontAlgn="auto" latinLnBrk="0" hangingPunct="1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tr-T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Y</a:t>
              </a:r>
            </a:p>
            <a:p>
              <a:pPr marL="0" marR="0" lvl="0" indent="0" algn="ctr" defTabSz="858838" eaLnBrk="1" fontAlgn="auto" latinLnBrk="0" hangingPunct="1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tr-T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O</a:t>
              </a:r>
            </a:p>
            <a:p>
              <a:pPr marL="0" marR="0" lvl="0" indent="0" algn="ctr" defTabSz="858838" eaLnBrk="1" fontAlgn="auto" latinLnBrk="0" hangingPunct="1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tr-T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N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ヒラギノ角ゴ Pro W3"/>
                <a:cs typeface="ヒラギノ角ゴ Pro W3"/>
              </a:endParaRPr>
            </a:p>
            <a:p>
              <a:pPr marL="0" marR="0" lvl="0" indent="0" algn="ctr" defTabSz="858838" eaLnBrk="1" fontAlgn="auto" latinLnBrk="0" hangingPunct="1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ヒラギノ角ゴ Pro W3"/>
                <a:cs typeface="ヒラギノ角ゴ Pro W3"/>
              </a:endParaRPr>
            </a:p>
            <a:p>
              <a:pPr marL="0" marR="0" lvl="0" indent="0" algn="ctr" defTabSz="858838" eaLnBrk="1" fontAlgn="auto" latinLnBrk="0" hangingPunct="1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2:1</a:t>
              </a:r>
            </a:p>
          </p:txBody>
        </p:sp>
        <p:sp>
          <p:nvSpPr>
            <p:cNvPr id="6" name="Right Arrow 28">
              <a:extLst>
                <a:ext uri="{FF2B5EF4-FFF2-40B4-BE49-F238E27FC236}">
                  <a16:creationId xmlns:a16="http://schemas.microsoft.com/office/drawing/2014/main" id="{23D8A80A-657F-4147-B820-1D618DCE1B4C}"/>
                </a:ext>
              </a:extLst>
            </p:cNvPr>
            <p:cNvSpPr/>
            <p:nvPr/>
          </p:nvSpPr>
          <p:spPr bwMode="auto">
            <a:xfrm>
              <a:off x="4079737" y="3811589"/>
              <a:ext cx="312483" cy="342900"/>
            </a:xfrm>
            <a:prstGeom prst="rightArrow">
              <a:avLst/>
            </a:prstGeom>
            <a:solidFill>
              <a:srgbClr val="4C5A6A"/>
            </a:solidFill>
            <a:ln w="26425" cap="flat" cmpd="sng" algn="ctr">
              <a:solidFill>
                <a:srgbClr val="4C5A6A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Right Arrow 29">
              <a:extLst>
                <a:ext uri="{FF2B5EF4-FFF2-40B4-BE49-F238E27FC236}">
                  <a16:creationId xmlns:a16="http://schemas.microsoft.com/office/drawing/2014/main" id="{61C96F88-B7F3-4AFF-B850-57329CA79B02}"/>
                </a:ext>
              </a:extLst>
            </p:cNvPr>
            <p:cNvSpPr/>
            <p:nvPr/>
          </p:nvSpPr>
          <p:spPr bwMode="auto">
            <a:xfrm>
              <a:off x="5013825" y="2998789"/>
              <a:ext cx="310803" cy="342900"/>
            </a:xfrm>
            <a:prstGeom prst="rightArrow">
              <a:avLst/>
            </a:prstGeom>
            <a:solidFill>
              <a:srgbClr val="4C5A6A"/>
            </a:solidFill>
            <a:ln w="26425" cap="flat" cmpd="sng" algn="ctr">
              <a:solidFill>
                <a:srgbClr val="4C5A6A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Right Arrow 30">
              <a:extLst>
                <a:ext uri="{FF2B5EF4-FFF2-40B4-BE49-F238E27FC236}">
                  <a16:creationId xmlns:a16="http://schemas.microsoft.com/office/drawing/2014/main" id="{AE9AF2DD-1848-45F9-BFE5-4815695B2D9C}"/>
                </a:ext>
              </a:extLst>
            </p:cNvPr>
            <p:cNvSpPr/>
            <p:nvPr/>
          </p:nvSpPr>
          <p:spPr bwMode="auto">
            <a:xfrm>
              <a:off x="5012145" y="4629151"/>
              <a:ext cx="312483" cy="342900"/>
            </a:xfrm>
            <a:prstGeom prst="rightArrow">
              <a:avLst/>
            </a:prstGeom>
            <a:solidFill>
              <a:srgbClr val="4C5A6A"/>
            </a:solidFill>
            <a:ln w="26425" cap="flat" cmpd="sng" algn="ctr">
              <a:solidFill>
                <a:srgbClr val="4C5A6A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Right Arrow 32">
              <a:extLst>
                <a:ext uri="{FF2B5EF4-FFF2-40B4-BE49-F238E27FC236}">
                  <a16:creationId xmlns:a16="http://schemas.microsoft.com/office/drawing/2014/main" id="{0C32F60A-4233-4797-9E47-2E582B6B561F}"/>
                </a:ext>
              </a:extLst>
            </p:cNvPr>
            <p:cNvSpPr/>
            <p:nvPr/>
          </p:nvSpPr>
          <p:spPr bwMode="auto">
            <a:xfrm>
              <a:off x="7693450" y="3879775"/>
              <a:ext cx="312483" cy="341313"/>
            </a:xfrm>
            <a:prstGeom prst="rightArrow">
              <a:avLst/>
            </a:prstGeom>
            <a:solidFill>
              <a:srgbClr val="4C5A6A"/>
            </a:solidFill>
            <a:ln w="26425" cap="flat" cmpd="sng" algn="ctr">
              <a:solidFill>
                <a:srgbClr val="4C5A6A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19D78DC-AC0B-4777-8597-99067E1BA63D}"/>
              </a:ext>
            </a:extLst>
          </p:cNvPr>
          <p:cNvGrpSpPr/>
          <p:nvPr/>
        </p:nvGrpSpPr>
        <p:grpSpPr>
          <a:xfrm>
            <a:off x="381497" y="3652976"/>
            <a:ext cx="5956398" cy="3109912"/>
            <a:chOff x="2603542" y="2554288"/>
            <a:chExt cx="5956398" cy="3109912"/>
          </a:xfrm>
        </p:grpSpPr>
        <p:sp>
          <p:nvSpPr>
            <p:cNvPr id="14" name="TextBox 29">
              <a:extLst>
                <a:ext uri="{FF2B5EF4-FFF2-40B4-BE49-F238E27FC236}">
                  <a16:creationId xmlns:a16="http://schemas.microsoft.com/office/drawing/2014/main" id="{CF3DEEA0-D462-43B6-B661-127B08600EE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29056" y="5008251"/>
              <a:ext cx="263213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0</a:t>
              </a:r>
            </a:p>
          </p:txBody>
        </p:sp>
        <p:sp>
          <p:nvSpPr>
            <p:cNvPr id="15" name="TextBox 30">
              <a:extLst>
                <a:ext uri="{FF2B5EF4-FFF2-40B4-BE49-F238E27FC236}">
                  <a16:creationId xmlns:a16="http://schemas.microsoft.com/office/drawing/2014/main" id="{FB7ACDA5-8604-4C99-AD44-ED96EA586A1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0509" y="4521529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20</a:t>
              </a:r>
            </a:p>
          </p:txBody>
        </p:sp>
        <p:sp>
          <p:nvSpPr>
            <p:cNvPr id="16" name="TextBox 31">
              <a:extLst>
                <a:ext uri="{FF2B5EF4-FFF2-40B4-BE49-F238E27FC236}">
                  <a16:creationId xmlns:a16="http://schemas.microsoft.com/office/drawing/2014/main" id="{4CA2EE21-4C14-4076-A61D-4DE7FD623DE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0509" y="4036658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40</a:t>
              </a:r>
            </a:p>
          </p:txBody>
        </p:sp>
        <p:sp>
          <p:nvSpPr>
            <p:cNvPr id="17" name="TextBox 32">
              <a:extLst>
                <a:ext uri="{FF2B5EF4-FFF2-40B4-BE49-F238E27FC236}">
                  <a16:creationId xmlns:a16="http://schemas.microsoft.com/office/drawing/2014/main" id="{54C2C3E2-2194-4F85-8E67-4C28A765FB4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0509" y="3551788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60</a:t>
              </a:r>
            </a:p>
          </p:txBody>
        </p:sp>
        <p:sp>
          <p:nvSpPr>
            <p:cNvPr id="18" name="TextBox 33">
              <a:extLst>
                <a:ext uri="{FF2B5EF4-FFF2-40B4-BE49-F238E27FC236}">
                  <a16:creationId xmlns:a16="http://schemas.microsoft.com/office/drawing/2014/main" id="{B52504EB-0E5C-40E4-9C16-BC37E37AE20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0509" y="3066918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80</a:t>
              </a:r>
            </a:p>
          </p:txBody>
        </p:sp>
        <p:sp>
          <p:nvSpPr>
            <p:cNvPr id="19" name="TextBox 34">
              <a:extLst>
                <a:ext uri="{FF2B5EF4-FFF2-40B4-BE49-F238E27FC236}">
                  <a16:creationId xmlns:a16="http://schemas.microsoft.com/office/drawing/2014/main" id="{5BAA3F0D-395D-4036-AE65-DAE41E28D1D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71961" y="2593151"/>
              <a:ext cx="420308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100</a:t>
              </a:r>
            </a:p>
          </p:txBody>
        </p:sp>
        <p:sp>
          <p:nvSpPr>
            <p:cNvPr id="20" name="TextBox 49">
              <a:extLst>
                <a:ext uri="{FF2B5EF4-FFF2-40B4-BE49-F238E27FC236}">
                  <a16:creationId xmlns:a16="http://schemas.microsoft.com/office/drawing/2014/main" id="{EFB5E4A0-2FFC-4B24-B2AE-087A72527B8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84926" y="3252677"/>
              <a:ext cx="192039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HR=0.70 (%95 GA: 0.58–0.83)</a:t>
              </a:r>
              <a:b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</a:b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p&lt;0.001</a:t>
              </a:r>
            </a:p>
          </p:txBody>
        </p:sp>
        <p:sp>
          <p:nvSpPr>
            <p:cNvPr id="21" name="TextBox 24">
              <a:extLst>
                <a:ext uri="{FF2B5EF4-FFF2-40B4-BE49-F238E27FC236}">
                  <a16:creationId xmlns:a16="http://schemas.microsoft.com/office/drawing/2014/main" id="{CB8894B7-3D7D-43ED-B7F2-9602A1BF357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1480631" y="3877067"/>
              <a:ext cx="2415100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9000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altLang="tr-TR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Genel </a:t>
              </a:r>
              <a:r>
                <a:rPr kumimoji="0" lang="en-US" altLang="tr-TR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Sağkalım</a:t>
              </a:r>
              <a:r>
                <a:rPr kumimoji="0" lang="en-US" altLang="tr-TR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 (%)</a:t>
              </a:r>
            </a:p>
          </p:txBody>
        </p:sp>
        <p:sp>
          <p:nvSpPr>
            <p:cNvPr id="22" name="TextBox 25">
              <a:extLst>
                <a:ext uri="{FF2B5EF4-FFF2-40B4-BE49-F238E27FC236}">
                  <a16:creationId xmlns:a16="http://schemas.microsoft.com/office/drawing/2014/main" id="{557471A5-D87E-4B33-A09F-BAA0D5263E7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31806" y="5494923"/>
              <a:ext cx="3990354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Zaman</a:t>
              </a:r>
              <a:r>
                <a:rPr kumimoji="0" lang="en-US" altLang="tr-TR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 (ay)</a:t>
              </a:r>
            </a:p>
          </p:txBody>
        </p:sp>
        <p:sp>
          <p:nvSpPr>
            <p:cNvPr id="23" name="TextBox 35">
              <a:extLst>
                <a:ext uri="{FF2B5EF4-FFF2-40B4-BE49-F238E27FC236}">
                  <a16:creationId xmlns:a16="http://schemas.microsoft.com/office/drawing/2014/main" id="{DAFC2D33-B39C-418F-9AE6-71EFCA87E1B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94057" y="5249835"/>
              <a:ext cx="263213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0</a:t>
              </a:r>
            </a:p>
          </p:txBody>
        </p:sp>
        <p:sp>
          <p:nvSpPr>
            <p:cNvPr id="24" name="TextBox 35">
              <a:extLst>
                <a:ext uri="{FF2B5EF4-FFF2-40B4-BE49-F238E27FC236}">
                  <a16:creationId xmlns:a16="http://schemas.microsoft.com/office/drawing/2014/main" id="{6A82FCAE-0F3D-44C3-9929-6791E4743E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32901" y="5277746"/>
              <a:ext cx="184731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1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25" name="TextBox 35">
              <a:extLst>
                <a:ext uri="{FF2B5EF4-FFF2-40B4-BE49-F238E27FC236}">
                  <a16:creationId xmlns:a16="http://schemas.microsoft.com/office/drawing/2014/main" id="{94D5F74E-169B-45C1-A04F-4477457068D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3549" y="5249835"/>
              <a:ext cx="263213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3</a:t>
              </a:r>
            </a:p>
          </p:txBody>
        </p:sp>
        <p:sp>
          <p:nvSpPr>
            <p:cNvPr id="26" name="TextBox 35">
              <a:extLst>
                <a:ext uri="{FF2B5EF4-FFF2-40B4-BE49-F238E27FC236}">
                  <a16:creationId xmlns:a16="http://schemas.microsoft.com/office/drawing/2014/main" id="{129DE282-B216-44F3-918A-B9D4BA03F39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73041" y="5249835"/>
              <a:ext cx="263213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6</a:t>
              </a:r>
            </a:p>
          </p:txBody>
        </p:sp>
        <p:sp>
          <p:nvSpPr>
            <p:cNvPr id="27" name="TextBox 35">
              <a:extLst>
                <a:ext uri="{FF2B5EF4-FFF2-40B4-BE49-F238E27FC236}">
                  <a16:creationId xmlns:a16="http://schemas.microsoft.com/office/drawing/2014/main" id="{E8C9A45F-5A2C-460B-A244-389125D5DF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62532" y="5249835"/>
              <a:ext cx="263213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9</a:t>
              </a:r>
            </a:p>
          </p:txBody>
        </p:sp>
        <p:sp>
          <p:nvSpPr>
            <p:cNvPr id="28" name="TextBox 35">
              <a:extLst>
                <a:ext uri="{FF2B5EF4-FFF2-40B4-BE49-F238E27FC236}">
                  <a16:creationId xmlns:a16="http://schemas.microsoft.com/office/drawing/2014/main" id="{D8CAA2AD-EB44-4C24-B634-2CC2D7A28F7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12749" y="5250782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12</a:t>
              </a:r>
            </a:p>
          </p:txBody>
        </p:sp>
        <p:sp>
          <p:nvSpPr>
            <p:cNvPr id="29" name="TextBox 35">
              <a:extLst>
                <a:ext uri="{FF2B5EF4-FFF2-40B4-BE49-F238E27FC236}">
                  <a16:creationId xmlns:a16="http://schemas.microsoft.com/office/drawing/2014/main" id="{5872CBD4-BD47-41E7-BD1B-7A4CDF38452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02242" y="5250782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15</a:t>
              </a:r>
            </a:p>
          </p:txBody>
        </p:sp>
        <p:sp>
          <p:nvSpPr>
            <p:cNvPr id="30" name="TextBox 35">
              <a:extLst>
                <a:ext uri="{FF2B5EF4-FFF2-40B4-BE49-F238E27FC236}">
                  <a16:creationId xmlns:a16="http://schemas.microsoft.com/office/drawing/2014/main" id="{525E35F8-1E5F-4B7C-A484-A02024DCA8B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91733" y="5250782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18</a:t>
              </a:r>
            </a:p>
          </p:txBody>
        </p:sp>
        <p:sp>
          <p:nvSpPr>
            <p:cNvPr id="31" name="TextBox 35">
              <a:extLst>
                <a:ext uri="{FF2B5EF4-FFF2-40B4-BE49-F238E27FC236}">
                  <a16:creationId xmlns:a16="http://schemas.microsoft.com/office/drawing/2014/main" id="{729FA728-913A-4FED-87BD-8AC05FAAEF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81225" y="5250782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21</a:t>
              </a:r>
            </a:p>
          </p:txBody>
        </p:sp>
        <p:sp>
          <p:nvSpPr>
            <p:cNvPr id="32" name="TextBox 35">
              <a:extLst>
                <a:ext uri="{FF2B5EF4-FFF2-40B4-BE49-F238E27FC236}">
                  <a16:creationId xmlns:a16="http://schemas.microsoft.com/office/drawing/2014/main" id="{57951D2E-B1A7-4764-939B-1E00038B1B6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70716" y="5250782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24</a:t>
              </a:r>
            </a:p>
          </p:txBody>
        </p:sp>
        <p:sp>
          <p:nvSpPr>
            <p:cNvPr id="33" name="TextBox 35">
              <a:extLst>
                <a:ext uri="{FF2B5EF4-FFF2-40B4-BE49-F238E27FC236}">
                  <a16:creationId xmlns:a16="http://schemas.microsoft.com/office/drawing/2014/main" id="{E4806761-B3B0-4F47-AAF4-498A3866CD0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60208" y="5250782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27</a:t>
              </a:r>
            </a:p>
          </p:txBody>
        </p:sp>
        <p:sp>
          <p:nvSpPr>
            <p:cNvPr id="34" name="TextBox 35">
              <a:extLst>
                <a:ext uri="{FF2B5EF4-FFF2-40B4-BE49-F238E27FC236}">
                  <a16:creationId xmlns:a16="http://schemas.microsoft.com/office/drawing/2014/main" id="{426B31E6-799B-4951-80AB-691BBA70557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49699" y="5250782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30</a:t>
              </a:r>
            </a:p>
          </p:txBody>
        </p:sp>
        <p:sp>
          <p:nvSpPr>
            <p:cNvPr id="35" name="TextBox 35">
              <a:extLst>
                <a:ext uri="{FF2B5EF4-FFF2-40B4-BE49-F238E27FC236}">
                  <a16:creationId xmlns:a16="http://schemas.microsoft.com/office/drawing/2014/main" id="{87019B2C-800D-4FA4-A43D-40447CC806B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39192" y="5250782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33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CB586E5-07C5-4645-B37F-63E987E51D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28683" y="5250782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36</a:t>
              </a:r>
            </a:p>
          </p:txBody>
        </p:sp>
        <p:sp>
          <p:nvSpPr>
            <p:cNvPr id="37" name="TextBox 35">
              <a:extLst>
                <a:ext uri="{FF2B5EF4-FFF2-40B4-BE49-F238E27FC236}">
                  <a16:creationId xmlns:a16="http://schemas.microsoft.com/office/drawing/2014/main" id="{CD9FCED0-B525-494E-AEFC-532A5D0946F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18180" y="5250782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39</a:t>
              </a: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451FF63D-74A3-4D88-B617-23546E51F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7875" y="2554288"/>
              <a:ext cx="5180013" cy="2609850"/>
            </a:xfrm>
            <a:custGeom>
              <a:avLst/>
              <a:gdLst>
                <a:gd name="T0" fmla="*/ 0 w 2024"/>
                <a:gd name="T1" fmla="*/ 0 h 1410"/>
                <a:gd name="T2" fmla="*/ 0 w 2024"/>
                <a:gd name="T3" fmla="*/ 1410 h 1410"/>
                <a:gd name="T4" fmla="*/ 2024 w 2024"/>
                <a:gd name="T5" fmla="*/ 1410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24" h="1410">
                  <a:moveTo>
                    <a:pt x="0" y="0"/>
                  </a:moveTo>
                  <a:lnTo>
                    <a:pt x="0" y="1410"/>
                  </a:lnTo>
                  <a:lnTo>
                    <a:pt x="2024" y="1410"/>
                  </a:lnTo>
                </a:path>
              </a:pathLst>
            </a:cu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9" name="Line 7">
              <a:extLst>
                <a:ext uri="{FF2B5EF4-FFF2-40B4-BE49-F238E27FC236}">
                  <a16:creationId xmlns:a16="http://schemas.microsoft.com/office/drawing/2014/main" id="{75D7122B-14A7-4D49-AAD2-5FF3A97FA2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01988" y="4673599"/>
              <a:ext cx="115887" cy="0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0" name="Line 8">
              <a:extLst>
                <a:ext uri="{FF2B5EF4-FFF2-40B4-BE49-F238E27FC236}">
                  <a16:creationId xmlns:a16="http://schemas.microsoft.com/office/drawing/2014/main" id="{17974902-80A1-4ACA-B0C3-A9A54A8287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01988" y="5164138"/>
              <a:ext cx="115887" cy="0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1" name="Line 9">
              <a:extLst>
                <a:ext uri="{FF2B5EF4-FFF2-40B4-BE49-F238E27FC236}">
                  <a16:creationId xmlns:a16="http://schemas.microsoft.com/office/drawing/2014/main" id="{546B7FB8-BB76-4E70-91B3-1AE57C0743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17875" y="5164138"/>
              <a:ext cx="0" cy="77786"/>
            </a:xfrm>
            <a:prstGeom prst="line">
              <a:avLst/>
            </a:prstGeom>
            <a:noFill/>
            <a:ln w="19050" cap="flat">
              <a:solidFill>
                <a:srgbClr val="4C5A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2" name="Line 10">
              <a:extLst>
                <a:ext uri="{FF2B5EF4-FFF2-40B4-BE49-F238E27FC236}">
                  <a16:creationId xmlns:a16="http://schemas.microsoft.com/office/drawing/2014/main" id="{A55810F9-A7E2-4054-BD52-788DF01720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5164138"/>
              <a:ext cx="0" cy="77786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3" name="Line 11">
              <a:extLst>
                <a:ext uri="{FF2B5EF4-FFF2-40B4-BE49-F238E27FC236}">
                  <a16:creationId xmlns:a16="http://schemas.microsoft.com/office/drawing/2014/main" id="{CDF532EC-12E9-41B1-A792-86E6870750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00513" y="5164138"/>
              <a:ext cx="0" cy="77786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4" name="Line 12">
              <a:extLst>
                <a:ext uri="{FF2B5EF4-FFF2-40B4-BE49-F238E27FC236}">
                  <a16:creationId xmlns:a16="http://schemas.microsoft.com/office/drawing/2014/main" id="{7BC78506-336B-4032-A4C7-A1C672AA94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87862" y="5164138"/>
              <a:ext cx="0" cy="77786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5" name="Line 13">
              <a:extLst>
                <a:ext uri="{FF2B5EF4-FFF2-40B4-BE49-F238E27FC236}">
                  <a16:creationId xmlns:a16="http://schemas.microsoft.com/office/drawing/2014/main" id="{DF73DB01-2C6C-40FC-8731-AF0674AB28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8388" y="5164138"/>
              <a:ext cx="0" cy="77786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6" name="Line 14">
              <a:extLst>
                <a:ext uri="{FF2B5EF4-FFF2-40B4-BE49-F238E27FC236}">
                  <a16:creationId xmlns:a16="http://schemas.microsoft.com/office/drawing/2014/main" id="{7E210047-7B58-49DB-AA5B-2A9EA8E6B9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70499" y="5164138"/>
              <a:ext cx="0" cy="77786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7" name="Line 15">
              <a:extLst>
                <a:ext uri="{FF2B5EF4-FFF2-40B4-BE49-F238E27FC236}">
                  <a16:creationId xmlns:a16="http://schemas.microsoft.com/office/drawing/2014/main" id="{664C2FA9-FE91-461F-B883-51AAAA7D96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62613" y="5164138"/>
              <a:ext cx="0" cy="77786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8" name="Line 16">
              <a:extLst>
                <a:ext uri="{FF2B5EF4-FFF2-40B4-BE49-F238E27FC236}">
                  <a16:creationId xmlns:a16="http://schemas.microsoft.com/office/drawing/2014/main" id="{5C22F3E9-F4D1-408A-826E-389E7503B9C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48375" y="5164138"/>
              <a:ext cx="0" cy="77786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9" name="Line 17">
              <a:extLst>
                <a:ext uri="{FF2B5EF4-FFF2-40B4-BE49-F238E27FC236}">
                  <a16:creationId xmlns:a16="http://schemas.microsoft.com/office/drawing/2014/main" id="{3CEBC887-7CD4-4D64-8D8C-336F58887B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43663" y="5164138"/>
              <a:ext cx="0" cy="77786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0" name="Line 18">
              <a:extLst>
                <a:ext uri="{FF2B5EF4-FFF2-40B4-BE49-F238E27FC236}">
                  <a16:creationId xmlns:a16="http://schemas.microsoft.com/office/drawing/2014/main" id="{6BA84D8C-69D5-4068-832A-2B418FAF25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34187" y="5164138"/>
              <a:ext cx="0" cy="77786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1" name="Line 19">
              <a:extLst>
                <a:ext uri="{FF2B5EF4-FFF2-40B4-BE49-F238E27FC236}">
                  <a16:creationId xmlns:a16="http://schemas.microsoft.com/office/drawing/2014/main" id="{F52AE9FC-ABF6-4060-87C7-B553D1705F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21538" y="5164138"/>
              <a:ext cx="0" cy="77786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2" name="Line 20">
              <a:extLst>
                <a:ext uri="{FF2B5EF4-FFF2-40B4-BE49-F238E27FC236}">
                  <a16:creationId xmlns:a16="http://schemas.microsoft.com/office/drawing/2014/main" id="{DF9FB91E-9553-4D16-AE21-1F4702A4BA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12063" y="5164138"/>
              <a:ext cx="0" cy="77786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3" name="Line 21">
              <a:extLst>
                <a:ext uri="{FF2B5EF4-FFF2-40B4-BE49-F238E27FC236}">
                  <a16:creationId xmlns:a16="http://schemas.microsoft.com/office/drawing/2014/main" id="{9AD58869-885A-4773-805E-F7980D0D13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04175" y="5164138"/>
              <a:ext cx="0" cy="77786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4" name="Line 22">
              <a:extLst>
                <a:ext uri="{FF2B5EF4-FFF2-40B4-BE49-F238E27FC236}">
                  <a16:creationId xmlns:a16="http://schemas.microsoft.com/office/drawing/2014/main" id="{1E6FB272-4E3E-4386-A6E2-7B1E5A0AB3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96287" y="5164138"/>
              <a:ext cx="0" cy="77786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5" name="Line 23">
              <a:extLst>
                <a:ext uri="{FF2B5EF4-FFF2-40B4-BE49-F238E27FC236}">
                  <a16:creationId xmlns:a16="http://schemas.microsoft.com/office/drawing/2014/main" id="{9A7D460D-3FF0-4B94-9BA1-CD73A1A186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01988" y="3700463"/>
              <a:ext cx="115887" cy="0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6" name="Line 24">
              <a:extLst>
                <a:ext uri="{FF2B5EF4-FFF2-40B4-BE49-F238E27FC236}">
                  <a16:creationId xmlns:a16="http://schemas.microsoft.com/office/drawing/2014/main" id="{30B009AF-5162-4B8A-954D-93266DFD7D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01988" y="4187825"/>
              <a:ext cx="115887" cy="0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7" name="Line 25">
              <a:extLst>
                <a:ext uri="{FF2B5EF4-FFF2-40B4-BE49-F238E27FC236}">
                  <a16:creationId xmlns:a16="http://schemas.microsoft.com/office/drawing/2014/main" id="{110F8184-A1CC-4F27-A2F6-120A809E0E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01988" y="2724150"/>
              <a:ext cx="115887" cy="0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8" name="Line 26">
              <a:extLst>
                <a:ext uri="{FF2B5EF4-FFF2-40B4-BE49-F238E27FC236}">
                  <a16:creationId xmlns:a16="http://schemas.microsoft.com/office/drawing/2014/main" id="{1FC4FD2B-AAB3-485B-9F9D-24865C9BCD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01988" y="3211513"/>
              <a:ext cx="115887" cy="0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9" name="Freeform 27">
              <a:extLst>
                <a:ext uri="{FF2B5EF4-FFF2-40B4-BE49-F238E27FC236}">
                  <a16:creationId xmlns:a16="http://schemas.microsoft.com/office/drawing/2014/main" id="{290DB2FA-B227-4EA2-AEA9-403CCEAC3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9938" y="2724150"/>
              <a:ext cx="4392612" cy="2430463"/>
            </a:xfrm>
            <a:custGeom>
              <a:avLst/>
              <a:gdLst>
                <a:gd name="T0" fmla="*/ 1537 w 1716"/>
                <a:gd name="T1" fmla="*/ 1124 h 1313"/>
                <a:gd name="T2" fmla="*/ 1438 w 1716"/>
                <a:gd name="T3" fmla="*/ 1049 h 1313"/>
                <a:gd name="T4" fmla="*/ 1374 w 1716"/>
                <a:gd name="T5" fmla="*/ 1008 h 1313"/>
                <a:gd name="T6" fmla="*/ 1318 w 1716"/>
                <a:gd name="T7" fmla="*/ 973 h 1313"/>
                <a:gd name="T8" fmla="*/ 1242 w 1716"/>
                <a:gd name="T9" fmla="*/ 959 h 1313"/>
                <a:gd name="T10" fmla="*/ 1219 w 1716"/>
                <a:gd name="T11" fmla="*/ 909 h 1313"/>
                <a:gd name="T12" fmla="*/ 1103 w 1716"/>
                <a:gd name="T13" fmla="*/ 881 h 1313"/>
                <a:gd name="T14" fmla="*/ 990 w 1716"/>
                <a:gd name="T15" fmla="*/ 834 h 1313"/>
                <a:gd name="T16" fmla="*/ 948 w 1716"/>
                <a:gd name="T17" fmla="*/ 824 h 1313"/>
                <a:gd name="T18" fmla="*/ 908 w 1716"/>
                <a:gd name="T19" fmla="*/ 791 h 1313"/>
                <a:gd name="T20" fmla="*/ 886 w 1716"/>
                <a:gd name="T21" fmla="*/ 779 h 1313"/>
                <a:gd name="T22" fmla="*/ 877 w 1716"/>
                <a:gd name="T23" fmla="*/ 763 h 1313"/>
                <a:gd name="T24" fmla="*/ 861 w 1716"/>
                <a:gd name="T25" fmla="*/ 751 h 1313"/>
                <a:gd name="T26" fmla="*/ 844 w 1716"/>
                <a:gd name="T27" fmla="*/ 739 h 1313"/>
                <a:gd name="T28" fmla="*/ 830 w 1716"/>
                <a:gd name="T29" fmla="*/ 730 h 1313"/>
                <a:gd name="T30" fmla="*/ 818 w 1716"/>
                <a:gd name="T31" fmla="*/ 718 h 1313"/>
                <a:gd name="T32" fmla="*/ 806 w 1716"/>
                <a:gd name="T33" fmla="*/ 709 h 1313"/>
                <a:gd name="T34" fmla="*/ 797 w 1716"/>
                <a:gd name="T35" fmla="*/ 692 h 1313"/>
                <a:gd name="T36" fmla="*/ 785 w 1716"/>
                <a:gd name="T37" fmla="*/ 683 h 1313"/>
                <a:gd name="T38" fmla="*/ 776 w 1716"/>
                <a:gd name="T39" fmla="*/ 666 h 1313"/>
                <a:gd name="T40" fmla="*/ 754 w 1716"/>
                <a:gd name="T41" fmla="*/ 654 h 1313"/>
                <a:gd name="T42" fmla="*/ 747 w 1716"/>
                <a:gd name="T43" fmla="*/ 643 h 1313"/>
                <a:gd name="T44" fmla="*/ 736 w 1716"/>
                <a:gd name="T45" fmla="*/ 633 h 1313"/>
                <a:gd name="T46" fmla="*/ 721 w 1716"/>
                <a:gd name="T47" fmla="*/ 617 h 1313"/>
                <a:gd name="T48" fmla="*/ 710 w 1716"/>
                <a:gd name="T49" fmla="*/ 605 h 1313"/>
                <a:gd name="T50" fmla="*/ 703 w 1716"/>
                <a:gd name="T51" fmla="*/ 584 h 1313"/>
                <a:gd name="T52" fmla="*/ 672 w 1716"/>
                <a:gd name="T53" fmla="*/ 567 h 1313"/>
                <a:gd name="T54" fmla="*/ 646 w 1716"/>
                <a:gd name="T55" fmla="*/ 548 h 1313"/>
                <a:gd name="T56" fmla="*/ 625 w 1716"/>
                <a:gd name="T57" fmla="*/ 539 h 1313"/>
                <a:gd name="T58" fmla="*/ 613 w 1716"/>
                <a:gd name="T59" fmla="*/ 522 h 1313"/>
                <a:gd name="T60" fmla="*/ 601 w 1716"/>
                <a:gd name="T61" fmla="*/ 513 h 1313"/>
                <a:gd name="T62" fmla="*/ 597 w 1716"/>
                <a:gd name="T63" fmla="*/ 499 h 1313"/>
                <a:gd name="T64" fmla="*/ 585 w 1716"/>
                <a:gd name="T65" fmla="*/ 489 h 1313"/>
                <a:gd name="T66" fmla="*/ 580 w 1716"/>
                <a:gd name="T67" fmla="*/ 470 h 1313"/>
                <a:gd name="T68" fmla="*/ 519 w 1716"/>
                <a:gd name="T69" fmla="*/ 444 h 1313"/>
                <a:gd name="T70" fmla="*/ 502 w 1716"/>
                <a:gd name="T71" fmla="*/ 430 h 1313"/>
                <a:gd name="T72" fmla="*/ 486 w 1716"/>
                <a:gd name="T73" fmla="*/ 416 h 1313"/>
                <a:gd name="T74" fmla="*/ 476 w 1716"/>
                <a:gd name="T75" fmla="*/ 399 h 1313"/>
                <a:gd name="T76" fmla="*/ 465 w 1716"/>
                <a:gd name="T77" fmla="*/ 390 h 1313"/>
                <a:gd name="T78" fmla="*/ 455 w 1716"/>
                <a:gd name="T79" fmla="*/ 366 h 1313"/>
                <a:gd name="T80" fmla="*/ 432 w 1716"/>
                <a:gd name="T81" fmla="*/ 352 h 1313"/>
                <a:gd name="T82" fmla="*/ 415 w 1716"/>
                <a:gd name="T83" fmla="*/ 336 h 1313"/>
                <a:gd name="T84" fmla="*/ 406 w 1716"/>
                <a:gd name="T85" fmla="*/ 307 h 1313"/>
                <a:gd name="T86" fmla="*/ 391 w 1716"/>
                <a:gd name="T87" fmla="*/ 291 h 1313"/>
                <a:gd name="T88" fmla="*/ 370 w 1716"/>
                <a:gd name="T89" fmla="*/ 246 h 1313"/>
                <a:gd name="T90" fmla="*/ 333 w 1716"/>
                <a:gd name="T91" fmla="*/ 232 h 1313"/>
                <a:gd name="T92" fmla="*/ 325 w 1716"/>
                <a:gd name="T93" fmla="*/ 215 h 1313"/>
                <a:gd name="T94" fmla="*/ 309 w 1716"/>
                <a:gd name="T95" fmla="*/ 201 h 1313"/>
                <a:gd name="T96" fmla="*/ 300 w 1716"/>
                <a:gd name="T97" fmla="*/ 185 h 1313"/>
                <a:gd name="T98" fmla="*/ 288 w 1716"/>
                <a:gd name="T99" fmla="*/ 168 h 1313"/>
                <a:gd name="T100" fmla="*/ 269 w 1716"/>
                <a:gd name="T101" fmla="*/ 140 h 1313"/>
                <a:gd name="T102" fmla="*/ 236 w 1716"/>
                <a:gd name="T103" fmla="*/ 130 h 1313"/>
                <a:gd name="T104" fmla="*/ 222 w 1716"/>
                <a:gd name="T105" fmla="*/ 102 h 1313"/>
                <a:gd name="T106" fmla="*/ 198 w 1716"/>
                <a:gd name="T107" fmla="*/ 85 h 1313"/>
                <a:gd name="T108" fmla="*/ 177 w 1716"/>
                <a:gd name="T109" fmla="*/ 69 h 1313"/>
                <a:gd name="T110" fmla="*/ 153 w 1716"/>
                <a:gd name="T111" fmla="*/ 57 h 1313"/>
                <a:gd name="T112" fmla="*/ 130 w 1716"/>
                <a:gd name="T113" fmla="*/ 48 h 1313"/>
                <a:gd name="T114" fmla="*/ 120 w 1716"/>
                <a:gd name="T115" fmla="*/ 29 h 1313"/>
                <a:gd name="T116" fmla="*/ 90 w 1716"/>
                <a:gd name="T117" fmla="*/ 17 h 1313"/>
                <a:gd name="T118" fmla="*/ 64 w 1716"/>
                <a:gd name="T119" fmla="*/ 5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16" h="1313">
                  <a:moveTo>
                    <a:pt x="1716" y="1313"/>
                  </a:moveTo>
                  <a:lnTo>
                    <a:pt x="1716" y="1223"/>
                  </a:lnTo>
                  <a:lnTo>
                    <a:pt x="1655" y="1223"/>
                  </a:lnTo>
                  <a:lnTo>
                    <a:pt x="1655" y="1124"/>
                  </a:lnTo>
                  <a:lnTo>
                    <a:pt x="1537" y="1124"/>
                  </a:lnTo>
                  <a:lnTo>
                    <a:pt x="1537" y="1103"/>
                  </a:lnTo>
                  <a:lnTo>
                    <a:pt x="1485" y="1103"/>
                  </a:lnTo>
                  <a:lnTo>
                    <a:pt x="1485" y="1077"/>
                  </a:lnTo>
                  <a:lnTo>
                    <a:pt x="1438" y="1077"/>
                  </a:lnTo>
                  <a:lnTo>
                    <a:pt x="1438" y="1049"/>
                  </a:lnTo>
                  <a:lnTo>
                    <a:pt x="1400" y="1049"/>
                  </a:lnTo>
                  <a:lnTo>
                    <a:pt x="1400" y="1039"/>
                  </a:lnTo>
                  <a:lnTo>
                    <a:pt x="1396" y="1039"/>
                  </a:lnTo>
                  <a:lnTo>
                    <a:pt x="1396" y="1008"/>
                  </a:lnTo>
                  <a:lnTo>
                    <a:pt x="1374" y="1008"/>
                  </a:lnTo>
                  <a:lnTo>
                    <a:pt x="1374" y="999"/>
                  </a:lnTo>
                  <a:lnTo>
                    <a:pt x="1367" y="999"/>
                  </a:lnTo>
                  <a:lnTo>
                    <a:pt x="1367" y="983"/>
                  </a:lnTo>
                  <a:lnTo>
                    <a:pt x="1318" y="983"/>
                  </a:lnTo>
                  <a:lnTo>
                    <a:pt x="1318" y="973"/>
                  </a:lnTo>
                  <a:lnTo>
                    <a:pt x="1266" y="973"/>
                  </a:lnTo>
                  <a:lnTo>
                    <a:pt x="1266" y="966"/>
                  </a:lnTo>
                  <a:lnTo>
                    <a:pt x="1261" y="966"/>
                  </a:lnTo>
                  <a:lnTo>
                    <a:pt x="1261" y="959"/>
                  </a:lnTo>
                  <a:lnTo>
                    <a:pt x="1242" y="959"/>
                  </a:lnTo>
                  <a:lnTo>
                    <a:pt x="1242" y="952"/>
                  </a:lnTo>
                  <a:lnTo>
                    <a:pt x="1238" y="952"/>
                  </a:lnTo>
                  <a:lnTo>
                    <a:pt x="1238" y="916"/>
                  </a:lnTo>
                  <a:lnTo>
                    <a:pt x="1219" y="916"/>
                  </a:lnTo>
                  <a:lnTo>
                    <a:pt x="1219" y="909"/>
                  </a:lnTo>
                  <a:lnTo>
                    <a:pt x="1186" y="909"/>
                  </a:lnTo>
                  <a:lnTo>
                    <a:pt x="1186" y="893"/>
                  </a:lnTo>
                  <a:lnTo>
                    <a:pt x="1169" y="893"/>
                  </a:lnTo>
                  <a:lnTo>
                    <a:pt x="1169" y="881"/>
                  </a:lnTo>
                  <a:lnTo>
                    <a:pt x="1103" y="881"/>
                  </a:lnTo>
                  <a:lnTo>
                    <a:pt x="1103" y="867"/>
                  </a:lnTo>
                  <a:lnTo>
                    <a:pt x="1054" y="867"/>
                  </a:lnTo>
                  <a:lnTo>
                    <a:pt x="1054" y="853"/>
                  </a:lnTo>
                  <a:lnTo>
                    <a:pt x="990" y="853"/>
                  </a:lnTo>
                  <a:lnTo>
                    <a:pt x="990" y="834"/>
                  </a:lnTo>
                  <a:lnTo>
                    <a:pt x="986" y="834"/>
                  </a:lnTo>
                  <a:lnTo>
                    <a:pt x="986" y="829"/>
                  </a:lnTo>
                  <a:lnTo>
                    <a:pt x="981" y="829"/>
                  </a:lnTo>
                  <a:lnTo>
                    <a:pt x="981" y="824"/>
                  </a:lnTo>
                  <a:lnTo>
                    <a:pt x="948" y="824"/>
                  </a:lnTo>
                  <a:lnTo>
                    <a:pt x="948" y="810"/>
                  </a:lnTo>
                  <a:lnTo>
                    <a:pt x="912" y="810"/>
                  </a:lnTo>
                  <a:lnTo>
                    <a:pt x="912" y="796"/>
                  </a:lnTo>
                  <a:lnTo>
                    <a:pt x="908" y="796"/>
                  </a:lnTo>
                  <a:lnTo>
                    <a:pt x="908" y="791"/>
                  </a:lnTo>
                  <a:lnTo>
                    <a:pt x="903" y="791"/>
                  </a:lnTo>
                  <a:lnTo>
                    <a:pt x="903" y="784"/>
                  </a:lnTo>
                  <a:lnTo>
                    <a:pt x="896" y="784"/>
                  </a:lnTo>
                  <a:lnTo>
                    <a:pt x="896" y="779"/>
                  </a:lnTo>
                  <a:lnTo>
                    <a:pt x="886" y="779"/>
                  </a:lnTo>
                  <a:lnTo>
                    <a:pt x="886" y="775"/>
                  </a:lnTo>
                  <a:lnTo>
                    <a:pt x="882" y="775"/>
                  </a:lnTo>
                  <a:lnTo>
                    <a:pt x="882" y="768"/>
                  </a:lnTo>
                  <a:lnTo>
                    <a:pt x="877" y="768"/>
                  </a:lnTo>
                  <a:lnTo>
                    <a:pt x="877" y="763"/>
                  </a:lnTo>
                  <a:lnTo>
                    <a:pt x="872" y="763"/>
                  </a:lnTo>
                  <a:lnTo>
                    <a:pt x="872" y="756"/>
                  </a:lnTo>
                  <a:lnTo>
                    <a:pt x="870" y="756"/>
                  </a:lnTo>
                  <a:lnTo>
                    <a:pt x="870" y="751"/>
                  </a:lnTo>
                  <a:lnTo>
                    <a:pt x="861" y="751"/>
                  </a:lnTo>
                  <a:lnTo>
                    <a:pt x="861" y="749"/>
                  </a:lnTo>
                  <a:lnTo>
                    <a:pt x="851" y="749"/>
                  </a:lnTo>
                  <a:lnTo>
                    <a:pt x="851" y="742"/>
                  </a:lnTo>
                  <a:lnTo>
                    <a:pt x="844" y="742"/>
                  </a:lnTo>
                  <a:lnTo>
                    <a:pt x="844" y="739"/>
                  </a:lnTo>
                  <a:lnTo>
                    <a:pt x="842" y="739"/>
                  </a:lnTo>
                  <a:lnTo>
                    <a:pt x="842" y="737"/>
                  </a:lnTo>
                  <a:lnTo>
                    <a:pt x="837" y="737"/>
                  </a:lnTo>
                  <a:lnTo>
                    <a:pt x="837" y="730"/>
                  </a:lnTo>
                  <a:lnTo>
                    <a:pt x="830" y="730"/>
                  </a:lnTo>
                  <a:lnTo>
                    <a:pt x="830" y="728"/>
                  </a:lnTo>
                  <a:lnTo>
                    <a:pt x="823" y="728"/>
                  </a:lnTo>
                  <a:lnTo>
                    <a:pt x="823" y="720"/>
                  </a:lnTo>
                  <a:lnTo>
                    <a:pt x="818" y="720"/>
                  </a:lnTo>
                  <a:lnTo>
                    <a:pt x="818" y="718"/>
                  </a:lnTo>
                  <a:lnTo>
                    <a:pt x="813" y="718"/>
                  </a:lnTo>
                  <a:lnTo>
                    <a:pt x="813" y="713"/>
                  </a:lnTo>
                  <a:lnTo>
                    <a:pt x="809" y="713"/>
                  </a:lnTo>
                  <a:lnTo>
                    <a:pt x="809" y="709"/>
                  </a:lnTo>
                  <a:lnTo>
                    <a:pt x="806" y="709"/>
                  </a:lnTo>
                  <a:lnTo>
                    <a:pt x="806" y="702"/>
                  </a:lnTo>
                  <a:lnTo>
                    <a:pt x="802" y="702"/>
                  </a:lnTo>
                  <a:lnTo>
                    <a:pt x="802" y="697"/>
                  </a:lnTo>
                  <a:lnTo>
                    <a:pt x="797" y="697"/>
                  </a:lnTo>
                  <a:lnTo>
                    <a:pt x="797" y="692"/>
                  </a:lnTo>
                  <a:lnTo>
                    <a:pt x="795" y="692"/>
                  </a:lnTo>
                  <a:lnTo>
                    <a:pt x="795" y="687"/>
                  </a:lnTo>
                  <a:lnTo>
                    <a:pt x="790" y="687"/>
                  </a:lnTo>
                  <a:lnTo>
                    <a:pt x="790" y="683"/>
                  </a:lnTo>
                  <a:lnTo>
                    <a:pt x="785" y="683"/>
                  </a:lnTo>
                  <a:lnTo>
                    <a:pt x="785" y="676"/>
                  </a:lnTo>
                  <a:lnTo>
                    <a:pt x="780" y="676"/>
                  </a:lnTo>
                  <a:lnTo>
                    <a:pt x="780" y="671"/>
                  </a:lnTo>
                  <a:lnTo>
                    <a:pt x="776" y="671"/>
                  </a:lnTo>
                  <a:lnTo>
                    <a:pt x="776" y="666"/>
                  </a:lnTo>
                  <a:lnTo>
                    <a:pt x="764" y="666"/>
                  </a:lnTo>
                  <a:lnTo>
                    <a:pt x="764" y="659"/>
                  </a:lnTo>
                  <a:lnTo>
                    <a:pt x="759" y="659"/>
                  </a:lnTo>
                  <a:lnTo>
                    <a:pt x="759" y="654"/>
                  </a:lnTo>
                  <a:lnTo>
                    <a:pt x="754" y="654"/>
                  </a:lnTo>
                  <a:lnTo>
                    <a:pt x="754" y="650"/>
                  </a:lnTo>
                  <a:lnTo>
                    <a:pt x="752" y="650"/>
                  </a:lnTo>
                  <a:lnTo>
                    <a:pt x="752" y="645"/>
                  </a:lnTo>
                  <a:lnTo>
                    <a:pt x="747" y="645"/>
                  </a:lnTo>
                  <a:lnTo>
                    <a:pt x="747" y="643"/>
                  </a:lnTo>
                  <a:lnTo>
                    <a:pt x="745" y="643"/>
                  </a:lnTo>
                  <a:lnTo>
                    <a:pt x="745" y="638"/>
                  </a:lnTo>
                  <a:lnTo>
                    <a:pt x="740" y="638"/>
                  </a:lnTo>
                  <a:lnTo>
                    <a:pt x="740" y="633"/>
                  </a:lnTo>
                  <a:lnTo>
                    <a:pt x="736" y="633"/>
                  </a:lnTo>
                  <a:lnTo>
                    <a:pt x="736" y="631"/>
                  </a:lnTo>
                  <a:lnTo>
                    <a:pt x="733" y="631"/>
                  </a:lnTo>
                  <a:lnTo>
                    <a:pt x="733" y="624"/>
                  </a:lnTo>
                  <a:lnTo>
                    <a:pt x="721" y="624"/>
                  </a:lnTo>
                  <a:lnTo>
                    <a:pt x="721" y="617"/>
                  </a:lnTo>
                  <a:lnTo>
                    <a:pt x="719" y="617"/>
                  </a:lnTo>
                  <a:lnTo>
                    <a:pt x="719" y="612"/>
                  </a:lnTo>
                  <a:lnTo>
                    <a:pt x="714" y="612"/>
                  </a:lnTo>
                  <a:lnTo>
                    <a:pt x="714" y="605"/>
                  </a:lnTo>
                  <a:lnTo>
                    <a:pt x="710" y="605"/>
                  </a:lnTo>
                  <a:lnTo>
                    <a:pt x="710" y="600"/>
                  </a:lnTo>
                  <a:lnTo>
                    <a:pt x="707" y="600"/>
                  </a:lnTo>
                  <a:lnTo>
                    <a:pt x="707" y="593"/>
                  </a:lnTo>
                  <a:lnTo>
                    <a:pt x="703" y="593"/>
                  </a:lnTo>
                  <a:lnTo>
                    <a:pt x="703" y="584"/>
                  </a:lnTo>
                  <a:lnTo>
                    <a:pt x="700" y="584"/>
                  </a:lnTo>
                  <a:lnTo>
                    <a:pt x="700" y="574"/>
                  </a:lnTo>
                  <a:lnTo>
                    <a:pt x="677" y="574"/>
                  </a:lnTo>
                  <a:lnTo>
                    <a:pt x="677" y="567"/>
                  </a:lnTo>
                  <a:lnTo>
                    <a:pt x="672" y="567"/>
                  </a:lnTo>
                  <a:lnTo>
                    <a:pt x="672" y="560"/>
                  </a:lnTo>
                  <a:lnTo>
                    <a:pt x="651" y="560"/>
                  </a:lnTo>
                  <a:lnTo>
                    <a:pt x="651" y="555"/>
                  </a:lnTo>
                  <a:lnTo>
                    <a:pt x="646" y="555"/>
                  </a:lnTo>
                  <a:lnTo>
                    <a:pt x="646" y="548"/>
                  </a:lnTo>
                  <a:lnTo>
                    <a:pt x="641" y="548"/>
                  </a:lnTo>
                  <a:lnTo>
                    <a:pt x="641" y="543"/>
                  </a:lnTo>
                  <a:lnTo>
                    <a:pt x="634" y="543"/>
                  </a:lnTo>
                  <a:lnTo>
                    <a:pt x="634" y="539"/>
                  </a:lnTo>
                  <a:lnTo>
                    <a:pt x="625" y="539"/>
                  </a:lnTo>
                  <a:lnTo>
                    <a:pt x="625" y="534"/>
                  </a:lnTo>
                  <a:lnTo>
                    <a:pt x="615" y="534"/>
                  </a:lnTo>
                  <a:lnTo>
                    <a:pt x="615" y="527"/>
                  </a:lnTo>
                  <a:lnTo>
                    <a:pt x="613" y="527"/>
                  </a:lnTo>
                  <a:lnTo>
                    <a:pt x="613" y="522"/>
                  </a:lnTo>
                  <a:lnTo>
                    <a:pt x="608" y="522"/>
                  </a:lnTo>
                  <a:lnTo>
                    <a:pt x="608" y="517"/>
                  </a:lnTo>
                  <a:lnTo>
                    <a:pt x="606" y="517"/>
                  </a:lnTo>
                  <a:lnTo>
                    <a:pt x="606" y="513"/>
                  </a:lnTo>
                  <a:lnTo>
                    <a:pt x="601" y="513"/>
                  </a:lnTo>
                  <a:lnTo>
                    <a:pt x="601" y="508"/>
                  </a:lnTo>
                  <a:lnTo>
                    <a:pt x="599" y="508"/>
                  </a:lnTo>
                  <a:lnTo>
                    <a:pt x="599" y="503"/>
                  </a:lnTo>
                  <a:lnTo>
                    <a:pt x="597" y="503"/>
                  </a:lnTo>
                  <a:lnTo>
                    <a:pt x="597" y="499"/>
                  </a:lnTo>
                  <a:lnTo>
                    <a:pt x="594" y="499"/>
                  </a:lnTo>
                  <a:lnTo>
                    <a:pt x="594" y="494"/>
                  </a:lnTo>
                  <a:lnTo>
                    <a:pt x="589" y="494"/>
                  </a:lnTo>
                  <a:lnTo>
                    <a:pt x="589" y="489"/>
                  </a:lnTo>
                  <a:lnTo>
                    <a:pt x="585" y="489"/>
                  </a:lnTo>
                  <a:lnTo>
                    <a:pt x="585" y="482"/>
                  </a:lnTo>
                  <a:lnTo>
                    <a:pt x="582" y="482"/>
                  </a:lnTo>
                  <a:lnTo>
                    <a:pt x="582" y="477"/>
                  </a:lnTo>
                  <a:lnTo>
                    <a:pt x="580" y="477"/>
                  </a:lnTo>
                  <a:lnTo>
                    <a:pt x="580" y="470"/>
                  </a:lnTo>
                  <a:lnTo>
                    <a:pt x="538" y="470"/>
                  </a:lnTo>
                  <a:lnTo>
                    <a:pt x="538" y="451"/>
                  </a:lnTo>
                  <a:lnTo>
                    <a:pt x="523" y="451"/>
                  </a:lnTo>
                  <a:lnTo>
                    <a:pt x="523" y="444"/>
                  </a:lnTo>
                  <a:lnTo>
                    <a:pt x="519" y="444"/>
                  </a:lnTo>
                  <a:lnTo>
                    <a:pt x="519" y="440"/>
                  </a:lnTo>
                  <a:lnTo>
                    <a:pt x="512" y="440"/>
                  </a:lnTo>
                  <a:lnTo>
                    <a:pt x="512" y="435"/>
                  </a:lnTo>
                  <a:lnTo>
                    <a:pt x="502" y="435"/>
                  </a:lnTo>
                  <a:lnTo>
                    <a:pt x="502" y="430"/>
                  </a:lnTo>
                  <a:lnTo>
                    <a:pt x="495" y="430"/>
                  </a:lnTo>
                  <a:lnTo>
                    <a:pt x="495" y="423"/>
                  </a:lnTo>
                  <a:lnTo>
                    <a:pt x="490" y="423"/>
                  </a:lnTo>
                  <a:lnTo>
                    <a:pt x="490" y="416"/>
                  </a:lnTo>
                  <a:lnTo>
                    <a:pt x="486" y="416"/>
                  </a:lnTo>
                  <a:lnTo>
                    <a:pt x="486" y="411"/>
                  </a:lnTo>
                  <a:lnTo>
                    <a:pt x="481" y="411"/>
                  </a:lnTo>
                  <a:lnTo>
                    <a:pt x="481" y="407"/>
                  </a:lnTo>
                  <a:lnTo>
                    <a:pt x="476" y="407"/>
                  </a:lnTo>
                  <a:lnTo>
                    <a:pt x="476" y="399"/>
                  </a:lnTo>
                  <a:lnTo>
                    <a:pt x="472" y="399"/>
                  </a:lnTo>
                  <a:lnTo>
                    <a:pt x="472" y="395"/>
                  </a:lnTo>
                  <a:lnTo>
                    <a:pt x="469" y="395"/>
                  </a:lnTo>
                  <a:lnTo>
                    <a:pt x="469" y="390"/>
                  </a:lnTo>
                  <a:lnTo>
                    <a:pt x="465" y="390"/>
                  </a:lnTo>
                  <a:lnTo>
                    <a:pt x="465" y="381"/>
                  </a:lnTo>
                  <a:lnTo>
                    <a:pt x="460" y="381"/>
                  </a:lnTo>
                  <a:lnTo>
                    <a:pt x="460" y="373"/>
                  </a:lnTo>
                  <a:lnTo>
                    <a:pt x="455" y="373"/>
                  </a:lnTo>
                  <a:lnTo>
                    <a:pt x="455" y="366"/>
                  </a:lnTo>
                  <a:lnTo>
                    <a:pt x="439" y="366"/>
                  </a:lnTo>
                  <a:lnTo>
                    <a:pt x="436" y="366"/>
                  </a:lnTo>
                  <a:lnTo>
                    <a:pt x="436" y="357"/>
                  </a:lnTo>
                  <a:lnTo>
                    <a:pt x="432" y="357"/>
                  </a:lnTo>
                  <a:lnTo>
                    <a:pt x="432" y="352"/>
                  </a:lnTo>
                  <a:lnTo>
                    <a:pt x="427" y="352"/>
                  </a:lnTo>
                  <a:lnTo>
                    <a:pt x="427" y="345"/>
                  </a:lnTo>
                  <a:lnTo>
                    <a:pt x="420" y="345"/>
                  </a:lnTo>
                  <a:lnTo>
                    <a:pt x="420" y="336"/>
                  </a:lnTo>
                  <a:lnTo>
                    <a:pt x="415" y="336"/>
                  </a:lnTo>
                  <a:lnTo>
                    <a:pt x="415" y="329"/>
                  </a:lnTo>
                  <a:lnTo>
                    <a:pt x="410" y="329"/>
                  </a:lnTo>
                  <a:lnTo>
                    <a:pt x="410" y="319"/>
                  </a:lnTo>
                  <a:lnTo>
                    <a:pt x="406" y="319"/>
                  </a:lnTo>
                  <a:lnTo>
                    <a:pt x="406" y="307"/>
                  </a:lnTo>
                  <a:lnTo>
                    <a:pt x="399" y="307"/>
                  </a:lnTo>
                  <a:lnTo>
                    <a:pt x="399" y="300"/>
                  </a:lnTo>
                  <a:lnTo>
                    <a:pt x="394" y="300"/>
                  </a:lnTo>
                  <a:lnTo>
                    <a:pt x="394" y="291"/>
                  </a:lnTo>
                  <a:lnTo>
                    <a:pt x="391" y="291"/>
                  </a:lnTo>
                  <a:lnTo>
                    <a:pt x="391" y="284"/>
                  </a:lnTo>
                  <a:lnTo>
                    <a:pt x="387" y="284"/>
                  </a:lnTo>
                  <a:lnTo>
                    <a:pt x="387" y="277"/>
                  </a:lnTo>
                  <a:lnTo>
                    <a:pt x="370" y="277"/>
                  </a:lnTo>
                  <a:lnTo>
                    <a:pt x="370" y="246"/>
                  </a:lnTo>
                  <a:lnTo>
                    <a:pt x="344" y="246"/>
                  </a:lnTo>
                  <a:lnTo>
                    <a:pt x="344" y="239"/>
                  </a:lnTo>
                  <a:lnTo>
                    <a:pt x="337" y="239"/>
                  </a:lnTo>
                  <a:lnTo>
                    <a:pt x="337" y="232"/>
                  </a:lnTo>
                  <a:lnTo>
                    <a:pt x="333" y="232"/>
                  </a:lnTo>
                  <a:lnTo>
                    <a:pt x="333" y="227"/>
                  </a:lnTo>
                  <a:lnTo>
                    <a:pt x="330" y="227"/>
                  </a:lnTo>
                  <a:lnTo>
                    <a:pt x="330" y="222"/>
                  </a:lnTo>
                  <a:lnTo>
                    <a:pt x="325" y="222"/>
                  </a:lnTo>
                  <a:lnTo>
                    <a:pt x="325" y="215"/>
                  </a:lnTo>
                  <a:lnTo>
                    <a:pt x="321" y="215"/>
                  </a:lnTo>
                  <a:lnTo>
                    <a:pt x="321" y="211"/>
                  </a:lnTo>
                  <a:lnTo>
                    <a:pt x="314" y="211"/>
                  </a:lnTo>
                  <a:lnTo>
                    <a:pt x="314" y="201"/>
                  </a:lnTo>
                  <a:lnTo>
                    <a:pt x="309" y="201"/>
                  </a:lnTo>
                  <a:lnTo>
                    <a:pt x="309" y="196"/>
                  </a:lnTo>
                  <a:lnTo>
                    <a:pt x="304" y="196"/>
                  </a:lnTo>
                  <a:lnTo>
                    <a:pt x="304" y="189"/>
                  </a:lnTo>
                  <a:lnTo>
                    <a:pt x="300" y="189"/>
                  </a:lnTo>
                  <a:lnTo>
                    <a:pt x="300" y="185"/>
                  </a:lnTo>
                  <a:lnTo>
                    <a:pt x="297" y="185"/>
                  </a:lnTo>
                  <a:lnTo>
                    <a:pt x="297" y="182"/>
                  </a:lnTo>
                  <a:lnTo>
                    <a:pt x="292" y="182"/>
                  </a:lnTo>
                  <a:lnTo>
                    <a:pt x="292" y="168"/>
                  </a:lnTo>
                  <a:lnTo>
                    <a:pt x="288" y="168"/>
                  </a:lnTo>
                  <a:lnTo>
                    <a:pt x="288" y="161"/>
                  </a:lnTo>
                  <a:lnTo>
                    <a:pt x="283" y="161"/>
                  </a:lnTo>
                  <a:lnTo>
                    <a:pt x="283" y="154"/>
                  </a:lnTo>
                  <a:lnTo>
                    <a:pt x="269" y="154"/>
                  </a:lnTo>
                  <a:lnTo>
                    <a:pt x="269" y="140"/>
                  </a:lnTo>
                  <a:lnTo>
                    <a:pt x="262" y="140"/>
                  </a:lnTo>
                  <a:lnTo>
                    <a:pt x="262" y="135"/>
                  </a:lnTo>
                  <a:lnTo>
                    <a:pt x="252" y="135"/>
                  </a:lnTo>
                  <a:lnTo>
                    <a:pt x="252" y="130"/>
                  </a:lnTo>
                  <a:lnTo>
                    <a:pt x="236" y="130"/>
                  </a:lnTo>
                  <a:lnTo>
                    <a:pt x="236" y="118"/>
                  </a:lnTo>
                  <a:lnTo>
                    <a:pt x="226" y="118"/>
                  </a:lnTo>
                  <a:lnTo>
                    <a:pt x="226" y="109"/>
                  </a:lnTo>
                  <a:lnTo>
                    <a:pt x="222" y="109"/>
                  </a:lnTo>
                  <a:lnTo>
                    <a:pt x="222" y="102"/>
                  </a:lnTo>
                  <a:lnTo>
                    <a:pt x="212" y="102"/>
                  </a:lnTo>
                  <a:lnTo>
                    <a:pt x="212" y="95"/>
                  </a:lnTo>
                  <a:lnTo>
                    <a:pt x="208" y="95"/>
                  </a:lnTo>
                  <a:lnTo>
                    <a:pt x="208" y="85"/>
                  </a:lnTo>
                  <a:lnTo>
                    <a:pt x="198" y="85"/>
                  </a:lnTo>
                  <a:lnTo>
                    <a:pt x="198" y="81"/>
                  </a:lnTo>
                  <a:lnTo>
                    <a:pt x="196" y="81"/>
                  </a:lnTo>
                  <a:lnTo>
                    <a:pt x="196" y="76"/>
                  </a:lnTo>
                  <a:lnTo>
                    <a:pt x="177" y="76"/>
                  </a:lnTo>
                  <a:lnTo>
                    <a:pt x="177" y="69"/>
                  </a:lnTo>
                  <a:lnTo>
                    <a:pt x="172" y="69"/>
                  </a:lnTo>
                  <a:lnTo>
                    <a:pt x="172" y="64"/>
                  </a:lnTo>
                  <a:lnTo>
                    <a:pt x="160" y="64"/>
                  </a:lnTo>
                  <a:lnTo>
                    <a:pt x="153" y="64"/>
                  </a:lnTo>
                  <a:lnTo>
                    <a:pt x="153" y="57"/>
                  </a:lnTo>
                  <a:lnTo>
                    <a:pt x="151" y="57"/>
                  </a:lnTo>
                  <a:lnTo>
                    <a:pt x="151" y="52"/>
                  </a:lnTo>
                  <a:lnTo>
                    <a:pt x="139" y="52"/>
                  </a:lnTo>
                  <a:lnTo>
                    <a:pt x="139" y="48"/>
                  </a:lnTo>
                  <a:lnTo>
                    <a:pt x="130" y="48"/>
                  </a:lnTo>
                  <a:lnTo>
                    <a:pt x="130" y="41"/>
                  </a:lnTo>
                  <a:lnTo>
                    <a:pt x="127" y="41"/>
                  </a:lnTo>
                  <a:lnTo>
                    <a:pt x="127" y="36"/>
                  </a:lnTo>
                  <a:lnTo>
                    <a:pt x="120" y="36"/>
                  </a:lnTo>
                  <a:lnTo>
                    <a:pt x="120" y="29"/>
                  </a:lnTo>
                  <a:lnTo>
                    <a:pt x="113" y="29"/>
                  </a:lnTo>
                  <a:lnTo>
                    <a:pt x="113" y="24"/>
                  </a:lnTo>
                  <a:lnTo>
                    <a:pt x="97" y="24"/>
                  </a:lnTo>
                  <a:lnTo>
                    <a:pt x="97" y="17"/>
                  </a:lnTo>
                  <a:lnTo>
                    <a:pt x="90" y="17"/>
                  </a:lnTo>
                  <a:lnTo>
                    <a:pt x="90" y="15"/>
                  </a:lnTo>
                  <a:lnTo>
                    <a:pt x="78" y="15"/>
                  </a:lnTo>
                  <a:lnTo>
                    <a:pt x="78" y="10"/>
                  </a:lnTo>
                  <a:lnTo>
                    <a:pt x="64" y="10"/>
                  </a:lnTo>
                  <a:lnTo>
                    <a:pt x="64" y="5"/>
                  </a:lnTo>
                  <a:lnTo>
                    <a:pt x="57" y="5"/>
                  </a:lnTo>
                  <a:lnTo>
                    <a:pt x="57" y="0"/>
                  </a:lnTo>
                  <a:lnTo>
                    <a:pt x="0" y="0"/>
                  </a:lnTo>
                </a:path>
              </a:pathLst>
            </a:custGeom>
            <a:noFill/>
            <a:ln w="19050" cap="sq">
              <a:solidFill>
                <a:srgbClr val="F3F2DC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0" name="Freeform 28">
              <a:extLst>
                <a:ext uri="{FF2B5EF4-FFF2-40B4-BE49-F238E27FC236}">
                  <a16:creationId xmlns:a16="http://schemas.microsoft.com/office/drawing/2014/main" id="{FAEBB755-3576-466C-A98A-B6652ACB6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9938" y="2724150"/>
              <a:ext cx="4765675" cy="2119313"/>
            </a:xfrm>
            <a:custGeom>
              <a:avLst/>
              <a:gdLst>
                <a:gd name="T0" fmla="*/ 507 w 790"/>
                <a:gd name="T1" fmla="*/ 455 h 485"/>
                <a:gd name="T2" fmla="*/ 461 w 790"/>
                <a:gd name="T3" fmla="*/ 427 h 485"/>
                <a:gd name="T4" fmla="*/ 417 w 790"/>
                <a:gd name="T5" fmla="*/ 419 h 485"/>
                <a:gd name="T6" fmla="*/ 406 w 790"/>
                <a:gd name="T7" fmla="*/ 407 h 485"/>
                <a:gd name="T8" fmla="*/ 391 w 790"/>
                <a:gd name="T9" fmla="*/ 398 h 485"/>
                <a:gd name="T10" fmla="*/ 384 w 790"/>
                <a:gd name="T11" fmla="*/ 392 h 485"/>
                <a:gd name="T12" fmla="*/ 355 w 790"/>
                <a:gd name="T13" fmla="*/ 379 h 485"/>
                <a:gd name="T14" fmla="*/ 350 w 790"/>
                <a:gd name="T15" fmla="*/ 373 h 485"/>
                <a:gd name="T16" fmla="*/ 345 w 790"/>
                <a:gd name="T17" fmla="*/ 367 h 485"/>
                <a:gd name="T18" fmla="*/ 341 w 790"/>
                <a:gd name="T19" fmla="*/ 360 h 485"/>
                <a:gd name="T20" fmla="*/ 322 w 790"/>
                <a:gd name="T21" fmla="*/ 351 h 485"/>
                <a:gd name="T22" fmla="*/ 306 w 790"/>
                <a:gd name="T23" fmla="*/ 344 h 485"/>
                <a:gd name="T24" fmla="*/ 300 w 790"/>
                <a:gd name="T25" fmla="*/ 339 h 485"/>
                <a:gd name="T26" fmla="*/ 293 w 790"/>
                <a:gd name="T27" fmla="*/ 333 h 485"/>
                <a:gd name="T28" fmla="*/ 288 w 790"/>
                <a:gd name="T29" fmla="*/ 329 h 485"/>
                <a:gd name="T30" fmla="*/ 274 w 790"/>
                <a:gd name="T31" fmla="*/ 306 h 485"/>
                <a:gd name="T32" fmla="*/ 268 w 790"/>
                <a:gd name="T33" fmla="*/ 301 h 485"/>
                <a:gd name="T34" fmla="*/ 260 w 790"/>
                <a:gd name="T35" fmla="*/ 295 h 485"/>
                <a:gd name="T36" fmla="*/ 255 w 790"/>
                <a:gd name="T37" fmla="*/ 291 h 485"/>
                <a:gd name="T38" fmla="*/ 251 w 790"/>
                <a:gd name="T39" fmla="*/ 285 h 485"/>
                <a:gd name="T40" fmla="*/ 247 w 790"/>
                <a:gd name="T41" fmla="*/ 280 h 485"/>
                <a:gd name="T42" fmla="*/ 242 w 790"/>
                <a:gd name="T43" fmla="*/ 273 h 485"/>
                <a:gd name="T44" fmla="*/ 238 w 790"/>
                <a:gd name="T45" fmla="*/ 268 h 485"/>
                <a:gd name="T46" fmla="*/ 234 w 790"/>
                <a:gd name="T47" fmla="*/ 263 h 485"/>
                <a:gd name="T48" fmla="*/ 230 w 790"/>
                <a:gd name="T49" fmla="*/ 257 h 485"/>
                <a:gd name="T50" fmla="*/ 226 w 790"/>
                <a:gd name="T51" fmla="*/ 248 h 485"/>
                <a:gd name="T52" fmla="*/ 218 w 790"/>
                <a:gd name="T53" fmla="*/ 242 h 485"/>
                <a:gd name="T54" fmla="*/ 208 w 790"/>
                <a:gd name="T55" fmla="*/ 235 h 485"/>
                <a:gd name="T56" fmla="*/ 200 w 790"/>
                <a:gd name="T57" fmla="*/ 227 h 485"/>
                <a:gd name="T58" fmla="*/ 196 w 790"/>
                <a:gd name="T59" fmla="*/ 219 h 485"/>
                <a:gd name="T60" fmla="*/ 189 w 790"/>
                <a:gd name="T61" fmla="*/ 212 h 485"/>
                <a:gd name="T62" fmla="*/ 184 w 790"/>
                <a:gd name="T63" fmla="*/ 204 h 485"/>
                <a:gd name="T64" fmla="*/ 178 w 790"/>
                <a:gd name="T65" fmla="*/ 198 h 485"/>
                <a:gd name="T66" fmla="*/ 174 w 790"/>
                <a:gd name="T67" fmla="*/ 193 h 485"/>
                <a:gd name="T68" fmla="*/ 169 w 790"/>
                <a:gd name="T69" fmla="*/ 187 h 485"/>
                <a:gd name="T70" fmla="*/ 164 w 790"/>
                <a:gd name="T71" fmla="*/ 182 h 485"/>
                <a:gd name="T72" fmla="*/ 160 w 790"/>
                <a:gd name="T73" fmla="*/ 177 h 485"/>
                <a:gd name="T74" fmla="*/ 157 w 790"/>
                <a:gd name="T75" fmla="*/ 172 h 485"/>
                <a:gd name="T76" fmla="*/ 152 w 790"/>
                <a:gd name="T77" fmla="*/ 166 h 485"/>
                <a:gd name="T78" fmla="*/ 148 w 790"/>
                <a:gd name="T79" fmla="*/ 158 h 485"/>
                <a:gd name="T80" fmla="*/ 144 w 790"/>
                <a:gd name="T81" fmla="*/ 151 h 485"/>
                <a:gd name="T82" fmla="*/ 139 w 790"/>
                <a:gd name="T83" fmla="*/ 144 h 485"/>
                <a:gd name="T84" fmla="*/ 133 w 790"/>
                <a:gd name="T85" fmla="*/ 135 h 485"/>
                <a:gd name="T86" fmla="*/ 125 w 790"/>
                <a:gd name="T87" fmla="*/ 129 h 485"/>
                <a:gd name="T88" fmla="*/ 110 w 790"/>
                <a:gd name="T89" fmla="*/ 111 h 485"/>
                <a:gd name="T90" fmla="*/ 105 w 790"/>
                <a:gd name="T91" fmla="*/ 103 h 485"/>
                <a:gd name="T92" fmla="*/ 101 w 790"/>
                <a:gd name="T93" fmla="*/ 93 h 485"/>
                <a:gd name="T94" fmla="*/ 97 w 790"/>
                <a:gd name="T95" fmla="*/ 84 h 485"/>
                <a:gd name="T96" fmla="*/ 92 w 790"/>
                <a:gd name="T97" fmla="*/ 76 h 485"/>
                <a:gd name="T98" fmla="*/ 88 w 790"/>
                <a:gd name="T99" fmla="*/ 66 h 485"/>
                <a:gd name="T100" fmla="*/ 84 w 790"/>
                <a:gd name="T101" fmla="*/ 59 h 485"/>
                <a:gd name="T102" fmla="*/ 79 w 790"/>
                <a:gd name="T103" fmla="*/ 51 h 485"/>
                <a:gd name="T104" fmla="*/ 74 w 790"/>
                <a:gd name="T105" fmla="*/ 44 h 485"/>
                <a:gd name="T106" fmla="*/ 68 w 790"/>
                <a:gd name="T107" fmla="*/ 38 h 485"/>
                <a:gd name="T108" fmla="*/ 63 w 790"/>
                <a:gd name="T109" fmla="*/ 30 h 485"/>
                <a:gd name="T110" fmla="*/ 57 w 790"/>
                <a:gd name="T111" fmla="*/ 24 h 485"/>
                <a:gd name="T112" fmla="*/ 52 w 790"/>
                <a:gd name="T113" fmla="*/ 19 h 485"/>
                <a:gd name="T114" fmla="*/ 41 w 790"/>
                <a:gd name="T115" fmla="*/ 14 h 485"/>
                <a:gd name="T116" fmla="*/ 32 w 790"/>
                <a:gd name="T117" fmla="*/ 8 h 485"/>
                <a:gd name="T118" fmla="*/ 24 w 790"/>
                <a:gd name="T119" fmla="*/ 3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90" h="485">
                  <a:moveTo>
                    <a:pt x="790" y="485"/>
                  </a:moveTo>
                  <a:cubicBezTo>
                    <a:pt x="625" y="485"/>
                    <a:pt x="625" y="485"/>
                    <a:pt x="625" y="485"/>
                  </a:cubicBezTo>
                  <a:cubicBezTo>
                    <a:pt x="625" y="473"/>
                    <a:pt x="625" y="473"/>
                    <a:pt x="625" y="473"/>
                  </a:cubicBezTo>
                  <a:cubicBezTo>
                    <a:pt x="527" y="473"/>
                    <a:pt x="527" y="473"/>
                    <a:pt x="527" y="473"/>
                  </a:cubicBezTo>
                  <a:cubicBezTo>
                    <a:pt x="527" y="455"/>
                    <a:pt x="527" y="455"/>
                    <a:pt x="527" y="455"/>
                  </a:cubicBezTo>
                  <a:cubicBezTo>
                    <a:pt x="507" y="455"/>
                    <a:pt x="507" y="455"/>
                    <a:pt x="507" y="455"/>
                  </a:cubicBezTo>
                  <a:cubicBezTo>
                    <a:pt x="507" y="434"/>
                    <a:pt x="507" y="434"/>
                    <a:pt x="507" y="434"/>
                  </a:cubicBezTo>
                  <a:cubicBezTo>
                    <a:pt x="467" y="434"/>
                    <a:pt x="467" y="434"/>
                    <a:pt x="467" y="434"/>
                  </a:cubicBezTo>
                  <a:cubicBezTo>
                    <a:pt x="467" y="430"/>
                    <a:pt x="467" y="430"/>
                    <a:pt x="467" y="430"/>
                  </a:cubicBezTo>
                  <a:cubicBezTo>
                    <a:pt x="464" y="430"/>
                    <a:pt x="464" y="430"/>
                    <a:pt x="464" y="430"/>
                  </a:cubicBezTo>
                  <a:cubicBezTo>
                    <a:pt x="464" y="427"/>
                    <a:pt x="464" y="427"/>
                    <a:pt x="464" y="427"/>
                  </a:cubicBezTo>
                  <a:cubicBezTo>
                    <a:pt x="461" y="427"/>
                    <a:pt x="461" y="427"/>
                    <a:pt x="461" y="427"/>
                  </a:cubicBezTo>
                  <a:cubicBezTo>
                    <a:pt x="461" y="425"/>
                    <a:pt x="461" y="425"/>
                    <a:pt x="461" y="425"/>
                  </a:cubicBezTo>
                  <a:cubicBezTo>
                    <a:pt x="459" y="425"/>
                    <a:pt x="459" y="425"/>
                    <a:pt x="459" y="425"/>
                  </a:cubicBezTo>
                  <a:cubicBezTo>
                    <a:pt x="459" y="423"/>
                    <a:pt x="459" y="423"/>
                    <a:pt x="459" y="423"/>
                  </a:cubicBezTo>
                  <a:cubicBezTo>
                    <a:pt x="431" y="423"/>
                    <a:pt x="431" y="423"/>
                    <a:pt x="431" y="423"/>
                  </a:cubicBezTo>
                  <a:cubicBezTo>
                    <a:pt x="431" y="419"/>
                    <a:pt x="431" y="419"/>
                    <a:pt x="431" y="419"/>
                  </a:cubicBezTo>
                  <a:cubicBezTo>
                    <a:pt x="417" y="419"/>
                    <a:pt x="417" y="419"/>
                    <a:pt x="417" y="419"/>
                  </a:cubicBezTo>
                  <a:cubicBezTo>
                    <a:pt x="417" y="413"/>
                    <a:pt x="417" y="413"/>
                    <a:pt x="417" y="413"/>
                  </a:cubicBezTo>
                  <a:cubicBezTo>
                    <a:pt x="409" y="413"/>
                    <a:pt x="409" y="413"/>
                    <a:pt x="409" y="413"/>
                  </a:cubicBezTo>
                  <a:cubicBezTo>
                    <a:pt x="409" y="410"/>
                    <a:pt x="409" y="410"/>
                    <a:pt x="409" y="410"/>
                  </a:cubicBezTo>
                  <a:cubicBezTo>
                    <a:pt x="407" y="410"/>
                    <a:pt x="407" y="410"/>
                    <a:pt x="407" y="410"/>
                  </a:cubicBezTo>
                  <a:cubicBezTo>
                    <a:pt x="407" y="407"/>
                    <a:pt x="407" y="407"/>
                    <a:pt x="407" y="407"/>
                  </a:cubicBezTo>
                  <a:cubicBezTo>
                    <a:pt x="406" y="407"/>
                    <a:pt x="406" y="407"/>
                    <a:pt x="406" y="407"/>
                  </a:cubicBezTo>
                  <a:cubicBezTo>
                    <a:pt x="406" y="404"/>
                    <a:pt x="406" y="404"/>
                    <a:pt x="406" y="404"/>
                  </a:cubicBezTo>
                  <a:cubicBezTo>
                    <a:pt x="405" y="404"/>
                    <a:pt x="405" y="404"/>
                    <a:pt x="405" y="404"/>
                  </a:cubicBezTo>
                  <a:cubicBezTo>
                    <a:pt x="405" y="400"/>
                    <a:pt x="405" y="400"/>
                    <a:pt x="405" y="400"/>
                  </a:cubicBezTo>
                  <a:cubicBezTo>
                    <a:pt x="395" y="400"/>
                    <a:pt x="395" y="400"/>
                    <a:pt x="395" y="400"/>
                  </a:cubicBezTo>
                  <a:cubicBezTo>
                    <a:pt x="395" y="398"/>
                    <a:pt x="395" y="398"/>
                    <a:pt x="395" y="398"/>
                  </a:cubicBezTo>
                  <a:cubicBezTo>
                    <a:pt x="391" y="398"/>
                    <a:pt x="391" y="398"/>
                    <a:pt x="391" y="398"/>
                  </a:cubicBezTo>
                  <a:cubicBezTo>
                    <a:pt x="391" y="396"/>
                    <a:pt x="391" y="396"/>
                    <a:pt x="391" y="396"/>
                  </a:cubicBezTo>
                  <a:cubicBezTo>
                    <a:pt x="389" y="396"/>
                    <a:pt x="389" y="396"/>
                    <a:pt x="389" y="396"/>
                  </a:cubicBezTo>
                  <a:cubicBezTo>
                    <a:pt x="389" y="394"/>
                    <a:pt x="389" y="394"/>
                    <a:pt x="389" y="394"/>
                  </a:cubicBezTo>
                  <a:cubicBezTo>
                    <a:pt x="385" y="394"/>
                    <a:pt x="385" y="394"/>
                    <a:pt x="385" y="394"/>
                  </a:cubicBezTo>
                  <a:cubicBezTo>
                    <a:pt x="385" y="392"/>
                    <a:pt x="385" y="392"/>
                    <a:pt x="385" y="392"/>
                  </a:cubicBezTo>
                  <a:cubicBezTo>
                    <a:pt x="384" y="392"/>
                    <a:pt x="384" y="392"/>
                    <a:pt x="384" y="392"/>
                  </a:cubicBezTo>
                  <a:cubicBezTo>
                    <a:pt x="384" y="391"/>
                    <a:pt x="384" y="391"/>
                    <a:pt x="384" y="391"/>
                  </a:cubicBezTo>
                  <a:cubicBezTo>
                    <a:pt x="382" y="391"/>
                    <a:pt x="382" y="391"/>
                    <a:pt x="382" y="391"/>
                  </a:cubicBezTo>
                  <a:cubicBezTo>
                    <a:pt x="382" y="390"/>
                    <a:pt x="382" y="390"/>
                    <a:pt x="382" y="390"/>
                  </a:cubicBezTo>
                  <a:cubicBezTo>
                    <a:pt x="368" y="390"/>
                    <a:pt x="368" y="390"/>
                    <a:pt x="368" y="390"/>
                  </a:cubicBezTo>
                  <a:cubicBezTo>
                    <a:pt x="368" y="379"/>
                    <a:pt x="368" y="379"/>
                    <a:pt x="368" y="379"/>
                  </a:cubicBezTo>
                  <a:cubicBezTo>
                    <a:pt x="355" y="379"/>
                    <a:pt x="355" y="379"/>
                    <a:pt x="355" y="379"/>
                  </a:cubicBezTo>
                  <a:cubicBezTo>
                    <a:pt x="355" y="376"/>
                    <a:pt x="355" y="376"/>
                    <a:pt x="355" y="376"/>
                  </a:cubicBezTo>
                  <a:cubicBezTo>
                    <a:pt x="353" y="376"/>
                    <a:pt x="353" y="376"/>
                    <a:pt x="353" y="376"/>
                  </a:cubicBezTo>
                  <a:cubicBezTo>
                    <a:pt x="353" y="375"/>
                    <a:pt x="353" y="375"/>
                    <a:pt x="353" y="375"/>
                  </a:cubicBezTo>
                  <a:cubicBezTo>
                    <a:pt x="352" y="375"/>
                    <a:pt x="352" y="375"/>
                    <a:pt x="352" y="375"/>
                  </a:cubicBezTo>
                  <a:cubicBezTo>
                    <a:pt x="352" y="373"/>
                    <a:pt x="352" y="373"/>
                    <a:pt x="352" y="373"/>
                  </a:cubicBezTo>
                  <a:cubicBezTo>
                    <a:pt x="350" y="373"/>
                    <a:pt x="350" y="373"/>
                    <a:pt x="350" y="373"/>
                  </a:cubicBezTo>
                  <a:cubicBezTo>
                    <a:pt x="350" y="372"/>
                    <a:pt x="350" y="372"/>
                    <a:pt x="350" y="372"/>
                  </a:cubicBezTo>
                  <a:cubicBezTo>
                    <a:pt x="348" y="372"/>
                    <a:pt x="348" y="372"/>
                    <a:pt x="348" y="372"/>
                  </a:cubicBezTo>
                  <a:cubicBezTo>
                    <a:pt x="348" y="369"/>
                    <a:pt x="348" y="369"/>
                    <a:pt x="348" y="369"/>
                  </a:cubicBezTo>
                  <a:cubicBezTo>
                    <a:pt x="347" y="369"/>
                    <a:pt x="347" y="369"/>
                    <a:pt x="347" y="369"/>
                  </a:cubicBezTo>
                  <a:cubicBezTo>
                    <a:pt x="347" y="367"/>
                    <a:pt x="347" y="367"/>
                    <a:pt x="347" y="367"/>
                  </a:cubicBezTo>
                  <a:cubicBezTo>
                    <a:pt x="345" y="367"/>
                    <a:pt x="345" y="367"/>
                    <a:pt x="345" y="367"/>
                  </a:cubicBezTo>
                  <a:cubicBezTo>
                    <a:pt x="345" y="365"/>
                    <a:pt x="345" y="365"/>
                    <a:pt x="345" y="365"/>
                  </a:cubicBezTo>
                  <a:cubicBezTo>
                    <a:pt x="344" y="365"/>
                    <a:pt x="344" y="365"/>
                    <a:pt x="344" y="365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3" y="362"/>
                    <a:pt x="343" y="362"/>
                    <a:pt x="343" y="362"/>
                  </a:cubicBezTo>
                  <a:cubicBezTo>
                    <a:pt x="343" y="360"/>
                    <a:pt x="343" y="360"/>
                    <a:pt x="343" y="360"/>
                  </a:cubicBezTo>
                  <a:cubicBezTo>
                    <a:pt x="341" y="360"/>
                    <a:pt x="341" y="360"/>
                    <a:pt x="341" y="360"/>
                  </a:cubicBezTo>
                  <a:cubicBezTo>
                    <a:pt x="341" y="357"/>
                    <a:pt x="341" y="357"/>
                    <a:pt x="341" y="357"/>
                  </a:cubicBezTo>
                  <a:cubicBezTo>
                    <a:pt x="340" y="357"/>
                    <a:pt x="340" y="357"/>
                    <a:pt x="340" y="357"/>
                  </a:cubicBezTo>
                  <a:cubicBezTo>
                    <a:pt x="340" y="354"/>
                    <a:pt x="340" y="354"/>
                    <a:pt x="340" y="354"/>
                  </a:cubicBezTo>
                  <a:cubicBezTo>
                    <a:pt x="339" y="354"/>
                    <a:pt x="339" y="354"/>
                    <a:pt x="339" y="354"/>
                  </a:cubicBezTo>
                  <a:cubicBezTo>
                    <a:pt x="339" y="351"/>
                    <a:pt x="339" y="351"/>
                    <a:pt x="339" y="351"/>
                  </a:cubicBezTo>
                  <a:cubicBezTo>
                    <a:pt x="322" y="351"/>
                    <a:pt x="322" y="351"/>
                    <a:pt x="322" y="351"/>
                  </a:cubicBezTo>
                  <a:cubicBezTo>
                    <a:pt x="322" y="348"/>
                    <a:pt x="322" y="348"/>
                    <a:pt x="322" y="348"/>
                  </a:cubicBezTo>
                  <a:cubicBezTo>
                    <a:pt x="319" y="348"/>
                    <a:pt x="319" y="348"/>
                    <a:pt x="319" y="348"/>
                  </a:cubicBezTo>
                  <a:cubicBezTo>
                    <a:pt x="319" y="346"/>
                    <a:pt x="319" y="346"/>
                    <a:pt x="319" y="346"/>
                  </a:cubicBezTo>
                  <a:cubicBezTo>
                    <a:pt x="317" y="346"/>
                    <a:pt x="317" y="346"/>
                    <a:pt x="317" y="346"/>
                  </a:cubicBezTo>
                  <a:cubicBezTo>
                    <a:pt x="317" y="344"/>
                    <a:pt x="317" y="344"/>
                    <a:pt x="317" y="344"/>
                  </a:cubicBezTo>
                  <a:cubicBezTo>
                    <a:pt x="306" y="344"/>
                    <a:pt x="306" y="344"/>
                    <a:pt x="306" y="344"/>
                  </a:cubicBezTo>
                  <a:cubicBezTo>
                    <a:pt x="306" y="342"/>
                    <a:pt x="306" y="342"/>
                    <a:pt x="306" y="342"/>
                  </a:cubicBezTo>
                  <a:cubicBezTo>
                    <a:pt x="304" y="342"/>
                    <a:pt x="304" y="342"/>
                    <a:pt x="304" y="342"/>
                  </a:cubicBezTo>
                  <a:cubicBezTo>
                    <a:pt x="304" y="341"/>
                    <a:pt x="304" y="341"/>
                    <a:pt x="304" y="341"/>
                  </a:cubicBezTo>
                  <a:cubicBezTo>
                    <a:pt x="302" y="341"/>
                    <a:pt x="302" y="341"/>
                    <a:pt x="302" y="341"/>
                  </a:cubicBezTo>
                  <a:cubicBezTo>
                    <a:pt x="302" y="339"/>
                    <a:pt x="302" y="339"/>
                    <a:pt x="302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7"/>
                    <a:pt x="300" y="337"/>
                    <a:pt x="300" y="337"/>
                  </a:cubicBezTo>
                  <a:cubicBezTo>
                    <a:pt x="297" y="337"/>
                    <a:pt x="297" y="337"/>
                    <a:pt x="297" y="337"/>
                  </a:cubicBezTo>
                  <a:cubicBezTo>
                    <a:pt x="297" y="336"/>
                    <a:pt x="297" y="336"/>
                    <a:pt x="297" y="336"/>
                  </a:cubicBezTo>
                  <a:cubicBezTo>
                    <a:pt x="296" y="336"/>
                    <a:pt x="296" y="336"/>
                    <a:pt x="296" y="336"/>
                  </a:cubicBezTo>
                  <a:cubicBezTo>
                    <a:pt x="296" y="333"/>
                    <a:pt x="296" y="333"/>
                    <a:pt x="296" y="333"/>
                  </a:cubicBezTo>
                  <a:cubicBezTo>
                    <a:pt x="293" y="333"/>
                    <a:pt x="293" y="333"/>
                    <a:pt x="293" y="333"/>
                  </a:cubicBezTo>
                  <a:cubicBezTo>
                    <a:pt x="293" y="332"/>
                    <a:pt x="293" y="332"/>
                    <a:pt x="293" y="332"/>
                  </a:cubicBezTo>
                  <a:cubicBezTo>
                    <a:pt x="291" y="332"/>
                    <a:pt x="291" y="332"/>
                    <a:pt x="291" y="332"/>
                  </a:cubicBezTo>
                  <a:cubicBezTo>
                    <a:pt x="291" y="330"/>
                    <a:pt x="291" y="330"/>
                    <a:pt x="291" y="330"/>
                  </a:cubicBezTo>
                  <a:cubicBezTo>
                    <a:pt x="289" y="330"/>
                    <a:pt x="289" y="330"/>
                    <a:pt x="289" y="330"/>
                  </a:cubicBezTo>
                  <a:cubicBezTo>
                    <a:pt x="289" y="329"/>
                    <a:pt x="289" y="329"/>
                    <a:pt x="289" y="329"/>
                  </a:cubicBezTo>
                  <a:cubicBezTo>
                    <a:pt x="288" y="329"/>
                    <a:pt x="288" y="329"/>
                    <a:pt x="288" y="329"/>
                  </a:cubicBezTo>
                  <a:cubicBezTo>
                    <a:pt x="288" y="326"/>
                    <a:pt x="288" y="326"/>
                    <a:pt x="288" y="326"/>
                  </a:cubicBezTo>
                  <a:cubicBezTo>
                    <a:pt x="287" y="326"/>
                    <a:pt x="287" y="326"/>
                    <a:pt x="287" y="326"/>
                  </a:cubicBezTo>
                  <a:cubicBezTo>
                    <a:pt x="287" y="322"/>
                    <a:pt x="287" y="322"/>
                    <a:pt x="287" y="322"/>
                  </a:cubicBezTo>
                  <a:cubicBezTo>
                    <a:pt x="277" y="322"/>
                    <a:pt x="277" y="322"/>
                    <a:pt x="277" y="322"/>
                  </a:cubicBezTo>
                  <a:cubicBezTo>
                    <a:pt x="277" y="306"/>
                    <a:pt x="277" y="306"/>
                    <a:pt x="277" y="306"/>
                  </a:cubicBezTo>
                  <a:cubicBezTo>
                    <a:pt x="274" y="306"/>
                    <a:pt x="274" y="306"/>
                    <a:pt x="274" y="306"/>
                  </a:cubicBezTo>
                  <a:cubicBezTo>
                    <a:pt x="274" y="304"/>
                    <a:pt x="274" y="304"/>
                    <a:pt x="274" y="304"/>
                  </a:cubicBezTo>
                  <a:cubicBezTo>
                    <a:pt x="273" y="304"/>
                    <a:pt x="273" y="304"/>
                    <a:pt x="273" y="304"/>
                  </a:cubicBezTo>
                  <a:cubicBezTo>
                    <a:pt x="273" y="303"/>
                    <a:pt x="273" y="303"/>
                    <a:pt x="273" y="303"/>
                  </a:cubicBezTo>
                  <a:cubicBezTo>
                    <a:pt x="271" y="303"/>
                    <a:pt x="271" y="303"/>
                    <a:pt x="271" y="303"/>
                  </a:cubicBezTo>
                  <a:cubicBezTo>
                    <a:pt x="271" y="301"/>
                    <a:pt x="271" y="301"/>
                    <a:pt x="271" y="301"/>
                  </a:cubicBezTo>
                  <a:cubicBezTo>
                    <a:pt x="268" y="301"/>
                    <a:pt x="268" y="301"/>
                    <a:pt x="268" y="301"/>
                  </a:cubicBezTo>
                  <a:cubicBezTo>
                    <a:pt x="268" y="299"/>
                    <a:pt x="268" y="299"/>
                    <a:pt x="268" y="299"/>
                  </a:cubicBezTo>
                  <a:cubicBezTo>
                    <a:pt x="266" y="299"/>
                    <a:pt x="266" y="299"/>
                    <a:pt x="266" y="299"/>
                  </a:cubicBezTo>
                  <a:cubicBezTo>
                    <a:pt x="266" y="297"/>
                    <a:pt x="266" y="297"/>
                    <a:pt x="266" y="297"/>
                  </a:cubicBezTo>
                  <a:cubicBezTo>
                    <a:pt x="263" y="297"/>
                    <a:pt x="263" y="297"/>
                    <a:pt x="263" y="297"/>
                  </a:cubicBezTo>
                  <a:cubicBezTo>
                    <a:pt x="263" y="295"/>
                    <a:pt x="263" y="295"/>
                    <a:pt x="263" y="295"/>
                  </a:cubicBezTo>
                  <a:cubicBezTo>
                    <a:pt x="260" y="295"/>
                    <a:pt x="260" y="295"/>
                    <a:pt x="260" y="295"/>
                  </a:cubicBezTo>
                  <a:cubicBezTo>
                    <a:pt x="260" y="293"/>
                    <a:pt x="260" y="293"/>
                    <a:pt x="260" y="293"/>
                  </a:cubicBezTo>
                  <a:cubicBezTo>
                    <a:pt x="258" y="293"/>
                    <a:pt x="258" y="293"/>
                    <a:pt x="258" y="293"/>
                  </a:cubicBezTo>
                  <a:cubicBezTo>
                    <a:pt x="258" y="292"/>
                    <a:pt x="258" y="292"/>
                    <a:pt x="258" y="292"/>
                  </a:cubicBezTo>
                  <a:cubicBezTo>
                    <a:pt x="257" y="292"/>
                    <a:pt x="257" y="292"/>
                    <a:pt x="257" y="292"/>
                  </a:cubicBezTo>
                  <a:cubicBezTo>
                    <a:pt x="257" y="291"/>
                    <a:pt x="257" y="291"/>
                    <a:pt x="257" y="291"/>
                  </a:cubicBezTo>
                  <a:cubicBezTo>
                    <a:pt x="255" y="291"/>
                    <a:pt x="255" y="291"/>
                    <a:pt x="255" y="291"/>
                  </a:cubicBezTo>
                  <a:cubicBezTo>
                    <a:pt x="255" y="288"/>
                    <a:pt x="255" y="288"/>
                    <a:pt x="255" y="288"/>
                  </a:cubicBezTo>
                  <a:cubicBezTo>
                    <a:pt x="255" y="288"/>
                    <a:pt x="254" y="288"/>
                    <a:pt x="254" y="288"/>
                  </a:cubicBezTo>
                  <a:cubicBezTo>
                    <a:pt x="254" y="288"/>
                    <a:pt x="254" y="286"/>
                    <a:pt x="254" y="286"/>
                  </a:cubicBezTo>
                  <a:cubicBezTo>
                    <a:pt x="253" y="286"/>
                    <a:pt x="253" y="286"/>
                    <a:pt x="253" y="286"/>
                  </a:cubicBezTo>
                  <a:cubicBezTo>
                    <a:pt x="253" y="285"/>
                    <a:pt x="253" y="285"/>
                    <a:pt x="253" y="285"/>
                  </a:cubicBezTo>
                  <a:cubicBezTo>
                    <a:pt x="251" y="285"/>
                    <a:pt x="251" y="285"/>
                    <a:pt x="251" y="285"/>
                  </a:cubicBezTo>
                  <a:cubicBezTo>
                    <a:pt x="251" y="283"/>
                    <a:pt x="251" y="283"/>
                    <a:pt x="251" y="283"/>
                  </a:cubicBezTo>
                  <a:cubicBezTo>
                    <a:pt x="250" y="283"/>
                    <a:pt x="250" y="283"/>
                    <a:pt x="250" y="283"/>
                  </a:cubicBezTo>
                  <a:cubicBezTo>
                    <a:pt x="250" y="281"/>
                    <a:pt x="250" y="281"/>
                    <a:pt x="250" y="281"/>
                  </a:cubicBezTo>
                  <a:cubicBezTo>
                    <a:pt x="248" y="281"/>
                    <a:pt x="248" y="281"/>
                    <a:pt x="248" y="281"/>
                  </a:cubicBezTo>
                  <a:cubicBezTo>
                    <a:pt x="248" y="280"/>
                    <a:pt x="248" y="280"/>
                    <a:pt x="248" y="280"/>
                  </a:cubicBezTo>
                  <a:cubicBezTo>
                    <a:pt x="247" y="280"/>
                    <a:pt x="247" y="280"/>
                    <a:pt x="247" y="280"/>
                  </a:cubicBezTo>
                  <a:cubicBezTo>
                    <a:pt x="247" y="277"/>
                    <a:pt x="247" y="277"/>
                    <a:pt x="247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45" y="275"/>
                    <a:pt x="245" y="275"/>
                    <a:pt x="245" y="275"/>
                  </a:cubicBezTo>
                  <a:cubicBezTo>
                    <a:pt x="243" y="275"/>
                    <a:pt x="243" y="275"/>
                    <a:pt x="243" y="275"/>
                  </a:cubicBezTo>
                  <a:cubicBezTo>
                    <a:pt x="243" y="273"/>
                    <a:pt x="243" y="273"/>
                    <a:pt x="243" y="273"/>
                  </a:cubicBezTo>
                  <a:cubicBezTo>
                    <a:pt x="242" y="273"/>
                    <a:pt x="242" y="273"/>
                    <a:pt x="242" y="273"/>
                  </a:cubicBezTo>
                  <a:cubicBezTo>
                    <a:pt x="242" y="271"/>
                    <a:pt x="242" y="271"/>
                    <a:pt x="242" y="271"/>
                  </a:cubicBezTo>
                  <a:cubicBezTo>
                    <a:pt x="241" y="271"/>
                    <a:pt x="241" y="271"/>
                    <a:pt x="241" y="271"/>
                  </a:cubicBezTo>
                  <a:cubicBezTo>
                    <a:pt x="241" y="269"/>
                    <a:pt x="241" y="269"/>
                    <a:pt x="241" y="269"/>
                  </a:cubicBezTo>
                  <a:cubicBezTo>
                    <a:pt x="239" y="269"/>
                    <a:pt x="239" y="269"/>
                    <a:pt x="239" y="269"/>
                  </a:cubicBezTo>
                  <a:cubicBezTo>
                    <a:pt x="239" y="268"/>
                    <a:pt x="239" y="268"/>
                    <a:pt x="239" y="268"/>
                  </a:cubicBezTo>
                  <a:cubicBezTo>
                    <a:pt x="238" y="268"/>
                    <a:pt x="238" y="268"/>
                    <a:pt x="238" y="268"/>
                  </a:cubicBezTo>
                  <a:cubicBezTo>
                    <a:pt x="238" y="266"/>
                    <a:pt x="238" y="266"/>
                    <a:pt x="238" y="266"/>
                  </a:cubicBezTo>
                  <a:cubicBezTo>
                    <a:pt x="236" y="266"/>
                    <a:pt x="236" y="266"/>
                    <a:pt x="236" y="266"/>
                  </a:cubicBezTo>
                  <a:cubicBezTo>
                    <a:pt x="236" y="264"/>
                    <a:pt x="236" y="264"/>
                    <a:pt x="236" y="264"/>
                  </a:cubicBezTo>
                  <a:cubicBezTo>
                    <a:pt x="235" y="264"/>
                    <a:pt x="235" y="264"/>
                    <a:pt x="235" y="264"/>
                  </a:cubicBezTo>
                  <a:cubicBezTo>
                    <a:pt x="235" y="263"/>
                    <a:pt x="235" y="263"/>
                    <a:pt x="235" y="263"/>
                  </a:cubicBezTo>
                  <a:cubicBezTo>
                    <a:pt x="234" y="263"/>
                    <a:pt x="234" y="263"/>
                    <a:pt x="234" y="263"/>
                  </a:cubicBezTo>
                  <a:cubicBezTo>
                    <a:pt x="234" y="261"/>
                    <a:pt x="234" y="261"/>
                    <a:pt x="234" y="261"/>
                  </a:cubicBezTo>
                  <a:cubicBezTo>
                    <a:pt x="233" y="261"/>
                    <a:pt x="233" y="261"/>
                    <a:pt x="233" y="261"/>
                  </a:cubicBezTo>
                  <a:cubicBezTo>
                    <a:pt x="233" y="259"/>
                    <a:pt x="233" y="259"/>
                    <a:pt x="233" y="259"/>
                  </a:cubicBezTo>
                  <a:cubicBezTo>
                    <a:pt x="231" y="259"/>
                    <a:pt x="231" y="259"/>
                    <a:pt x="231" y="259"/>
                  </a:cubicBezTo>
                  <a:cubicBezTo>
                    <a:pt x="231" y="257"/>
                    <a:pt x="231" y="257"/>
                    <a:pt x="231" y="257"/>
                  </a:cubicBezTo>
                  <a:cubicBezTo>
                    <a:pt x="230" y="257"/>
                    <a:pt x="230" y="257"/>
                    <a:pt x="230" y="257"/>
                  </a:cubicBezTo>
                  <a:cubicBezTo>
                    <a:pt x="230" y="254"/>
                    <a:pt x="230" y="254"/>
                    <a:pt x="230" y="254"/>
                  </a:cubicBezTo>
                  <a:cubicBezTo>
                    <a:pt x="229" y="254"/>
                    <a:pt x="229" y="254"/>
                    <a:pt x="229" y="254"/>
                  </a:cubicBezTo>
                  <a:cubicBezTo>
                    <a:pt x="229" y="251"/>
                    <a:pt x="229" y="251"/>
                    <a:pt x="229" y="251"/>
                  </a:cubicBezTo>
                  <a:cubicBezTo>
                    <a:pt x="227" y="251"/>
                    <a:pt x="227" y="251"/>
                    <a:pt x="227" y="251"/>
                  </a:cubicBezTo>
                  <a:cubicBezTo>
                    <a:pt x="227" y="248"/>
                    <a:pt x="227" y="248"/>
                    <a:pt x="227" y="248"/>
                  </a:cubicBezTo>
                  <a:cubicBezTo>
                    <a:pt x="226" y="248"/>
                    <a:pt x="226" y="248"/>
                    <a:pt x="226" y="248"/>
                  </a:cubicBezTo>
                  <a:cubicBezTo>
                    <a:pt x="226" y="246"/>
                    <a:pt x="226" y="246"/>
                    <a:pt x="226" y="246"/>
                  </a:cubicBezTo>
                  <a:cubicBezTo>
                    <a:pt x="225" y="246"/>
                    <a:pt x="225" y="246"/>
                    <a:pt x="225" y="246"/>
                  </a:cubicBezTo>
                  <a:cubicBezTo>
                    <a:pt x="225" y="244"/>
                    <a:pt x="225" y="244"/>
                    <a:pt x="225" y="244"/>
                  </a:cubicBezTo>
                  <a:cubicBezTo>
                    <a:pt x="219" y="244"/>
                    <a:pt x="219" y="244"/>
                    <a:pt x="219" y="244"/>
                  </a:cubicBezTo>
                  <a:cubicBezTo>
                    <a:pt x="219" y="242"/>
                    <a:pt x="219" y="242"/>
                    <a:pt x="219" y="242"/>
                  </a:cubicBezTo>
                  <a:cubicBezTo>
                    <a:pt x="218" y="242"/>
                    <a:pt x="218" y="242"/>
                    <a:pt x="218" y="242"/>
                  </a:cubicBezTo>
                  <a:cubicBezTo>
                    <a:pt x="218" y="238"/>
                    <a:pt x="218" y="238"/>
                    <a:pt x="218" y="238"/>
                  </a:cubicBezTo>
                  <a:cubicBezTo>
                    <a:pt x="216" y="238"/>
                    <a:pt x="216" y="238"/>
                    <a:pt x="216" y="238"/>
                  </a:cubicBezTo>
                  <a:cubicBezTo>
                    <a:pt x="216" y="237"/>
                    <a:pt x="216" y="237"/>
                    <a:pt x="216" y="237"/>
                  </a:cubicBezTo>
                  <a:cubicBezTo>
                    <a:pt x="209" y="237"/>
                    <a:pt x="209" y="237"/>
                    <a:pt x="209" y="237"/>
                  </a:cubicBezTo>
                  <a:cubicBezTo>
                    <a:pt x="209" y="235"/>
                    <a:pt x="209" y="235"/>
                    <a:pt x="209" y="235"/>
                  </a:cubicBezTo>
                  <a:cubicBezTo>
                    <a:pt x="208" y="235"/>
                    <a:pt x="208" y="235"/>
                    <a:pt x="208" y="235"/>
                  </a:cubicBezTo>
                  <a:cubicBezTo>
                    <a:pt x="208" y="233"/>
                    <a:pt x="208" y="233"/>
                    <a:pt x="208" y="233"/>
                  </a:cubicBezTo>
                  <a:cubicBezTo>
                    <a:pt x="207" y="233"/>
                    <a:pt x="207" y="233"/>
                    <a:pt x="207" y="233"/>
                  </a:cubicBezTo>
                  <a:cubicBezTo>
                    <a:pt x="207" y="228"/>
                    <a:pt x="207" y="228"/>
                    <a:pt x="207" y="228"/>
                  </a:cubicBezTo>
                  <a:cubicBezTo>
                    <a:pt x="206" y="228"/>
                    <a:pt x="206" y="228"/>
                    <a:pt x="206" y="228"/>
                  </a:cubicBezTo>
                  <a:cubicBezTo>
                    <a:pt x="206" y="227"/>
                    <a:pt x="206" y="227"/>
                    <a:pt x="206" y="227"/>
                  </a:cubicBezTo>
                  <a:cubicBezTo>
                    <a:pt x="200" y="227"/>
                    <a:pt x="200" y="227"/>
                    <a:pt x="200" y="227"/>
                  </a:cubicBezTo>
                  <a:cubicBezTo>
                    <a:pt x="200" y="224"/>
                    <a:pt x="200" y="224"/>
                    <a:pt x="200" y="224"/>
                  </a:cubicBezTo>
                  <a:cubicBezTo>
                    <a:pt x="198" y="224"/>
                    <a:pt x="198" y="224"/>
                    <a:pt x="198" y="224"/>
                  </a:cubicBezTo>
                  <a:cubicBezTo>
                    <a:pt x="198" y="222"/>
                    <a:pt x="198" y="222"/>
                    <a:pt x="198" y="222"/>
                  </a:cubicBezTo>
                  <a:cubicBezTo>
                    <a:pt x="197" y="222"/>
                    <a:pt x="197" y="222"/>
                    <a:pt x="197" y="222"/>
                  </a:cubicBezTo>
                  <a:cubicBezTo>
                    <a:pt x="197" y="219"/>
                    <a:pt x="197" y="219"/>
                    <a:pt x="197" y="219"/>
                  </a:cubicBezTo>
                  <a:cubicBezTo>
                    <a:pt x="196" y="219"/>
                    <a:pt x="196" y="219"/>
                    <a:pt x="196" y="219"/>
                  </a:cubicBezTo>
                  <a:cubicBezTo>
                    <a:pt x="196" y="216"/>
                    <a:pt x="196" y="216"/>
                    <a:pt x="196" y="216"/>
                  </a:cubicBezTo>
                  <a:cubicBezTo>
                    <a:pt x="191" y="216"/>
                    <a:pt x="191" y="216"/>
                    <a:pt x="191" y="216"/>
                  </a:cubicBezTo>
                  <a:cubicBezTo>
                    <a:pt x="191" y="214"/>
                    <a:pt x="191" y="214"/>
                    <a:pt x="191" y="214"/>
                  </a:cubicBezTo>
                  <a:cubicBezTo>
                    <a:pt x="190" y="214"/>
                    <a:pt x="190" y="214"/>
                    <a:pt x="190" y="214"/>
                  </a:cubicBezTo>
                  <a:cubicBezTo>
                    <a:pt x="190" y="212"/>
                    <a:pt x="190" y="212"/>
                    <a:pt x="190" y="212"/>
                  </a:cubicBezTo>
                  <a:cubicBezTo>
                    <a:pt x="189" y="212"/>
                    <a:pt x="189" y="212"/>
                    <a:pt x="189" y="212"/>
                  </a:cubicBezTo>
                  <a:cubicBezTo>
                    <a:pt x="189" y="207"/>
                    <a:pt x="189" y="207"/>
                    <a:pt x="189" y="207"/>
                  </a:cubicBezTo>
                  <a:cubicBezTo>
                    <a:pt x="187" y="207"/>
                    <a:pt x="187" y="207"/>
                    <a:pt x="187" y="207"/>
                  </a:cubicBezTo>
                  <a:cubicBezTo>
                    <a:pt x="187" y="205"/>
                    <a:pt x="187" y="205"/>
                    <a:pt x="187" y="205"/>
                  </a:cubicBezTo>
                  <a:cubicBezTo>
                    <a:pt x="185" y="205"/>
                    <a:pt x="185" y="205"/>
                    <a:pt x="185" y="205"/>
                  </a:cubicBezTo>
                  <a:cubicBezTo>
                    <a:pt x="185" y="204"/>
                    <a:pt x="185" y="204"/>
                    <a:pt x="185" y="204"/>
                  </a:cubicBezTo>
                  <a:cubicBezTo>
                    <a:pt x="184" y="204"/>
                    <a:pt x="184" y="204"/>
                    <a:pt x="184" y="204"/>
                  </a:cubicBezTo>
                  <a:cubicBezTo>
                    <a:pt x="184" y="201"/>
                    <a:pt x="184" y="201"/>
                    <a:pt x="184" y="201"/>
                  </a:cubicBezTo>
                  <a:cubicBezTo>
                    <a:pt x="182" y="201"/>
                    <a:pt x="182" y="201"/>
                    <a:pt x="182" y="201"/>
                  </a:cubicBezTo>
                  <a:cubicBezTo>
                    <a:pt x="182" y="200"/>
                    <a:pt x="182" y="200"/>
                    <a:pt x="182" y="200"/>
                  </a:cubicBezTo>
                  <a:cubicBezTo>
                    <a:pt x="181" y="200"/>
                    <a:pt x="181" y="200"/>
                    <a:pt x="181" y="200"/>
                  </a:cubicBezTo>
                  <a:cubicBezTo>
                    <a:pt x="181" y="198"/>
                    <a:pt x="181" y="198"/>
                    <a:pt x="181" y="198"/>
                  </a:cubicBezTo>
                  <a:cubicBezTo>
                    <a:pt x="178" y="198"/>
                    <a:pt x="178" y="198"/>
                    <a:pt x="178" y="198"/>
                  </a:cubicBezTo>
                  <a:cubicBezTo>
                    <a:pt x="178" y="196"/>
                    <a:pt x="178" y="196"/>
                    <a:pt x="178" y="196"/>
                  </a:cubicBezTo>
                  <a:cubicBezTo>
                    <a:pt x="177" y="196"/>
                    <a:pt x="177" y="196"/>
                    <a:pt x="177" y="196"/>
                  </a:cubicBezTo>
                  <a:cubicBezTo>
                    <a:pt x="177" y="195"/>
                    <a:pt x="177" y="195"/>
                    <a:pt x="177" y="195"/>
                  </a:cubicBezTo>
                  <a:cubicBezTo>
                    <a:pt x="175" y="195"/>
                    <a:pt x="175" y="195"/>
                    <a:pt x="175" y="195"/>
                  </a:cubicBezTo>
                  <a:cubicBezTo>
                    <a:pt x="175" y="193"/>
                    <a:pt x="175" y="193"/>
                    <a:pt x="175" y="193"/>
                  </a:cubicBezTo>
                  <a:cubicBezTo>
                    <a:pt x="174" y="193"/>
                    <a:pt x="174" y="193"/>
                    <a:pt x="174" y="193"/>
                  </a:cubicBezTo>
                  <a:cubicBezTo>
                    <a:pt x="174" y="192"/>
                    <a:pt x="174" y="192"/>
                    <a:pt x="174" y="192"/>
                  </a:cubicBezTo>
                  <a:cubicBezTo>
                    <a:pt x="172" y="192"/>
                    <a:pt x="172" y="192"/>
                    <a:pt x="172" y="192"/>
                  </a:cubicBezTo>
                  <a:cubicBezTo>
                    <a:pt x="172" y="190"/>
                    <a:pt x="172" y="190"/>
                    <a:pt x="172" y="190"/>
                  </a:cubicBezTo>
                  <a:cubicBezTo>
                    <a:pt x="171" y="190"/>
                    <a:pt x="171" y="190"/>
                    <a:pt x="171" y="190"/>
                  </a:cubicBezTo>
                  <a:cubicBezTo>
                    <a:pt x="171" y="187"/>
                    <a:pt x="171" y="187"/>
                    <a:pt x="171" y="187"/>
                  </a:cubicBezTo>
                  <a:cubicBezTo>
                    <a:pt x="169" y="187"/>
                    <a:pt x="169" y="187"/>
                    <a:pt x="169" y="187"/>
                  </a:cubicBezTo>
                  <a:cubicBezTo>
                    <a:pt x="169" y="186"/>
                    <a:pt x="169" y="186"/>
                    <a:pt x="169" y="186"/>
                  </a:cubicBezTo>
                  <a:cubicBezTo>
                    <a:pt x="168" y="186"/>
                    <a:pt x="168" y="186"/>
                    <a:pt x="168" y="186"/>
                  </a:cubicBezTo>
                  <a:cubicBezTo>
                    <a:pt x="168" y="184"/>
                    <a:pt x="168" y="184"/>
                    <a:pt x="168" y="184"/>
                  </a:cubicBezTo>
                  <a:cubicBezTo>
                    <a:pt x="166" y="184"/>
                    <a:pt x="166" y="184"/>
                    <a:pt x="166" y="184"/>
                  </a:cubicBezTo>
                  <a:cubicBezTo>
                    <a:pt x="166" y="182"/>
                    <a:pt x="166" y="182"/>
                    <a:pt x="166" y="182"/>
                  </a:cubicBezTo>
                  <a:cubicBezTo>
                    <a:pt x="164" y="182"/>
                    <a:pt x="164" y="182"/>
                    <a:pt x="164" y="182"/>
                  </a:cubicBezTo>
                  <a:cubicBezTo>
                    <a:pt x="164" y="181"/>
                    <a:pt x="164" y="181"/>
                    <a:pt x="164" y="181"/>
                  </a:cubicBezTo>
                  <a:cubicBezTo>
                    <a:pt x="163" y="181"/>
                    <a:pt x="163" y="181"/>
                    <a:pt x="163" y="181"/>
                  </a:cubicBezTo>
                  <a:cubicBezTo>
                    <a:pt x="163" y="179"/>
                    <a:pt x="163" y="179"/>
                    <a:pt x="163" y="179"/>
                  </a:cubicBezTo>
                  <a:cubicBezTo>
                    <a:pt x="161" y="179"/>
                    <a:pt x="161" y="179"/>
                    <a:pt x="161" y="179"/>
                  </a:cubicBezTo>
                  <a:cubicBezTo>
                    <a:pt x="161" y="177"/>
                    <a:pt x="161" y="177"/>
                    <a:pt x="161" y="177"/>
                  </a:cubicBezTo>
                  <a:cubicBezTo>
                    <a:pt x="160" y="177"/>
                    <a:pt x="160" y="177"/>
                    <a:pt x="160" y="177"/>
                  </a:cubicBezTo>
                  <a:cubicBezTo>
                    <a:pt x="160" y="176"/>
                    <a:pt x="160" y="176"/>
                    <a:pt x="160" y="176"/>
                  </a:cubicBezTo>
                  <a:cubicBezTo>
                    <a:pt x="158" y="176"/>
                    <a:pt x="158" y="176"/>
                    <a:pt x="158" y="176"/>
                  </a:cubicBezTo>
                  <a:cubicBezTo>
                    <a:pt x="158" y="174"/>
                    <a:pt x="158" y="174"/>
                    <a:pt x="158" y="174"/>
                  </a:cubicBezTo>
                  <a:cubicBezTo>
                    <a:pt x="158" y="174"/>
                    <a:pt x="158" y="174"/>
                    <a:pt x="158" y="174"/>
                  </a:cubicBezTo>
                  <a:cubicBezTo>
                    <a:pt x="158" y="172"/>
                    <a:pt x="158" y="172"/>
                    <a:pt x="158" y="172"/>
                  </a:cubicBezTo>
                  <a:cubicBezTo>
                    <a:pt x="157" y="172"/>
                    <a:pt x="157" y="172"/>
                    <a:pt x="157" y="172"/>
                  </a:cubicBezTo>
                  <a:cubicBezTo>
                    <a:pt x="157" y="170"/>
                    <a:pt x="157" y="170"/>
                    <a:pt x="157" y="170"/>
                  </a:cubicBezTo>
                  <a:cubicBezTo>
                    <a:pt x="155" y="170"/>
                    <a:pt x="155" y="170"/>
                    <a:pt x="155" y="170"/>
                  </a:cubicBezTo>
                  <a:cubicBezTo>
                    <a:pt x="155" y="168"/>
                    <a:pt x="155" y="168"/>
                    <a:pt x="155" y="168"/>
                  </a:cubicBezTo>
                  <a:cubicBezTo>
                    <a:pt x="154" y="168"/>
                    <a:pt x="154" y="168"/>
                    <a:pt x="154" y="168"/>
                  </a:cubicBezTo>
                  <a:cubicBezTo>
                    <a:pt x="154" y="166"/>
                    <a:pt x="154" y="166"/>
                    <a:pt x="154" y="166"/>
                  </a:cubicBezTo>
                  <a:cubicBezTo>
                    <a:pt x="152" y="166"/>
                    <a:pt x="152" y="166"/>
                    <a:pt x="152" y="166"/>
                  </a:cubicBezTo>
                  <a:cubicBezTo>
                    <a:pt x="152" y="164"/>
                    <a:pt x="152" y="164"/>
                    <a:pt x="152" y="164"/>
                  </a:cubicBezTo>
                  <a:cubicBezTo>
                    <a:pt x="151" y="164"/>
                    <a:pt x="151" y="164"/>
                    <a:pt x="151" y="164"/>
                  </a:cubicBezTo>
                  <a:cubicBezTo>
                    <a:pt x="151" y="161"/>
                    <a:pt x="151" y="161"/>
                    <a:pt x="151" y="161"/>
                  </a:cubicBezTo>
                  <a:cubicBezTo>
                    <a:pt x="150" y="161"/>
                    <a:pt x="150" y="161"/>
                    <a:pt x="150" y="161"/>
                  </a:cubicBezTo>
                  <a:cubicBezTo>
                    <a:pt x="150" y="158"/>
                    <a:pt x="150" y="158"/>
                    <a:pt x="150" y="158"/>
                  </a:cubicBezTo>
                  <a:cubicBezTo>
                    <a:pt x="148" y="158"/>
                    <a:pt x="148" y="158"/>
                    <a:pt x="148" y="158"/>
                  </a:cubicBezTo>
                  <a:cubicBezTo>
                    <a:pt x="148" y="156"/>
                    <a:pt x="148" y="156"/>
                    <a:pt x="148" y="156"/>
                  </a:cubicBezTo>
                  <a:cubicBezTo>
                    <a:pt x="147" y="156"/>
                    <a:pt x="147" y="156"/>
                    <a:pt x="147" y="156"/>
                  </a:cubicBezTo>
                  <a:cubicBezTo>
                    <a:pt x="147" y="154"/>
                    <a:pt x="147" y="154"/>
                    <a:pt x="147" y="154"/>
                  </a:cubicBezTo>
                  <a:cubicBezTo>
                    <a:pt x="146" y="154"/>
                    <a:pt x="146" y="154"/>
                    <a:pt x="146" y="154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4" y="151"/>
                    <a:pt x="144" y="151"/>
                    <a:pt x="144" y="151"/>
                  </a:cubicBezTo>
                  <a:cubicBezTo>
                    <a:pt x="144" y="149"/>
                    <a:pt x="144" y="149"/>
                    <a:pt x="144" y="149"/>
                  </a:cubicBezTo>
                  <a:cubicBezTo>
                    <a:pt x="142" y="149"/>
                    <a:pt x="142" y="149"/>
                    <a:pt x="142" y="149"/>
                  </a:cubicBezTo>
                  <a:cubicBezTo>
                    <a:pt x="142" y="146"/>
                    <a:pt x="142" y="146"/>
                    <a:pt x="142" y="146"/>
                  </a:cubicBezTo>
                  <a:cubicBezTo>
                    <a:pt x="140" y="146"/>
                    <a:pt x="140" y="146"/>
                    <a:pt x="140" y="146"/>
                  </a:cubicBezTo>
                  <a:cubicBezTo>
                    <a:pt x="140" y="144"/>
                    <a:pt x="140" y="144"/>
                    <a:pt x="140" y="144"/>
                  </a:cubicBezTo>
                  <a:cubicBezTo>
                    <a:pt x="139" y="144"/>
                    <a:pt x="139" y="144"/>
                    <a:pt x="139" y="144"/>
                  </a:cubicBezTo>
                  <a:cubicBezTo>
                    <a:pt x="139" y="140"/>
                    <a:pt x="139" y="140"/>
                    <a:pt x="139" y="140"/>
                  </a:cubicBezTo>
                  <a:cubicBezTo>
                    <a:pt x="138" y="140"/>
                    <a:pt x="138" y="140"/>
                    <a:pt x="138" y="140"/>
                  </a:cubicBezTo>
                  <a:cubicBezTo>
                    <a:pt x="138" y="137"/>
                    <a:pt x="138" y="137"/>
                    <a:pt x="138" y="137"/>
                  </a:cubicBezTo>
                  <a:cubicBezTo>
                    <a:pt x="136" y="137"/>
                    <a:pt x="136" y="137"/>
                    <a:pt x="136" y="137"/>
                  </a:cubicBezTo>
                  <a:cubicBezTo>
                    <a:pt x="136" y="135"/>
                    <a:pt x="136" y="135"/>
                    <a:pt x="136" y="135"/>
                  </a:cubicBezTo>
                  <a:cubicBezTo>
                    <a:pt x="133" y="135"/>
                    <a:pt x="133" y="135"/>
                    <a:pt x="133" y="135"/>
                  </a:cubicBezTo>
                  <a:cubicBezTo>
                    <a:pt x="133" y="132"/>
                    <a:pt x="133" y="132"/>
                    <a:pt x="133" y="132"/>
                  </a:cubicBezTo>
                  <a:cubicBezTo>
                    <a:pt x="131" y="132"/>
                    <a:pt x="131" y="132"/>
                    <a:pt x="131" y="132"/>
                  </a:cubicBezTo>
                  <a:cubicBezTo>
                    <a:pt x="131" y="131"/>
                    <a:pt x="131" y="131"/>
                    <a:pt x="131" y="131"/>
                  </a:cubicBezTo>
                  <a:cubicBezTo>
                    <a:pt x="128" y="131"/>
                    <a:pt x="128" y="131"/>
                    <a:pt x="128" y="131"/>
                  </a:cubicBezTo>
                  <a:cubicBezTo>
                    <a:pt x="128" y="129"/>
                    <a:pt x="128" y="129"/>
                    <a:pt x="128" y="129"/>
                  </a:cubicBezTo>
                  <a:cubicBezTo>
                    <a:pt x="125" y="129"/>
                    <a:pt x="125" y="129"/>
                    <a:pt x="125" y="129"/>
                  </a:cubicBezTo>
                  <a:cubicBezTo>
                    <a:pt x="125" y="116"/>
                    <a:pt x="125" y="116"/>
                    <a:pt x="125" y="116"/>
                  </a:cubicBezTo>
                  <a:cubicBezTo>
                    <a:pt x="114" y="116"/>
                    <a:pt x="114" y="116"/>
                    <a:pt x="114" y="116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113" y="112"/>
                    <a:pt x="113" y="112"/>
                    <a:pt x="113" y="112"/>
                  </a:cubicBezTo>
                  <a:cubicBezTo>
                    <a:pt x="113" y="111"/>
                    <a:pt x="113" y="111"/>
                    <a:pt x="113" y="111"/>
                  </a:cubicBezTo>
                  <a:cubicBezTo>
                    <a:pt x="110" y="111"/>
                    <a:pt x="110" y="111"/>
                    <a:pt x="110" y="111"/>
                  </a:cubicBezTo>
                  <a:cubicBezTo>
                    <a:pt x="110" y="108"/>
                    <a:pt x="110" y="108"/>
                    <a:pt x="110" y="108"/>
                  </a:cubicBezTo>
                  <a:cubicBezTo>
                    <a:pt x="109" y="108"/>
                    <a:pt x="109" y="108"/>
                    <a:pt x="109" y="108"/>
                  </a:cubicBezTo>
                  <a:cubicBezTo>
                    <a:pt x="109" y="105"/>
                    <a:pt x="109" y="105"/>
                    <a:pt x="109" y="105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8" y="103"/>
                    <a:pt x="108" y="103"/>
                    <a:pt x="108" y="103"/>
                  </a:cubicBezTo>
                  <a:cubicBezTo>
                    <a:pt x="105" y="103"/>
                    <a:pt x="105" y="103"/>
                    <a:pt x="105" y="103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4" y="99"/>
                    <a:pt x="104" y="99"/>
                    <a:pt x="104" y="99"/>
                  </a:cubicBezTo>
                  <a:cubicBezTo>
                    <a:pt x="104" y="95"/>
                    <a:pt x="104" y="95"/>
                    <a:pt x="104" y="95"/>
                  </a:cubicBezTo>
                  <a:cubicBezTo>
                    <a:pt x="102" y="95"/>
                    <a:pt x="102" y="95"/>
                    <a:pt x="102" y="95"/>
                  </a:cubicBezTo>
                  <a:cubicBezTo>
                    <a:pt x="102" y="93"/>
                    <a:pt x="102" y="93"/>
                    <a:pt x="102" y="93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99" y="90"/>
                    <a:pt x="99" y="90"/>
                    <a:pt x="99" y="90"/>
                  </a:cubicBezTo>
                  <a:cubicBezTo>
                    <a:pt x="99" y="88"/>
                    <a:pt x="99" y="88"/>
                    <a:pt x="99" y="88"/>
                  </a:cubicBezTo>
                  <a:cubicBezTo>
                    <a:pt x="98" y="88"/>
                    <a:pt x="98" y="88"/>
                    <a:pt x="98" y="8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7" y="84"/>
                    <a:pt x="97" y="84"/>
                    <a:pt x="97" y="84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5" y="80"/>
                    <a:pt x="95" y="80"/>
                    <a:pt x="95" y="80"/>
                  </a:cubicBezTo>
                  <a:cubicBezTo>
                    <a:pt x="94" y="80"/>
                    <a:pt x="94" y="80"/>
                    <a:pt x="94" y="80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2" y="76"/>
                    <a:pt x="92" y="76"/>
                    <a:pt x="92" y="76"/>
                  </a:cubicBezTo>
                  <a:cubicBezTo>
                    <a:pt x="92" y="72"/>
                    <a:pt x="92" y="72"/>
                    <a:pt x="92" y="72"/>
                  </a:cubicBezTo>
                  <a:cubicBezTo>
                    <a:pt x="91" y="72"/>
                    <a:pt x="91" y="72"/>
                    <a:pt x="91" y="72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89" y="66"/>
                    <a:pt x="89" y="66"/>
                    <a:pt x="89" y="66"/>
                  </a:cubicBezTo>
                  <a:cubicBezTo>
                    <a:pt x="88" y="66"/>
                    <a:pt x="88" y="66"/>
                    <a:pt x="88" y="66"/>
                  </a:cubicBezTo>
                  <a:cubicBezTo>
                    <a:pt x="88" y="65"/>
                    <a:pt x="88" y="65"/>
                    <a:pt x="88" y="65"/>
                  </a:cubicBezTo>
                  <a:cubicBezTo>
                    <a:pt x="87" y="65"/>
                    <a:pt x="87" y="65"/>
                    <a:pt x="87" y="65"/>
                  </a:cubicBezTo>
                  <a:cubicBezTo>
                    <a:pt x="87" y="61"/>
                    <a:pt x="87" y="61"/>
                    <a:pt x="87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3"/>
                    <a:pt x="67" y="33"/>
                    <a:pt x="67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0" y="28"/>
                    <a:pt x="60" y="28"/>
                    <a:pt x="60" y="28"/>
                  </a:cubicBezTo>
                  <a:cubicBezTo>
                    <a:pt x="60" y="26"/>
                    <a:pt x="60" y="26"/>
                    <a:pt x="60" y="26"/>
                  </a:cubicBezTo>
                  <a:cubicBezTo>
                    <a:pt x="59" y="26"/>
                    <a:pt x="59" y="26"/>
                    <a:pt x="59" y="26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1"/>
                    <a:pt x="55" y="21"/>
                    <a:pt x="55" y="21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sq">
              <a:solidFill>
                <a:srgbClr val="4C5A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1" name="Freeform 7">
              <a:extLst>
                <a:ext uri="{FF2B5EF4-FFF2-40B4-BE49-F238E27FC236}">
                  <a16:creationId xmlns:a16="http://schemas.microsoft.com/office/drawing/2014/main" id="{B1A3DD03-4F02-4CD7-B33B-1ACBD8D64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2651" y="3954033"/>
              <a:ext cx="5066410" cy="48501"/>
            </a:xfrm>
            <a:custGeom>
              <a:avLst/>
              <a:gdLst>
                <a:gd name="T0" fmla="*/ 0 w 2657"/>
                <a:gd name="T1" fmla="*/ 0 h 45719"/>
                <a:gd name="T2" fmla="*/ 2147483646 w 2657"/>
                <a:gd name="T3" fmla="*/ 0 h 45719"/>
                <a:gd name="T4" fmla="*/ 2147483646 w 2657"/>
                <a:gd name="T5" fmla="*/ 0 h 457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57" h="45719">
                  <a:moveTo>
                    <a:pt x="0" y="0"/>
                  </a:moveTo>
                  <a:lnTo>
                    <a:pt x="2657" y="0"/>
                  </a:lnTo>
                </a:path>
              </a:pathLst>
            </a:custGeom>
            <a:noFill/>
            <a:ln w="19050" cap="flat">
              <a:solidFill>
                <a:srgbClr val="010101"/>
              </a:solidFill>
              <a:prstDash val="sys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DA3F49A-DCBF-4C7D-A2CB-38EED1D2D3FB}"/>
              </a:ext>
            </a:extLst>
          </p:cNvPr>
          <p:cNvGrpSpPr/>
          <p:nvPr/>
        </p:nvGrpSpPr>
        <p:grpSpPr>
          <a:xfrm>
            <a:off x="174296" y="993763"/>
            <a:ext cx="6281744" cy="3098800"/>
            <a:chOff x="2408987" y="2565400"/>
            <a:chExt cx="6281744" cy="3098800"/>
          </a:xfrm>
        </p:grpSpPr>
        <p:sp>
          <p:nvSpPr>
            <p:cNvPr id="63" name="Line 6">
              <a:extLst>
                <a:ext uri="{FF2B5EF4-FFF2-40B4-BE49-F238E27FC236}">
                  <a16:creationId xmlns:a16="http://schemas.microsoft.com/office/drawing/2014/main" id="{7D9DB34A-281D-4161-9066-FEAD15E630B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324225" y="2701925"/>
              <a:ext cx="0" cy="2465388"/>
            </a:xfrm>
            <a:prstGeom prst="line">
              <a:avLst/>
            </a:prstGeom>
            <a:noFill/>
            <a:ln w="19050" cap="sq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4" name="Line 7">
              <a:extLst>
                <a:ext uri="{FF2B5EF4-FFF2-40B4-BE49-F238E27FC236}">
                  <a16:creationId xmlns:a16="http://schemas.microsoft.com/office/drawing/2014/main" id="{D9215363-EA3D-4CD3-A4DB-81F838AE6B9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24225" y="5167313"/>
              <a:ext cx="5195888" cy="0"/>
            </a:xfrm>
            <a:prstGeom prst="line">
              <a:avLst/>
            </a:prstGeom>
            <a:noFill/>
            <a:ln w="19050" cap="sq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5" name="Line 8">
              <a:extLst>
                <a:ext uri="{FF2B5EF4-FFF2-40B4-BE49-F238E27FC236}">
                  <a16:creationId xmlns:a16="http://schemas.microsoft.com/office/drawing/2014/main" id="{747F582B-0460-408E-9C24-337DD73A2E2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08338" y="2701925"/>
              <a:ext cx="117475" cy="0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6" name="Line 9">
              <a:extLst>
                <a:ext uri="{FF2B5EF4-FFF2-40B4-BE49-F238E27FC236}">
                  <a16:creationId xmlns:a16="http://schemas.microsoft.com/office/drawing/2014/main" id="{420E8D9D-E521-4046-8770-FF5D9E23FAA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08338" y="3190875"/>
              <a:ext cx="117475" cy="0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7" name="Line 12">
              <a:extLst>
                <a:ext uri="{FF2B5EF4-FFF2-40B4-BE49-F238E27FC236}">
                  <a16:creationId xmlns:a16="http://schemas.microsoft.com/office/drawing/2014/main" id="{7C37C5ED-6B4C-4C36-9F49-F4022E8783C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08338" y="3686175"/>
              <a:ext cx="117475" cy="0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8" name="Line 13">
              <a:extLst>
                <a:ext uri="{FF2B5EF4-FFF2-40B4-BE49-F238E27FC236}">
                  <a16:creationId xmlns:a16="http://schemas.microsoft.com/office/drawing/2014/main" id="{DA27A85F-6FC0-4315-A62F-F82002F5085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08338" y="4181475"/>
              <a:ext cx="117475" cy="0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9" name="Line 17">
              <a:extLst>
                <a:ext uri="{FF2B5EF4-FFF2-40B4-BE49-F238E27FC236}">
                  <a16:creationId xmlns:a16="http://schemas.microsoft.com/office/drawing/2014/main" id="{016922DA-EAA0-42D9-BE49-62FD8008A9C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08338" y="4676775"/>
              <a:ext cx="117475" cy="0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0" name="Line 18">
              <a:extLst>
                <a:ext uri="{FF2B5EF4-FFF2-40B4-BE49-F238E27FC236}">
                  <a16:creationId xmlns:a16="http://schemas.microsoft.com/office/drawing/2014/main" id="{8B34A32F-3A5B-49A7-A246-21B16EF01E6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08338" y="5167313"/>
              <a:ext cx="117475" cy="0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1" name="Line 19">
              <a:extLst>
                <a:ext uri="{FF2B5EF4-FFF2-40B4-BE49-F238E27FC236}">
                  <a16:creationId xmlns:a16="http://schemas.microsoft.com/office/drawing/2014/main" id="{519394EB-6D71-4860-A2B3-A626857108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4225" y="5167313"/>
              <a:ext cx="0" cy="77788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2" name="Line 20">
              <a:extLst>
                <a:ext uri="{FF2B5EF4-FFF2-40B4-BE49-F238E27FC236}">
                  <a16:creationId xmlns:a16="http://schemas.microsoft.com/office/drawing/2014/main" id="{20EC502E-8271-48B6-B6F1-E8408FBD85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43338" y="5167313"/>
              <a:ext cx="0" cy="77788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3" name="Line 21">
              <a:extLst>
                <a:ext uri="{FF2B5EF4-FFF2-40B4-BE49-F238E27FC236}">
                  <a16:creationId xmlns:a16="http://schemas.microsoft.com/office/drawing/2014/main" id="{124199F8-5D0D-4658-AAFB-DAF9BF9230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60863" y="5167313"/>
              <a:ext cx="0" cy="77788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4" name="Line 22">
              <a:extLst>
                <a:ext uri="{FF2B5EF4-FFF2-40B4-BE49-F238E27FC236}">
                  <a16:creationId xmlns:a16="http://schemas.microsoft.com/office/drawing/2014/main" id="{072AFD9D-58E6-4E13-8FF0-81A0CF30AF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8388" y="5167313"/>
              <a:ext cx="0" cy="77788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5" name="Line 23">
              <a:extLst>
                <a:ext uri="{FF2B5EF4-FFF2-40B4-BE49-F238E27FC236}">
                  <a16:creationId xmlns:a16="http://schemas.microsoft.com/office/drawing/2014/main" id="{369B9AEE-89DC-4820-BB73-BD8B29D300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3850" y="5167313"/>
              <a:ext cx="0" cy="77788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6" name="Line 24">
              <a:extLst>
                <a:ext uri="{FF2B5EF4-FFF2-40B4-BE49-F238E27FC236}">
                  <a16:creationId xmlns:a16="http://schemas.microsoft.com/office/drawing/2014/main" id="{D9BA9F1A-20C7-49B1-9658-EC6F246C15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21375" y="5167313"/>
              <a:ext cx="0" cy="77788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7" name="Line 25">
              <a:extLst>
                <a:ext uri="{FF2B5EF4-FFF2-40B4-BE49-F238E27FC236}">
                  <a16:creationId xmlns:a16="http://schemas.microsoft.com/office/drawing/2014/main" id="{F9E0C6D9-9DCB-4AA4-BEDD-CB594D16CDD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20113" y="5167313"/>
              <a:ext cx="0" cy="77788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8" name="Line 26">
              <a:extLst>
                <a:ext uri="{FF2B5EF4-FFF2-40B4-BE49-F238E27FC236}">
                  <a16:creationId xmlns:a16="http://schemas.microsoft.com/office/drawing/2014/main" id="{39DCE485-F09F-4BBF-9FEA-57B04639DC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40488" y="5167313"/>
              <a:ext cx="0" cy="77788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9" name="Line 27">
              <a:extLst>
                <a:ext uri="{FF2B5EF4-FFF2-40B4-BE49-F238E27FC236}">
                  <a16:creationId xmlns:a16="http://schemas.microsoft.com/office/drawing/2014/main" id="{9BE85125-43FA-4234-8D65-B00FCEA78B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8013" y="5167313"/>
              <a:ext cx="0" cy="77788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0" name="Line 28">
              <a:extLst>
                <a:ext uri="{FF2B5EF4-FFF2-40B4-BE49-F238E27FC236}">
                  <a16:creationId xmlns:a16="http://schemas.microsoft.com/office/drawing/2014/main" id="{28C9D002-C61A-438D-AD68-12B7E3036B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77125" y="5167313"/>
              <a:ext cx="0" cy="77788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1" name="Line 29">
              <a:extLst>
                <a:ext uri="{FF2B5EF4-FFF2-40B4-BE49-F238E27FC236}">
                  <a16:creationId xmlns:a16="http://schemas.microsoft.com/office/drawing/2014/main" id="{C49BB68C-C5DE-4F72-ADDB-23106DBBE8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94650" y="5167313"/>
              <a:ext cx="0" cy="77788"/>
            </a:xfrm>
            <a:prstGeom prst="line">
              <a:avLst/>
            </a:prstGeom>
            <a:noFill/>
            <a:ln w="19050" cap="flat">
              <a:solidFill>
                <a:srgbClr val="292934">
                  <a:lumMod val="50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2" name="Freeform 30">
              <a:extLst>
                <a:ext uri="{FF2B5EF4-FFF2-40B4-BE49-F238E27FC236}">
                  <a16:creationId xmlns:a16="http://schemas.microsoft.com/office/drawing/2014/main" id="{CFB4381A-6E64-456C-B033-322999AAC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3588" y="2695575"/>
              <a:ext cx="5033962" cy="2465388"/>
            </a:xfrm>
            <a:custGeom>
              <a:avLst/>
              <a:gdLst>
                <a:gd name="T0" fmla="*/ 1438 w 1438"/>
                <a:gd name="T1" fmla="*/ 626 h 906"/>
                <a:gd name="T2" fmla="*/ 1174 w 1438"/>
                <a:gd name="T3" fmla="*/ 572 h 906"/>
                <a:gd name="T4" fmla="*/ 968 w 1438"/>
                <a:gd name="T5" fmla="*/ 518 h 906"/>
                <a:gd name="T6" fmla="*/ 868 w 1438"/>
                <a:gd name="T7" fmla="*/ 490 h 906"/>
                <a:gd name="T8" fmla="*/ 556 w 1438"/>
                <a:gd name="T9" fmla="*/ 482 h 906"/>
                <a:gd name="T10" fmla="*/ 506 w 1438"/>
                <a:gd name="T11" fmla="*/ 462 h 906"/>
                <a:gd name="T12" fmla="*/ 486 w 1438"/>
                <a:gd name="T13" fmla="*/ 452 h 906"/>
                <a:gd name="T14" fmla="*/ 448 w 1438"/>
                <a:gd name="T15" fmla="*/ 444 h 906"/>
                <a:gd name="T16" fmla="*/ 416 w 1438"/>
                <a:gd name="T17" fmla="*/ 436 h 906"/>
                <a:gd name="T18" fmla="*/ 404 w 1438"/>
                <a:gd name="T19" fmla="*/ 428 h 906"/>
                <a:gd name="T20" fmla="*/ 392 w 1438"/>
                <a:gd name="T21" fmla="*/ 406 h 906"/>
                <a:gd name="T22" fmla="*/ 388 w 1438"/>
                <a:gd name="T23" fmla="*/ 398 h 906"/>
                <a:gd name="T24" fmla="*/ 378 w 1438"/>
                <a:gd name="T25" fmla="*/ 390 h 906"/>
                <a:gd name="T26" fmla="*/ 358 w 1438"/>
                <a:gd name="T27" fmla="*/ 382 h 906"/>
                <a:gd name="T28" fmla="*/ 330 w 1438"/>
                <a:gd name="T29" fmla="*/ 360 h 906"/>
                <a:gd name="T30" fmla="*/ 324 w 1438"/>
                <a:gd name="T31" fmla="*/ 344 h 906"/>
                <a:gd name="T32" fmla="*/ 318 w 1438"/>
                <a:gd name="T33" fmla="*/ 336 h 906"/>
                <a:gd name="T34" fmla="*/ 312 w 1438"/>
                <a:gd name="T35" fmla="*/ 328 h 906"/>
                <a:gd name="T36" fmla="*/ 304 w 1438"/>
                <a:gd name="T37" fmla="*/ 316 h 906"/>
                <a:gd name="T38" fmla="*/ 288 w 1438"/>
                <a:gd name="T39" fmla="*/ 308 h 906"/>
                <a:gd name="T40" fmla="*/ 284 w 1438"/>
                <a:gd name="T41" fmla="*/ 300 h 906"/>
                <a:gd name="T42" fmla="*/ 274 w 1438"/>
                <a:gd name="T43" fmla="*/ 288 h 906"/>
                <a:gd name="T44" fmla="*/ 270 w 1438"/>
                <a:gd name="T45" fmla="*/ 280 h 906"/>
                <a:gd name="T46" fmla="*/ 258 w 1438"/>
                <a:gd name="T47" fmla="*/ 270 h 906"/>
                <a:gd name="T48" fmla="*/ 250 w 1438"/>
                <a:gd name="T49" fmla="*/ 260 h 906"/>
                <a:gd name="T50" fmla="*/ 236 w 1438"/>
                <a:gd name="T51" fmla="*/ 254 h 906"/>
                <a:gd name="T52" fmla="*/ 230 w 1438"/>
                <a:gd name="T53" fmla="*/ 240 h 906"/>
                <a:gd name="T54" fmla="*/ 220 w 1438"/>
                <a:gd name="T55" fmla="*/ 226 h 906"/>
                <a:gd name="T56" fmla="*/ 208 w 1438"/>
                <a:gd name="T57" fmla="*/ 218 h 906"/>
                <a:gd name="T58" fmla="*/ 194 w 1438"/>
                <a:gd name="T59" fmla="*/ 208 h 906"/>
                <a:gd name="T60" fmla="*/ 188 w 1438"/>
                <a:gd name="T61" fmla="*/ 200 h 906"/>
                <a:gd name="T62" fmla="*/ 180 w 1438"/>
                <a:gd name="T63" fmla="*/ 182 h 906"/>
                <a:gd name="T64" fmla="*/ 162 w 1438"/>
                <a:gd name="T65" fmla="*/ 172 h 906"/>
                <a:gd name="T66" fmla="*/ 156 w 1438"/>
                <a:gd name="T67" fmla="*/ 164 h 906"/>
                <a:gd name="T68" fmla="*/ 138 w 1438"/>
                <a:gd name="T69" fmla="*/ 144 h 906"/>
                <a:gd name="T70" fmla="*/ 134 w 1438"/>
                <a:gd name="T71" fmla="*/ 128 h 906"/>
                <a:gd name="T72" fmla="*/ 124 w 1438"/>
                <a:gd name="T73" fmla="*/ 120 h 906"/>
                <a:gd name="T74" fmla="*/ 118 w 1438"/>
                <a:gd name="T75" fmla="*/ 108 h 906"/>
                <a:gd name="T76" fmla="*/ 110 w 1438"/>
                <a:gd name="T77" fmla="*/ 94 h 906"/>
                <a:gd name="T78" fmla="*/ 96 w 1438"/>
                <a:gd name="T79" fmla="*/ 82 h 906"/>
                <a:gd name="T80" fmla="*/ 86 w 1438"/>
                <a:gd name="T81" fmla="*/ 62 h 906"/>
                <a:gd name="T82" fmla="*/ 78 w 1438"/>
                <a:gd name="T83" fmla="*/ 54 h 906"/>
                <a:gd name="T84" fmla="*/ 68 w 1438"/>
                <a:gd name="T85" fmla="*/ 46 h 906"/>
                <a:gd name="T86" fmla="*/ 58 w 1438"/>
                <a:gd name="T87" fmla="*/ 36 h 906"/>
                <a:gd name="T88" fmla="*/ 32 w 1438"/>
                <a:gd name="T89" fmla="*/ 18 h 906"/>
                <a:gd name="T90" fmla="*/ 16 w 1438"/>
                <a:gd name="T91" fmla="*/ 8 h 906"/>
                <a:gd name="T92" fmla="*/ 0 w 1438"/>
                <a:gd name="T93" fmla="*/ 0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38" h="906">
                  <a:moveTo>
                    <a:pt x="1438" y="906"/>
                  </a:moveTo>
                  <a:lnTo>
                    <a:pt x="1438" y="626"/>
                  </a:lnTo>
                  <a:lnTo>
                    <a:pt x="1174" y="626"/>
                  </a:lnTo>
                  <a:lnTo>
                    <a:pt x="1174" y="572"/>
                  </a:lnTo>
                  <a:lnTo>
                    <a:pt x="968" y="572"/>
                  </a:lnTo>
                  <a:lnTo>
                    <a:pt x="968" y="518"/>
                  </a:lnTo>
                  <a:lnTo>
                    <a:pt x="868" y="518"/>
                  </a:lnTo>
                  <a:lnTo>
                    <a:pt x="868" y="490"/>
                  </a:lnTo>
                  <a:lnTo>
                    <a:pt x="556" y="490"/>
                  </a:lnTo>
                  <a:lnTo>
                    <a:pt x="556" y="482"/>
                  </a:lnTo>
                  <a:lnTo>
                    <a:pt x="506" y="482"/>
                  </a:lnTo>
                  <a:lnTo>
                    <a:pt x="506" y="462"/>
                  </a:lnTo>
                  <a:lnTo>
                    <a:pt x="486" y="462"/>
                  </a:lnTo>
                  <a:lnTo>
                    <a:pt x="486" y="452"/>
                  </a:lnTo>
                  <a:lnTo>
                    <a:pt x="448" y="452"/>
                  </a:lnTo>
                  <a:lnTo>
                    <a:pt x="448" y="444"/>
                  </a:lnTo>
                  <a:lnTo>
                    <a:pt x="416" y="444"/>
                  </a:lnTo>
                  <a:lnTo>
                    <a:pt x="416" y="436"/>
                  </a:lnTo>
                  <a:lnTo>
                    <a:pt x="404" y="436"/>
                  </a:lnTo>
                  <a:lnTo>
                    <a:pt x="404" y="428"/>
                  </a:lnTo>
                  <a:lnTo>
                    <a:pt x="392" y="428"/>
                  </a:lnTo>
                  <a:lnTo>
                    <a:pt x="392" y="406"/>
                  </a:lnTo>
                  <a:lnTo>
                    <a:pt x="388" y="406"/>
                  </a:lnTo>
                  <a:lnTo>
                    <a:pt x="388" y="398"/>
                  </a:lnTo>
                  <a:lnTo>
                    <a:pt x="378" y="398"/>
                  </a:lnTo>
                  <a:lnTo>
                    <a:pt x="378" y="390"/>
                  </a:lnTo>
                  <a:lnTo>
                    <a:pt x="358" y="390"/>
                  </a:lnTo>
                  <a:lnTo>
                    <a:pt x="358" y="382"/>
                  </a:lnTo>
                  <a:lnTo>
                    <a:pt x="330" y="382"/>
                  </a:lnTo>
                  <a:lnTo>
                    <a:pt x="330" y="360"/>
                  </a:lnTo>
                  <a:lnTo>
                    <a:pt x="324" y="360"/>
                  </a:lnTo>
                  <a:lnTo>
                    <a:pt x="324" y="344"/>
                  </a:lnTo>
                  <a:lnTo>
                    <a:pt x="318" y="344"/>
                  </a:lnTo>
                  <a:lnTo>
                    <a:pt x="318" y="336"/>
                  </a:lnTo>
                  <a:lnTo>
                    <a:pt x="312" y="336"/>
                  </a:lnTo>
                  <a:lnTo>
                    <a:pt x="312" y="328"/>
                  </a:lnTo>
                  <a:lnTo>
                    <a:pt x="304" y="328"/>
                  </a:lnTo>
                  <a:lnTo>
                    <a:pt x="304" y="316"/>
                  </a:lnTo>
                  <a:lnTo>
                    <a:pt x="288" y="316"/>
                  </a:lnTo>
                  <a:lnTo>
                    <a:pt x="288" y="308"/>
                  </a:lnTo>
                  <a:lnTo>
                    <a:pt x="284" y="308"/>
                  </a:lnTo>
                  <a:lnTo>
                    <a:pt x="284" y="300"/>
                  </a:lnTo>
                  <a:lnTo>
                    <a:pt x="274" y="300"/>
                  </a:lnTo>
                  <a:lnTo>
                    <a:pt x="274" y="288"/>
                  </a:lnTo>
                  <a:lnTo>
                    <a:pt x="270" y="288"/>
                  </a:lnTo>
                  <a:lnTo>
                    <a:pt x="270" y="280"/>
                  </a:lnTo>
                  <a:lnTo>
                    <a:pt x="258" y="280"/>
                  </a:lnTo>
                  <a:lnTo>
                    <a:pt x="258" y="270"/>
                  </a:lnTo>
                  <a:lnTo>
                    <a:pt x="250" y="270"/>
                  </a:lnTo>
                  <a:lnTo>
                    <a:pt x="250" y="260"/>
                  </a:lnTo>
                  <a:lnTo>
                    <a:pt x="236" y="260"/>
                  </a:lnTo>
                  <a:lnTo>
                    <a:pt x="236" y="254"/>
                  </a:lnTo>
                  <a:lnTo>
                    <a:pt x="230" y="254"/>
                  </a:lnTo>
                  <a:lnTo>
                    <a:pt x="230" y="240"/>
                  </a:lnTo>
                  <a:lnTo>
                    <a:pt x="220" y="240"/>
                  </a:lnTo>
                  <a:lnTo>
                    <a:pt x="220" y="226"/>
                  </a:lnTo>
                  <a:lnTo>
                    <a:pt x="208" y="226"/>
                  </a:lnTo>
                  <a:lnTo>
                    <a:pt x="208" y="218"/>
                  </a:lnTo>
                  <a:lnTo>
                    <a:pt x="194" y="218"/>
                  </a:lnTo>
                  <a:lnTo>
                    <a:pt x="194" y="208"/>
                  </a:lnTo>
                  <a:lnTo>
                    <a:pt x="188" y="208"/>
                  </a:lnTo>
                  <a:lnTo>
                    <a:pt x="188" y="200"/>
                  </a:lnTo>
                  <a:lnTo>
                    <a:pt x="180" y="200"/>
                  </a:lnTo>
                  <a:lnTo>
                    <a:pt x="180" y="182"/>
                  </a:lnTo>
                  <a:lnTo>
                    <a:pt x="162" y="182"/>
                  </a:lnTo>
                  <a:lnTo>
                    <a:pt x="162" y="172"/>
                  </a:lnTo>
                  <a:lnTo>
                    <a:pt x="156" y="172"/>
                  </a:lnTo>
                  <a:lnTo>
                    <a:pt x="156" y="164"/>
                  </a:lnTo>
                  <a:lnTo>
                    <a:pt x="138" y="164"/>
                  </a:lnTo>
                  <a:lnTo>
                    <a:pt x="138" y="144"/>
                  </a:lnTo>
                  <a:lnTo>
                    <a:pt x="134" y="144"/>
                  </a:lnTo>
                  <a:lnTo>
                    <a:pt x="134" y="128"/>
                  </a:lnTo>
                  <a:lnTo>
                    <a:pt x="124" y="128"/>
                  </a:lnTo>
                  <a:lnTo>
                    <a:pt x="124" y="120"/>
                  </a:lnTo>
                  <a:lnTo>
                    <a:pt x="118" y="120"/>
                  </a:lnTo>
                  <a:lnTo>
                    <a:pt x="118" y="108"/>
                  </a:lnTo>
                  <a:lnTo>
                    <a:pt x="118" y="94"/>
                  </a:lnTo>
                  <a:lnTo>
                    <a:pt x="110" y="94"/>
                  </a:lnTo>
                  <a:lnTo>
                    <a:pt x="110" y="82"/>
                  </a:lnTo>
                  <a:lnTo>
                    <a:pt x="96" y="82"/>
                  </a:lnTo>
                  <a:lnTo>
                    <a:pt x="96" y="62"/>
                  </a:lnTo>
                  <a:lnTo>
                    <a:pt x="86" y="62"/>
                  </a:lnTo>
                  <a:lnTo>
                    <a:pt x="86" y="54"/>
                  </a:lnTo>
                  <a:lnTo>
                    <a:pt x="78" y="54"/>
                  </a:lnTo>
                  <a:lnTo>
                    <a:pt x="78" y="46"/>
                  </a:lnTo>
                  <a:lnTo>
                    <a:pt x="68" y="46"/>
                  </a:lnTo>
                  <a:lnTo>
                    <a:pt x="68" y="36"/>
                  </a:lnTo>
                  <a:lnTo>
                    <a:pt x="58" y="36"/>
                  </a:lnTo>
                  <a:lnTo>
                    <a:pt x="58" y="18"/>
                  </a:lnTo>
                  <a:lnTo>
                    <a:pt x="32" y="18"/>
                  </a:lnTo>
                  <a:lnTo>
                    <a:pt x="32" y="8"/>
                  </a:lnTo>
                  <a:lnTo>
                    <a:pt x="16" y="8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rgbClr val="4C5A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3" name="Freeform 31">
              <a:extLst>
                <a:ext uri="{FF2B5EF4-FFF2-40B4-BE49-F238E27FC236}">
                  <a16:creationId xmlns:a16="http://schemas.microsoft.com/office/drawing/2014/main" id="{3013CC73-AEF6-4E37-9BD3-2C3A3AC0A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3588" y="2695575"/>
              <a:ext cx="4999037" cy="1655763"/>
            </a:xfrm>
            <a:custGeom>
              <a:avLst/>
              <a:gdLst>
                <a:gd name="T0" fmla="*/ 1020 w 1428"/>
                <a:gd name="T1" fmla="*/ 608 h 608"/>
                <a:gd name="T2" fmla="*/ 972 w 1428"/>
                <a:gd name="T3" fmla="*/ 582 h 608"/>
                <a:gd name="T4" fmla="*/ 936 w 1428"/>
                <a:gd name="T5" fmla="*/ 562 h 608"/>
                <a:gd name="T6" fmla="*/ 918 w 1428"/>
                <a:gd name="T7" fmla="*/ 554 h 608"/>
                <a:gd name="T8" fmla="*/ 908 w 1428"/>
                <a:gd name="T9" fmla="*/ 536 h 608"/>
                <a:gd name="T10" fmla="*/ 894 w 1428"/>
                <a:gd name="T11" fmla="*/ 528 h 608"/>
                <a:gd name="T12" fmla="*/ 866 w 1428"/>
                <a:gd name="T13" fmla="*/ 508 h 608"/>
                <a:gd name="T14" fmla="*/ 848 w 1428"/>
                <a:gd name="T15" fmla="*/ 498 h 608"/>
                <a:gd name="T16" fmla="*/ 844 w 1428"/>
                <a:gd name="T17" fmla="*/ 490 h 608"/>
                <a:gd name="T18" fmla="*/ 818 w 1428"/>
                <a:gd name="T19" fmla="*/ 472 h 608"/>
                <a:gd name="T20" fmla="*/ 804 w 1428"/>
                <a:gd name="T21" fmla="*/ 462 h 608"/>
                <a:gd name="T22" fmla="*/ 774 w 1428"/>
                <a:gd name="T23" fmla="*/ 454 h 608"/>
                <a:gd name="T24" fmla="*/ 726 w 1428"/>
                <a:gd name="T25" fmla="*/ 444 h 608"/>
                <a:gd name="T26" fmla="*/ 700 w 1428"/>
                <a:gd name="T27" fmla="*/ 436 h 608"/>
                <a:gd name="T28" fmla="*/ 684 w 1428"/>
                <a:gd name="T29" fmla="*/ 426 h 608"/>
                <a:gd name="T30" fmla="*/ 676 w 1428"/>
                <a:gd name="T31" fmla="*/ 418 h 608"/>
                <a:gd name="T32" fmla="*/ 670 w 1428"/>
                <a:gd name="T33" fmla="*/ 408 h 608"/>
                <a:gd name="T34" fmla="*/ 640 w 1428"/>
                <a:gd name="T35" fmla="*/ 398 h 608"/>
                <a:gd name="T36" fmla="*/ 630 w 1428"/>
                <a:gd name="T37" fmla="*/ 390 h 608"/>
                <a:gd name="T38" fmla="*/ 606 w 1428"/>
                <a:gd name="T39" fmla="*/ 382 h 608"/>
                <a:gd name="T40" fmla="*/ 596 w 1428"/>
                <a:gd name="T41" fmla="*/ 372 h 608"/>
                <a:gd name="T42" fmla="*/ 554 w 1428"/>
                <a:gd name="T43" fmla="*/ 364 h 608"/>
                <a:gd name="T44" fmla="*/ 540 w 1428"/>
                <a:gd name="T45" fmla="*/ 354 h 608"/>
                <a:gd name="T46" fmla="*/ 524 w 1428"/>
                <a:gd name="T47" fmla="*/ 346 h 608"/>
                <a:gd name="T48" fmla="*/ 482 w 1428"/>
                <a:gd name="T49" fmla="*/ 336 h 608"/>
                <a:gd name="T50" fmla="*/ 462 w 1428"/>
                <a:gd name="T51" fmla="*/ 328 h 608"/>
                <a:gd name="T52" fmla="*/ 448 w 1428"/>
                <a:gd name="T53" fmla="*/ 318 h 608"/>
                <a:gd name="T54" fmla="*/ 438 w 1428"/>
                <a:gd name="T55" fmla="*/ 308 h 608"/>
                <a:gd name="T56" fmla="*/ 418 w 1428"/>
                <a:gd name="T57" fmla="*/ 300 h 608"/>
                <a:gd name="T58" fmla="*/ 404 w 1428"/>
                <a:gd name="T59" fmla="*/ 290 h 608"/>
                <a:gd name="T60" fmla="*/ 394 w 1428"/>
                <a:gd name="T61" fmla="*/ 282 h 608"/>
                <a:gd name="T62" fmla="*/ 378 w 1428"/>
                <a:gd name="T63" fmla="*/ 272 h 608"/>
                <a:gd name="T64" fmla="*/ 372 w 1428"/>
                <a:gd name="T65" fmla="*/ 264 h 608"/>
                <a:gd name="T66" fmla="*/ 366 w 1428"/>
                <a:gd name="T67" fmla="*/ 254 h 608"/>
                <a:gd name="T68" fmla="*/ 348 w 1428"/>
                <a:gd name="T69" fmla="*/ 246 h 608"/>
                <a:gd name="T70" fmla="*/ 340 w 1428"/>
                <a:gd name="T71" fmla="*/ 228 h 608"/>
                <a:gd name="T72" fmla="*/ 328 w 1428"/>
                <a:gd name="T73" fmla="*/ 218 h 608"/>
                <a:gd name="T74" fmla="*/ 304 w 1428"/>
                <a:gd name="T75" fmla="*/ 208 h 608"/>
                <a:gd name="T76" fmla="*/ 294 w 1428"/>
                <a:gd name="T77" fmla="*/ 200 h 608"/>
                <a:gd name="T78" fmla="*/ 274 w 1428"/>
                <a:gd name="T79" fmla="*/ 192 h 608"/>
                <a:gd name="T80" fmla="*/ 260 w 1428"/>
                <a:gd name="T81" fmla="*/ 182 h 608"/>
                <a:gd name="T82" fmla="*/ 254 w 1428"/>
                <a:gd name="T83" fmla="*/ 174 h 608"/>
                <a:gd name="T84" fmla="*/ 244 w 1428"/>
                <a:gd name="T85" fmla="*/ 166 h 608"/>
                <a:gd name="T86" fmla="*/ 224 w 1428"/>
                <a:gd name="T87" fmla="*/ 156 h 608"/>
                <a:gd name="T88" fmla="*/ 216 w 1428"/>
                <a:gd name="T89" fmla="*/ 146 h 608"/>
                <a:gd name="T90" fmla="*/ 206 w 1428"/>
                <a:gd name="T91" fmla="*/ 136 h 608"/>
                <a:gd name="T92" fmla="*/ 196 w 1428"/>
                <a:gd name="T93" fmla="*/ 128 h 608"/>
                <a:gd name="T94" fmla="*/ 190 w 1428"/>
                <a:gd name="T95" fmla="*/ 118 h 608"/>
                <a:gd name="T96" fmla="*/ 184 w 1428"/>
                <a:gd name="T97" fmla="*/ 108 h 608"/>
                <a:gd name="T98" fmla="*/ 176 w 1428"/>
                <a:gd name="T99" fmla="*/ 100 h 608"/>
                <a:gd name="T100" fmla="*/ 162 w 1428"/>
                <a:gd name="T101" fmla="*/ 90 h 608"/>
                <a:gd name="T102" fmla="*/ 156 w 1428"/>
                <a:gd name="T103" fmla="*/ 80 h 608"/>
                <a:gd name="T104" fmla="*/ 140 w 1428"/>
                <a:gd name="T105" fmla="*/ 74 h 608"/>
                <a:gd name="T106" fmla="*/ 132 w 1428"/>
                <a:gd name="T107" fmla="*/ 64 h 608"/>
                <a:gd name="T108" fmla="*/ 122 w 1428"/>
                <a:gd name="T109" fmla="*/ 54 h 608"/>
                <a:gd name="T110" fmla="*/ 102 w 1428"/>
                <a:gd name="T111" fmla="*/ 46 h 608"/>
                <a:gd name="T112" fmla="*/ 86 w 1428"/>
                <a:gd name="T113" fmla="*/ 38 h 608"/>
                <a:gd name="T114" fmla="*/ 52 w 1428"/>
                <a:gd name="T115" fmla="*/ 28 h 608"/>
                <a:gd name="T116" fmla="*/ 38 w 1428"/>
                <a:gd name="T117" fmla="*/ 18 h 608"/>
                <a:gd name="T118" fmla="*/ 34 w 1428"/>
                <a:gd name="T119" fmla="*/ 10 h 608"/>
                <a:gd name="T120" fmla="*/ 14 w 1428"/>
                <a:gd name="T121" fmla="*/ 0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28" h="608">
                  <a:moveTo>
                    <a:pt x="1428" y="608"/>
                  </a:moveTo>
                  <a:lnTo>
                    <a:pt x="1020" y="608"/>
                  </a:lnTo>
                  <a:lnTo>
                    <a:pt x="1020" y="582"/>
                  </a:lnTo>
                  <a:lnTo>
                    <a:pt x="972" y="582"/>
                  </a:lnTo>
                  <a:lnTo>
                    <a:pt x="972" y="562"/>
                  </a:lnTo>
                  <a:lnTo>
                    <a:pt x="936" y="562"/>
                  </a:lnTo>
                  <a:lnTo>
                    <a:pt x="936" y="554"/>
                  </a:lnTo>
                  <a:lnTo>
                    <a:pt x="918" y="554"/>
                  </a:lnTo>
                  <a:lnTo>
                    <a:pt x="918" y="536"/>
                  </a:lnTo>
                  <a:lnTo>
                    <a:pt x="908" y="536"/>
                  </a:lnTo>
                  <a:lnTo>
                    <a:pt x="908" y="528"/>
                  </a:lnTo>
                  <a:lnTo>
                    <a:pt x="894" y="528"/>
                  </a:lnTo>
                  <a:lnTo>
                    <a:pt x="894" y="508"/>
                  </a:lnTo>
                  <a:lnTo>
                    <a:pt x="866" y="508"/>
                  </a:lnTo>
                  <a:lnTo>
                    <a:pt x="866" y="498"/>
                  </a:lnTo>
                  <a:lnTo>
                    <a:pt x="848" y="498"/>
                  </a:lnTo>
                  <a:lnTo>
                    <a:pt x="848" y="490"/>
                  </a:lnTo>
                  <a:lnTo>
                    <a:pt x="844" y="490"/>
                  </a:lnTo>
                  <a:lnTo>
                    <a:pt x="844" y="472"/>
                  </a:lnTo>
                  <a:lnTo>
                    <a:pt x="818" y="472"/>
                  </a:lnTo>
                  <a:lnTo>
                    <a:pt x="818" y="462"/>
                  </a:lnTo>
                  <a:lnTo>
                    <a:pt x="804" y="462"/>
                  </a:lnTo>
                  <a:lnTo>
                    <a:pt x="804" y="454"/>
                  </a:lnTo>
                  <a:lnTo>
                    <a:pt x="774" y="454"/>
                  </a:lnTo>
                  <a:lnTo>
                    <a:pt x="774" y="444"/>
                  </a:lnTo>
                  <a:lnTo>
                    <a:pt x="726" y="444"/>
                  </a:lnTo>
                  <a:lnTo>
                    <a:pt x="726" y="436"/>
                  </a:lnTo>
                  <a:lnTo>
                    <a:pt x="700" y="436"/>
                  </a:lnTo>
                  <a:lnTo>
                    <a:pt x="700" y="426"/>
                  </a:lnTo>
                  <a:lnTo>
                    <a:pt x="684" y="426"/>
                  </a:lnTo>
                  <a:lnTo>
                    <a:pt x="684" y="418"/>
                  </a:lnTo>
                  <a:lnTo>
                    <a:pt x="676" y="418"/>
                  </a:lnTo>
                  <a:lnTo>
                    <a:pt x="676" y="408"/>
                  </a:lnTo>
                  <a:lnTo>
                    <a:pt x="670" y="408"/>
                  </a:lnTo>
                  <a:lnTo>
                    <a:pt x="670" y="398"/>
                  </a:lnTo>
                  <a:lnTo>
                    <a:pt x="640" y="398"/>
                  </a:lnTo>
                  <a:lnTo>
                    <a:pt x="640" y="390"/>
                  </a:lnTo>
                  <a:lnTo>
                    <a:pt x="630" y="390"/>
                  </a:lnTo>
                  <a:lnTo>
                    <a:pt x="630" y="382"/>
                  </a:lnTo>
                  <a:lnTo>
                    <a:pt x="606" y="382"/>
                  </a:lnTo>
                  <a:lnTo>
                    <a:pt x="606" y="372"/>
                  </a:lnTo>
                  <a:lnTo>
                    <a:pt x="596" y="372"/>
                  </a:lnTo>
                  <a:lnTo>
                    <a:pt x="596" y="364"/>
                  </a:lnTo>
                  <a:lnTo>
                    <a:pt x="554" y="364"/>
                  </a:lnTo>
                  <a:lnTo>
                    <a:pt x="554" y="354"/>
                  </a:lnTo>
                  <a:lnTo>
                    <a:pt x="540" y="354"/>
                  </a:lnTo>
                  <a:lnTo>
                    <a:pt x="540" y="346"/>
                  </a:lnTo>
                  <a:lnTo>
                    <a:pt x="524" y="346"/>
                  </a:lnTo>
                  <a:lnTo>
                    <a:pt x="524" y="336"/>
                  </a:lnTo>
                  <a:lnTo>
                    <a:pt x="482" y="336"/>
                  </a:lnTo>
                  <a:lnTo>
                    <a:pt x="482" y="328"/>
                  </a:lnTo>
                  <a:lnTo>
                    <a:pt x="462" y="328"/>
                  </a:lnTo>
                  <a:lnTo>
                    <a:pt x="462" y="318"/>
                  </a:lnTo>
                  <a:lnTo>
                    <a:pt x="448" y="318"/>
                  </a:lnTo>
                  <a:lnTo>
                    <a:pt x="448" y="308"/>
                  </a:lnTo>
                  <a:lnTo>
                    <a:pt x="438" y="308"/>
                  </a:lnTo>
                  <a:lnTo>
                    <a:pt x="438" y="300"/>
                  </a:lnTo>
                  <a:lnTo>
                    <a:pt x="418" y="300"/>
                  </a:lnTo>
                  <a:lnTo>
                    <a:pt x="418" y="290"/>
                  </a:lnTo>
                  <a:lnTo>
                    <a:pt x="404" y="290"/>
                  </a:lnTo>
                  <a:lnTo>
                    <a:pt x="404" y="282"/>
                  </a:lnTo>
                  <a:lnTo>
                    <a:pt x="394" y="282"/>
                  </a:lnTo>
                  <a:lnTo>
                    <a:pt x="394" y="272"/>
                  </a:lnTo>
                  <a:lnTo>
                    <a:pt x="378" y="272"/>
                  </a:lnTo>
                  <a:lnTo>
                    <a:pt x="378" y="264"/>
                  </a:lnTo>
                  <a:lnTo>
                    <a:pt x="372" y="264"/>
                  </a:lnTo>
                  <a:lnTo>
                    <a:pt x="372" y="254"/>
                  </a:lnTo>
                  <a:lnTo>
                    <a:pt x="366" y="254"/>
                  </a:lnTo>
                  <a:lnTo>
                    <a:pt x="366" y="246"/>
                  </a:lnTo>
                  <a:lnTo>
                    <a:pt x="348" y="246"/>
                  </a:lnTo>
                  <a:lnTo>
                    <a:pt x="348" y="228"/>
                  </a:lnTo>
                  <a:lnTo>
                    <a:pt x="340" y="228"/>
                  </a:lnTo>
                  <a:lnTo>
                    <a:pt x="340" y="218"/>
                  </a:lnTo>
                  <a:lnTo>
                    <a:pt x="328" y="218"/>
                  </a:lnTo>
                  <a:lnTo>
                    <a:pt x="328" y="208"/>
                  </a:lnTo>
                  <a:lnTo>
                    <a:pt x="304" y="208"/>
                  </a:lnTo>
                  <a:lnTo>
                    <a:pt x="304" y="200"/>
                  </a:lnTo>
                  <a:lnTo>
                    <a:pt x="294" y="200"/>
                  </a:lnTo>
                  <a:lnTo>
                    <a:pt x="294" y="192"/>
                  </a:lnTo>
                  <a:lnTo>
                    <a:pt x="274" y="192"/>
                  </a:lnTo>
                  <a:lnTo>
                    <a:pt x="274" y="182"/>
                  </a:lnTo>
                  <a:lnTo>
                    <a:pt x="260" y="182"/>
                  </a:lnTo>
                  <a:lnTo>
                    <a:pt x="260" y="174"/>
                  </a:lnTo>
                  <a:lnTo>
                    <a:pt x="254" y="174"/>
                  </a:lnTo>
                  <a:lnTo>
                    <a:pt x="254" y="166"/>
                  </a:lnTo>
                  <a:lnTo>
                    <a:pt x="244" y="166"/>
                  </a:lnTo>
                  <a:lnTo>
                    <a:pt x="244" y="156"/>
                  </a:lnTo>
                  <a:lnTo>
                    <a:pt x="224" y="156"/>
                  </a:lnTo>
                  <a:lnTo>
                    <a:pt x="224" y="146"/>
                  </a:lnTo>
                  <a:lnTo>
                    <a:pt x="216" y="146"/>
                  </a:lnTo>
                  <a:lnTo>
                    <a:pt x="216" y="136"/>
                  </a:lnTo>
                  <a:lnTo>
                    <a:pt x="206" y="136"/>
                  </a:lnTo>
                  <a:lnTo>
                    <a:pt x="206" y="128"/>
                  </a:lnTo>
                  <a:lnTo>
                    <a:pt x="196" y="128"/>
                  </a:lnTo>
                  <a:lnTo>
                    <a:pt x="196" y="118"/>
                  </a:lnTo>
                  <a:lnTo>
                    <a:pt x="190" y="118"/>
                  </a:lnTo>
                  <a:lnTo>
                    <a:pt x="190" y="108"/>
                  </a:lnTo>
                  <a:lnTo>
                    <a:pt x="184" y="108"/>
                  </a:lnTo>
                  <a:lnTo>
                    <a:pt x="184" y="100"/>
                  </a:lnTo>
                  <a:lnTo>
                    <a:pt x="176" y="100"/>
                  </a:lnTo>
                  <a:lnTo>
                    <a:pt x="176" y="90"/>
                  </a:lnTo>
                  <a:lnTo>
                    <a:pt x="162" y="90"/>
                  </a:lnTo>
                  <a:lnTo>
                    <a:pt x="162" y="80"/>
                  </a:lnTo>
                  <a:lnTo>
                    <a:pt x="156" y="80"/>
                  </a:lnTo>
                  <a:lnTo>
                    <a:pt x="156" y="74"/>
                  </a:lnTo>
                  <a:lnTo>
                    <a:pt x="140" y="74"/>
                  </a:lnTo>
                  <a:lnTo>
                    <a:pt x="140" y="64"/>
                  </a:lnTo>
                  <a:lnTo>
                    <a:pt x="132" y="64"/>
                  </a:lnTo>
                  <a:lnTo>
                    <a:pt x="132" y="54"/>
                  </a:lnTo>
                  <a:lnTo>
                    <a:pt x="122" y="54"/>
                  </a:lnTo>
                  <a:lnTo>
                    <a:pt x="122" y="46"/>
                  </a:lnTo>
                  <a:lnTo>
                    <a:pt x="102" y="46"/>
                  </a:lnTo>
                  <a:lnTo>
                    <a:pt x="102" y="38"/>
                  </a:lnTo>
                  <a:lnTo>
                    <a:pt x="86" y="38"/>
                  </a:lnTo>
                  <a:lnTo>
                    <a:pt x="86" y="28"/>
                  </a:lnTo>
                  <a:lnTo>
                    <a:pt x="52" y="28"/>
                  </a:lnTo>
                  <a:lnTo>
                    <a:pt x="52" y="18"/>
                  </a:lnTo>
                  <a:lnTo>
                    <a:pt x="38" y="18"/>
                  </a:lnTo>
                  <a:lnTo>
                    <a:pt x="34" y="18"/>
                  </a:lnTo>
                  <a:lnTo>
                    <a:pt x="34" y="10"/>
                  </a:lnTo>
                  <a:lnTo>
                    <a:pt x="14" y="10"/>
                  </a:lnTo>
                  <a:lnTo>
                    <a:pt x="14" y="0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rgbClr val="F3F2DC">
                  <a:lumMod val="50000"/>
                </a:srgb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4" name="TextBox 29">
              <a:extLst>
                <a:ext uri="{FF2B5EF4-FFF2-40B4-BE49-F238E27FC236}">
                  <a16:creationId xmlns:a16="http://schemas.microsoft.com/office/drawing/2014/main" id="{B66BFB01-B2E7-447A-823C-5B7151BCD42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34888" y="5013383"/>
              <a:ext cx="263214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0</a:t>
              </a:r>
            </a:p>
          </p:txBody>
        </p:sp>
        <p:sp>
          <p:nvSpPr>
            <p:cNvPr id="85" name="TextBox 30">
              <a:extLst>
                <a:ext uri="{FF2B5EF4-FFF2-40B4-BE49-F238E27FC236}">
                  <a16:creationId xmlns:a16="http://schemas.microsoft.com/office/drawing/2014/main" id="{050FBA19-425F-484E-A470-80E084B143A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6343" y="4523786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20</a:t>
              </a:r>
            </a:p>
          </p:txBody>
        </p:sp>
        <p:sp>
          <p:nvSpPr>
            <p:cNvPr id="86" name="TextBox 31">
              <a:extLst>
                <a:ext uri="{FF2B5EF4-FFF2-40B4-BE49-F238E27FC236}">
                  <a16:creationId xmlns:a16="http://schemas.microsoft.com/office/drawing/2014/main" id="{AFC2E501-8FA8-4E34-AF83-FE21AD5E56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6343" y="4034189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40</a:t>
              </a:r>
            </a:p>
          </p:txBody>
        </p:sp>
        <p:sp>
          <p:nvSpPr>
            <p:cNvPr id="87" name="TextBox 32">
              <a:extLst>
                <a:ext uri="{FF2B5EF4-FFF2-40B4-BE49-F238E27FC236}">
                  <a16:creationId xmlns:a16="http://schemas.microsoft.com/office/drawing/2014/main" id="{94B59507-C31B-4228-8CF5-C60ACB6ADE0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6343" y="3544593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60</a:t>
              </a:r>
            </a:p>
          </p:txBody>
        </p:sp>
        <p:sp>
          <p:nvSpPr>
            <p:cNvPr id="88" name="TextBox 33">
              <a:extLst>
                <a:ext uri="{FF2B5EF4-FFF2-40B4-BE49-F238E27FC236}">
                  <a16:creationId xmlns:a16="http://schemas.microsoft.com/office/drawing/2014/main" id="{5ED10FFA-8815-46A1-949E-E0064DFA04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6343" y="3054996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80</a:t>
              </a:r>
            </a:p>
          </p:txBody>
        </p:sp>
        <p:sp>
          <p:nvSpPr>
            <p:cNvPr id="89" name="TextBox 34">
              <a:extLst>
                <a:ext uri="{FF2B5EF4-FFF2-40B4-BE49-F238E27FC236}">
                  <a16:creationId xmlns:a16="http://schemas.microsoft.com/office/drawing/2014/main" id="{EE0FB852-06D8-477C-9028-52F00C004B6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77795" y="2565400"/>
              <a:ext cx="420308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100</a:t>
              </a:r>
            </a:p>
          </p:txBody>
        </p:sp>
        <p:sp>
          <p:nvSpPr>
            <p:cNvPr id="90" name="TextBox 49">
              <a:extLst>
                <a:ext uri="{FF2B5EF4-FFF2-40B4-BE49-F238E27FC236}">
                  <a16:creationId xmlns:a16="http://schemas.microsoft.com/office/drawing/2014/main" id="{7B7738D2-BB04-453A-96DF-C42BA42EAD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00250" y="3238517"/>
              <a:ext cx="192039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HR=0.66 (%95 GA: 0.52–0.83)</a:t>
              </a:r>
              <a:b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</a:b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p&lt;0.001</a:t>
              </a:r>
            </a:p>
          </p:txBody>
        </p:sp>
        <p:sp>
          <p:nvSpPr>
            <p:cNvPr id="91" name="TextBox 24">
              <a:extLst>
                <a:ext uri="{FF2B5EF4-FFF2-40B4-BE49-F238E27FC236}">
                  <a16:creationId xmlns:a16="http://schemas.microsoft.com/office/drawing/2014/main" id="{EEBC9B9F-ED6E-4672-A7AC-5EFC6225113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1354272" y="3783313"/>
              <a:ext cx="244798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9000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İskeletle ilgili semptomatik olay olmayan hastalar (%)</a:t>
              </a:r>
            </a:p>
          </p:txBody>
        </p:sp>
        <p:sp>
          <p:nvSpPr>
            <p:cNvPr id="92" name="TextBox 25">
              <a:extLst>
                <a:ext uri="{FF2B5EF4-FFF2-40B4-BE49-F238E27FC236}">
                  <a16:creationId xmlns:a16="http://schemas.microsoft.com/office/drawing/2014/main" id="{60B9A239-19A4-403F-A1CB-B57D1ABDBEF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40598" y="5494923"/>
              <a:ext cx="4004417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Zaman</a:t>
              </a:r>
              <a:r>
                <a:rPr kumimoji="0" lang="en-US" altLang="tr-TR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 (ay)</a:t>
              </a:r>
            </a:p>
          </p:txBody>
        </p:sp>
        <p:cxnSp>
          <p:nvCxnSpPr>
            <p:cNvPr id="93" name="Straight Connector 22">
              <a:extLst>
                <a:ext uri="{FF2B5EF4-FFF2-40B4-BE49-F238E27FC236}">
                  <a16:creationId xmlns:a16="http://schemas.microsoft.com/office/drawing/2014/main" id="{C3940BA1-E695-4C8C-A735-FD63FBC5BBD8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5900738" y="2806700"/>
              <a:ext cx="333375" cy="0"/>
            </a:xfrm>
            <a:prstGeom prst="line">
              <a:avLst/>
            </a:prstGeom>
            <a:noFill/>
            <a:ln w="19050">
              <a:solidFill>
                <a:srgbClr val="F3F2DC">
                  <a:lumMod val="50000"/>
                </a:srgb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4" name="Straight Connector 65">
              <a:extLst>
                <a:ext uri="{FF2B5EF4-FFF2-40B4-BE49-F238E27FC236}">
                  <a16:creationId xmlns:a16="http://schemas.microsoft.com/office/drawing/2014/main" id="{6FCCF449-79BF-43EC-AF5E-A45D77F18D9E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5900738" y="3043238"/>
              <a:ext cx="333375" cy="0"/>
            </a:xfrm>
            <a:prstGeom prst="line">
              <a:avLst/>
            </a:prstGeom>
            <a:noFill/>
            <a:ln w="19050">
              <a:solidFill>
                <a:srgbClr val="4C5A6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95" name="TextBox 43">
              <a:extLst>
                <a:ext uri="{FF2B5EF4-FFF2-40B4-BE49-F238E27FC236}">
                  <a16:creationId xmlns:a16="http://schemas.microsoft.com/office/drawing/2014/main" id="{06163CF7-406C-4AD3-9CDD-BD3D61BF465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49578" y="2631182"/>
              <a:ext cx="2163633" cy="4799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defTabSz="4572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Radyum-223</a:t>
              </a:r>
            </a:p>
            <a:p>
              <a:pPr marL="0" marR="0" lvl="0" indent="0" defTabSz="4572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Plasebo</a:t>
              </a:r>
            </a:p>
          </p:txBody>
        </p:sp>
        <p:sp>
          <p:nvSpPr>
            <p:cNvPr id="96" name="TextBox 35">
              <a:extLst>
                <a:ext uri="{FF2B5EF4-FFF2-40B4-BE49-F238E27FC236}">
                  <a16:creationId xmlns:a16="http://schemas.microsoft.com/office/drawing/2014/main" id="{4D01B0B2-CB9B-4C46-A44A-CDC2E8E1C9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39203" y="5288329"/>
              <a:ext cx="184731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1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97" name="TextBox 35">
              <a:extLst>
                <a:ext uri="{FF2B5EF4-FFF2-40B4-BE49-F238E27FC236}">
                  <a16:creationId xmlns:a16="http://schemas.microsoft.com/office/drawing/2014/main" id="{E561CBEB-8123-4B82-B694-7D45ADA4577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88876" y="5258257"/>
              <a:ext cx="263213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0</a:t>
              </a:r>
            </a:p>
          </p:txBody>
        </p:sp>
        <p:sp>
          <p:nvSpPr>
            <p:cNvPr id="98" name="TextBox 35">
              <a:extLst>
                <a:ext uri="{FF2B5EF4-FFF2-40B4-BE49-F238E27FC236}">
                  <a16:creationId xmlns:a16="http://schemas.microsoft.com/office/drawing/2014/main" id="{1DE220EC-3F76-4F91-894E-C9CB9C76C4A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08813" y="5258257"/>
              <a:ext cx="263213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3</a:t>
              </a:r>
            </a:p>
          </p:txBody>
        </p:sp>
        <p:sp>
          <p:nvSpPr>
            <p:cNvPr id="99" name="TextBox 35">
              <a:extLst>
                <a:ext uri="{FF2B5EF4-FFF2-40B4-BE49-F238E27FC236}">
                  <a16:creationId xmlns:a16="http://schemas.microsoft.com/office/drawing/2014/main" id="{769C76BA-A4E8-46AA-BBF8-EB7F9A04FDB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28749" y="5258257"/>
              <a:ext cx="263213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6</a:t>
              </a:r>
            </a:p>
          </p:txBody>
        </p:sp>
        <p:sp>
          <p:nvSpPr>
            <p:cNvPr id="100" name="TextBox 35">
              <a:extLst>
                <a:ext uri="{FF2B5EF4-FFF2-40B4-BE49-F238E27FC236}">
                  <a16:creationId xmlns:a16="http://schemas.microsoft.com/office/drawing/2014/main" id="{2CA7E86B-7C06-48CF-A971-523108564D7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48686" y="5258257"/>
              <a:ext cx="263213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9</a:t>
              </a:r>
            </a:p>
          </p:txBody>
        </p:sp>
        <p:sp>
          <p:nvSpPr>
            <p:cNvPr id="101" name="TextBox 35">
              <a:extLst>
                <a:ext uri="{FF2B5EF4-FFF2-40B4-BE49-F238E27FC236}">
                  <a16:creationId xmlns:a16="http://schemas.microsoft.com/office/drawing/2014/main" id="{273AB0D8-4487-4610-BCA8-8FA65153E6F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29349" y="5258257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12</a:t>
              </a:r>
            </a:p>
          </p:txBody>
        </p:sp>
        <p:sp>
          <p:nvSpPr>
            <p:cNvPr id="102" name="TextBox 35">
              <a:extLst>
                <a:ext uri="{FF2B5EF4-FFF2-40B4-BE49-F238E27FC236}">
                  <a16:creationId xmlns:a16="http://schemas.microsoft.com/office/drawing/2014/main" id="{2AA26746-DDCB-401B-BC79-CE571B3B1CD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49286" y="5258257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15</a:t>
              </a:r>
            </a:p>
          </p:txBody>
        </p:sp>
        <p:sp>
          <p:nvSpPr>
            <p:cNvPr id="103" name="TextBox 35">
              <a:extLst>
                <a:ext uri="{FF2B5EF4-FFF2-40B4-BE49-F238E27FC236}">
                  <a16:creationId xmlns:a16="http://schemas.microsoft.com/office/drawing/2014/main" id="{7622CCC5-81D1-4D04-BDA7-A867201F644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69222" y="5258257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18</a:t>
              </a:r>
            </a:p>
          </p:txBody>
        </p:sp>
        <p:sp>
          <p:nvSpPr>
            <p:cNvPr id="104" name="TextBox 35">
              <a:extLst>
                <a:ext uri="{FF2B5EF4-FFF2-40B4-BE49-F238E27FC236}">
                  <a16:creationId xmlns:a16="http://schemas.microsoft.com/office/drawing/2014/main" id="{F572C952-A12C-4EA3-8DE1-C7B71A55377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89159" y="5258257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21</a:t>
              </a:r>
            </a:p>
          </p:txBody>
        </p:sp>
        <p:sp>
          <p:nvSpPr>
            <p:cNvPr id="105" name="TextBox 35">
              <a:extLst>
                <a:ext uri="{FF2B5EF4-FFF2-40B4-BE49-F238E27FC236}">
                  <a16:creationId xmlns:a16="http://schemas.microsoft.com/office/drawing/2014/main" id="{8F8225B0-3400-40D0-924B-DA943232EBE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09095" y="5258257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24</a:t>
              </a:r>
            </a:p>
          </p:txBody>
        </p:sp>
        <p:sp>
          <p:nvSpPr>
            <p:cNvPr id="106" name="TextBox 35">
              <a:extLst>
                <a:ext uri="{FF2B5EF4-FFF2-40B4-BE49-F238E27FC236}">
                  <a16:creationId xmlns:a16="http://schemas.microsoft.com/office/drawing/2014/main" id="{4646BDA3-C2E9-4FC4-A59A-78F99016168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29032" y="5258257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27</a:t>
              </a:r>
            </a:p>
          </p:txBody>
        </p:sp>
        <p:sp>
          <p:nvSpPr>
            <p:cNvPr id="107" name="TextBox 35">
              <a:extLst>
                <a:ext uri="{FF2B5EF4-FFF2-40B4-BE49-F238E27FC236}">
                  <a16:creationId xmlns:a16="http://schemas.microsoft.com/office/drawing/2014/main" id="{14FA5D9D-2561-4906-B950-8F3C97B7295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48971" y="5258257"/>
              <a:ext cx="34176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45720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defTabSz="4572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457200"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1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30</a:t>
              </a:r>
            </a:p>
          </p:txBody>
        </p:sp>
        <p:sp>
          <p:nvSpPr>
            <p:cNvPr id="108" name="Freeform 7">
              <a:extLst>
                <a:ext uri="{FF2B5EF4-FFF2-40B4-BE49-F238E27FC236}">
                  <a16:creationId xmlns:a16="http://schemas.microsoft.com/office/drawing/2014/main" id="{359D4495-1C9B-4310-9358-1EA163FA3D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8944" y="3958467"/>
              <a:ext cx="5190907" cy="49161"/>
            </a:xfrm>
            <a:custGeom>
              <a:avLst/>
              <a:gdLst>
                <a:gd name="T0" fmla="*/ 0 w 2657"/>
                <a:gd name="T1" fmla="*/ 0 h 45719"/>
                <a:gd name="T2" fmla="*/ 2147483646 w 2657"/>
                <a:gd name="T3" fmla="*/ 0 h 45719"/>
                <a:gd name="T4" fmla="*/ 2147483646 w 2657"/>
                <a:gd name="T5" fmla="*/ 0 h 457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57" h="45719">
                  <a:moveTo>
                    <a:pt x="0" y="0"/>
                  </a:moveTo>
                  <a:lnTo>
                    <a:pt x="2657" y="0"/>
                  </a:lnTo>
                </a:path>
              </a:pathLst>
            </a:custGeom>
            <a:noFill/>
            <a:ln w="19050" cap="flat">
              <a:solidFill>
                <a:srgbClr val="010101"/>
              </a:solidFill>
              <a:prstDash val="sys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648745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5917A72-92B0-447A-A5BB-65F058E01D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Köşe</a:t>
            </a:r>
            <a:r>
              <a:rPr lang="en-GB" dirty="0"/>
              <a:t> </a:t>
            </a:r>
            <a:r>
              <a:rPr lang="en-GB" dirty="0" err="1"/>
              <a:t>Taşı</a:t>
            </a:r>
            <a:r>
              <a:rPr lang="en-GB" dirty="0"/>
              <a:t>: </a:t>
            </a:r>
            <a:r>
              <a:rPr lang="en-GB" dirty="0" err="1"/>
              <a:t>Dosetaksel</a:t>
            </a:r>
            <a:endParaRPr lang="en-GB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9712A05E-3BB0-434D-B1D1-D7560F4C327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97775858"/>
              </p:ext>
            </p:extLst>
          </p:nvPr>
        </p:nvGraphicFramePr>
        <p:xfrm>
          <a:off x="914400" y="1981200"/>
          <a:ext cx="10363200" cy="4114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6079364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591DC53-A2A6-4CF9-B359-3F31576B38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ropic: </a:t>
            </a:r>
            <a:br>
              <a:rPr lang="en-GB" dirty="0"/>
            </a:br>
            <a:r>
              <a:rPr lang="en-GB" sz="3200" dirty="0" err="1"/>
              <a:t>Kabasitaksel</a:t>
            </a:r>
            <a:r>
              <a:rPr lang="en-GB" sz="3200" dirty="0"/>
              <a:t> </a:t>
            </a:r>
            <a:r>
              <a:rPr lang="en-GB" sz="3200" dirty="0" err="1"/>
              <a:t>ya</a:t>
            </a:r>
            <a:r>
              <a:rPr lang="en-GB" sz="3200" dirty="0"/>
              <a:t> da </a:t>
            </a:r>
            <a:r>
              <a:rPr lang="en-GB" sz="3200" dirty="0" err="1"/>
              <a:t>Mitoxantron</a:t>
            </a:r>
            <a:endParaRPr lang="en-GB" dirty="0"/>
          </a:p>
        </p:txBody>
      </p:sp>
      <p:grpSp>
        <p:nvGrpSpPr>
          <p:cNvPr id="5" name="Group 24">
            <a:extLst>
              <a:ext uri="{FF2B5EF4-FFF2-40B4-BE49-F238E27FC236}">
                <a16:creationId xmlns:a16="http://schemas.microsoft.com/office/drawing/2014/main" id="{BA674DA8-12B0-47C3-9962-ACE55BA7C43F}"/>
              </a:ext>
            </a:extLst>
          </p:cNvPr>
          <p:cNvGrpSpPr>
            <a:grpSpLocks/>
          </p:cNvGrpSpPr>
          <p:nvPr/>
        </p:nvGrpSpPr>
        <p:grpSpPr bwMode="auto">
          <a:xfrm>
            <a:off x="2069306" y="1514321"/>
            <a:ext cx="8053388" cy="2695575"/>
            <a:chOff x="708538" y="2811585"/>
            <a:chExt cx="8052875" cy="2241267"/>
          </a:xfrm>
        </p:grpSpPr>
        <p:grpSp>
          <p:nvGrpSpPr>
            <p:cNvPr id="6" name="Group 25">
              <a:extLst>
                <a:ext uri="{FF2B5EF4-FFF2-40B4-BE49-F238E27FC236}">
                  <a16:creationId xmlns:a16="http://schemas.microsoft.com/office/drawing/2014/main" id="{DCD2A317-0F1E-4EF3-9212-6A9B8CA5EBA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08538" y="2867023"/>
              <a:ext cx="5603362" cy="2080569"/>
              <a:chOff x="708538" y="3262939"/>
              <a:chExt cx="5603362" cy="2080569"/>
            </a:xfrm>
          </p:grpSpPr>
          <p:sp>
            <p:nvSpPr>
              <p:cNvPr id="14" name="AutoShape 6">
                <a:extLst>
                  <a:ext uri="{FF2B5EF4-FFF2-40B4-BE49-F238E27FC236}">
                    <a16:creationId xmlns:a16="http://schemas.microsoft.com/office/drawing/2014/main" id="{72217F92-4DC9-4D84-8A0D-58497124FC7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08538" y="3453011"/>
                <a:ext cx="2358515" cy="1750247"/>
              </a:xfrm>
              <a:prstGeom prst="roundRect">
                <a:avLst/>
              </a:prstGeom>
              <a:solidFill>
                <a:srgbClr val="79463D"/>
              </a:solidFill>
              <a:ln w="26425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36000" tIns="36000" rIns="36000" bIns="36000" anchor="ctr"/>
              <a:lstStyle>
                <a:lvl1pPr marL="342900" indent="-3429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Faz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3</a:t>
                </a: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tr-T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Konfirme edilmiş,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progres</a:t>
                </a:r>
                <a:r>
                  <a:rPr kumimoji="0" lang="tr-TR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e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mKDPK'li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755 hasta</a:t>
                </a: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Dosetaksel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sonrası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Calibri" pitchFamily="34" charset="0"/>
                </a:endParaRP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ECOG PS 0-2</a:t>
                </a:r>
              </a:p>
              <a:p>
                <a:pPr marL="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Önceden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mitoksantron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tedavisi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,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radyoterapi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ve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4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hafta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içinde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kanser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tedavisi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(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LHRHa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dışında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)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olanlar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  <a:cs typeface="Calibri" pitchFamily="34" charset="0"/>
                  </a:rPr>
                  <a:t>alınmamıştır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Calibri" pitchFamily="34" charset="0"/>
                </a:endParaRPr>
              </a:p>
            </p:txBody>
          </p:sp>
          <p:sp>
            <p:nvSpPr>
              <p:cNvPr id="15" name="Rectangle 20">
                <a:extLst>
                  <a:ext uri="{FF2B5EF4-FFF2-40B4-BE49-F238E27FC236}">
                    <a16:creationId xmlns:a16="http://schemas.microsoft.com/office/drawing/2014/main" id="{9E25F1B8-96D2-4986-B76C-41A9CBCDCB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81361" y="3262939"/>
                <a:ext cx="2030539" cy="864000"/>
              </a:xfrm>
              <a:prstGeom prst="roundRect">
                <a:avLst/>
              </a:prstGeom>
              <a:solidFill>
                <a:srgbClr val="0070C0"/>
              </a:solidFill>
              <a:ln w="28575">
                <a:solidFill>
                  <a:srgbClr val="0070C0"/>
                </a:solidFill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wrap="none" anchor="ctr"/>
              <a:lstStyle>
                <a:lvl1pPr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25 mg/m</a:t>
                </a:r>
                <a:r>
                  <a:rPr kumimoji="0" lang="en-US" sz="1200" b="0" i="0" u="none" strike="noStrike" kern="0" cap="none" spc="0" normalizeH="0" baseline="30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2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kabazitaksel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 IV </a:t>
                </a:r>
              </a:p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3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haftada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bir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endParaRPr>
              </a:p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+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Prednizon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 10 mg QD</a:t>
                </a:r>
              </a:p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 (n=378)</a:t>
                </a:r>
              </a:p>
            </p:txBody>
          </p:sp>
          <p:sp>
            <p:nvSpPr>
              <p:cNvPr id="16" name="Rectangle 20">
                <a:extLst>
                  <a:ext uri="{FF2B5EF4-FFF2-40B4-BE49-F238E27FC236}">
                    <a16:creationId xmlns:a16="http://schemas.microsoft.com/office/drawing/2014/main" id="{52D72950-ADE0-4EBE-AD18-5DA9DD31DA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81361" y="4479508"/>
                <a:ext cx="2030539" cy="864000"/>
              </a:xfrm>
              <a:prstGeom prst="roundRect">
                <a:avLst/>
              </a:prstGeom>
              <a:solidFill>
                <a:srgbClr val="7030A0"/>
              </a:solidFill>
              <a:ln w="28575">
                <a:solidFill>
                  <a:srgbClr val="7030A0"/>
                </a:solidFill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wrap="none" anchor="ctr"/>
              <a:lstStyle>
                <a:lvl1pPr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defTabSz="4572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12 mg/m</a:t>
                </a:r>
                <a:r>
                  <a:rPr kumimoji="0" lang="en-US" sz="1200" b="0" i="0" u="none" strike="noStrike" kern="0" cap="none" spc="0" normalizeH="0" baseline="30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2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mitoksantron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 IV </a:t>
                </a:r>
              </a:p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3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haftada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bir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endParaRPr>
              </a:p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+ </a:t>
                </a:r>
                <a:r>
                  <a:rPr kumimoji="0" lang="en-US" sz="12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Prednizon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 10 mg QD</a:t>
                </a:r>
              </a:p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MS PGothic" pitchFamily="34" charset="-128"/>
                  </a:rPr>
                  <a:t> (N=377)</a:t>
                </a:r>
              </a:p>
            </p:txBody>
          </p:sp>
        </p:grpSp>
        <p:sp>
          <p:nvSpPr>
            <p:cNvPr id="7" name="AutoShape 17">
              <a:extLst>
                <a:ext uri="{FF2B5EF4-FFF2-40B4-BE49-F238E27FC236}">
                  <a16:creationId xmlns:a16="http://schemas.microsoft.com/office/drawing/2014/main" id="{466DDF11-9D7E-4826-9769-32F41EC802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1241" y="2811585"/>
              <a:ext cx="576226" cy="2241267"/>
            </a:xfrm>
            <a:prstGeom prst="roundRect">
              <a:avLst>
                <a:gd name="adj" fmla="val 16667"/>
              </a:avLst>
            </a:prstGeom>
            <a:solidFill>
              <a:srgbClr val="F8F8F8"/>
            </a:solidFill>
            <a:ln w="19050">
              <a:solidFill>
                <a:srgbClr val="808DA0"/>
              </a:solidFill>
              <a:round/>
              <a:headEnd/>
              <a:tailEnd/>
            </a:ln>
          </p:spPr>
          <p:txBody>
            <a:bodyPr wrap="none" lIns="80131" tIns="40066" rIns="80131" bIns="40066" anchor="ctr"/>
            <a:lstStyle/>
            <a:p>
              <a:pPr marL="0" marR="0" lvl="0" indent="0" algn="ctr" defTabSz="858838" eaLnBrk="1" fontAlgn="auto" latinLnBrk="0" hangingPunct="1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R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A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N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D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O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M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İ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Z</a:t>
              </a:r>
              <a:b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</a:br>
              <a:r>
                <a:rPr kumimoji="0" lang="tr-T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A</a:t>
              </a:r>
            </a:p>
            <a:p>
              <a:pPr marL="0" marR="0" lvl="0" indent="0" algn="ctr" defTabSz="858838" eaLnBrk="1" fontAlgn="auto" latinLnBrk="0" hangingPunct="1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tr-T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S</a:t>
              </a:r>
            </a:p>
            <a:p>
              <a:pPr marL="0" marR="0" lvl="0" indent="0" algn="ctr" defTabSz="858838" eaLnBrk="1" fontAlgn="auto" latinLnBrk="0" hangingPunct="1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tr-T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Y</a:t>
              </a:r>
            </a:p>
            <a:p>
              <a:pPr marL="0" marR="0" lvl="0" indent="0" algn="ctr" defTabSz="858838" eaLnBrk="1" fontAlgn="auto" latinLnBrk="0" hangingPunct="1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tr-T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O</a:t>
              </a:r>
            </a:p>
            <a:p>
              <a:pPr marL="0" marR="0" lvl="0" indent="0" algn="ctr" defTabSz="858838" eaLnBrk="1" fontAlgn="auto" latinLnBrk="0" hangingPunct="1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tr-T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N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ヒラギノ角ゴ Pro W3"/>
                <a:cs typeface="ヒラギノ角ゴ Pro W3"/>
              </a:endParaRPr>
            </a:p>
            <a:p>
              <a:pPr marL="0" marR="0" lvl="0" indent="0" algn="ctr" defTabSz="858838" eaLnBrk="1" fontAlgn="auto" latinLnBrk="0" hangingPunct="1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ヒラギノ角ゴ Pro W3"/>
                <a:cs typeface="ヒラギノ角ゴ Pro W3"/>
              </a:endParaRPr>
            </a:p>
            <a:p>
              <a:pPr marL="0" marR="0" lvl="0" indent="0" algn="ctr" defTabSz="858838" eaLnBrk="1" fontAlgn="auto" latinLnBrk="0" hangingPunct="1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Arial"/>
                  <a:ea typeface="ヒラギノ角ゴ Pro W3"/>
                  <a:cs typeface="ヒラギノ角ゴ Pro W3"/>
                </a:rPr>
                <a:t>1:1</a:t>
              </a:r>
            </a:p>
          </p:txBody>
        </p:sp>
        <p:sp>
          <p:nvSpPr>
            <p:cNvPr id="8" name="Rectangle 20">
              <a:extLst>
                <a:ext uri="{FF2B5EF4-FFF2-40B4-BE49-F238E27FC236}">
                  <a16:creationId xmlns:a16="http://schemas.microsoft.com/office/drawing/2014/main" id="{F5B6F474-BDE8-434A-8607-67E11D91FE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3561" y="2867024"/>
              <a:ext cx="2117852" cy="2080569"/>
            </a:xfrm>
            <a:prstGeom prst="roundRect">
              <a:avLst/>
            </a:prstGeom>
            <a:solidFill>
              <a:srgbClr val="93A299"/>
            </a:solidFill>
            <a:ln w="28575">
              <a:solidFill>
                <a:srgbClr val="93A299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36000" tIns="36000" rIns="36000" bIns="36000" anchor="ctr"/>
            <a:lstStyle>
              <a:lvl1pPr marL="180975" indent="-180975"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4572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180975" marR="0" lvl="0" indent="-180975" defTabSz="4572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Primer </a:t>
              </a: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sonlanım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 </a:t>
              </a: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noktası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:</a:t>
              </a:r>
            </a:p>
            <a:p>
              <a:pPr marL="180975" marR="0" lvl="0" indent="-180975" defTabSz="4572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tr-T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Genel </a:t>
              </a:r>
              <a:r>
                <a:rPr kumimoji="0" lang="tr-TR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sağkalım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  <a:p>
              <a:pPr marL="180975" marR="0" lvl="0" indent="-180975" defTabSz="4572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  <a:p>
              <a:pPr marL="180975" marR="0" lvl="0" indent="-180975" defTabSz="4572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Sekonder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 </a:t>
              </a: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sonlanım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 </a:t>
              </a: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noktaları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:</a:t>
              </a:r>
            </a:p>
            <a:p>
              <a:pPr marL="180975" marR="0" lvl="0" indent="-180975" defTabSz="4572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PSA </a:t>
              </a: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yanıtı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  <a:p>
              <a:pPr marL="180975" marR="0" lvl="0" indent="-180975" defTabSz="4572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PSA </a:t>
              </a: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progresyonu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  <a:p>
              <a:pPr marL="180975" marR="0" lvl="0" indent="-180975" defTabSz="4572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Tümör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 </a:t>
              </a: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yanıtı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 (RECIST)</a:t>
              </a:r>
            </a:p>
            <a:p>
              <a:pPr marL="180975" marR="0" lvl="0" indent="-180975" defTabSz="4572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Ağrı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 </a:t>
              </a: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yanıtı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Arial" pitchFamily="34" charset="0"/>
                </a:rPr>
                <a:t> </a:t>
              </a:r>
            </a:p>
          </p:txBody>
        </p:sp>
        <p:sp>
          <p:nvSpPr>
            <p:cNvPr id="9" name="Right Arrow 11">
              <a:extLst>
                <a:ext uri="{FF2B5EF4-FFF2-40B4-BE49-F238E27FC236}">
                  <a16:creationId xmlns:a16="http://schemas.microsoft.com/office/drawing/2014/main" id="{97BAD80D-C1E6-4593-8EFB-F52A99DF5ED8}"/>
                </a:ext>
              </a:extLst>
            </p:cNvPr>
            <p:cNvSpPr/>
            <p:nvPr/>
          </p:nvSpPr>
          <p:spPr>
            <a:xfrm>
              <a:off x="3086461" y="3764586"/>
              <a:ext cx="295256" cy="285108"/>
            </a:xfrm>
            <a:prstGeom prst="rightArrow">
              <a:avLst/>
            </a:prstGeom>
            <a:solidFill>
              <a:srgbClr val="4C5A6A"/>
            </a:solidFill>
            <a:ln w="26425" cap="flat" cmpd="sng" algn="ctr">
              <a:solidFill>
                <a:srgbClr val="4C5A6A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Right Arrow 12">
              <a:extLst>
                <a:ext uri="{FF2B5EF4-FFF2-40B4-BE49-F238E27FC236}">
                  <a16:creationId xmlns:a16="http://schemas.microsoft.com/office/drawing/2014/main" id="{AD6D52A5-3F18-4965-A71C-A2D68BB28707}"/>
                </a:ext>
              </a:extLst>
            </p:cNvPr>
            <p:cNvSpPr/>
            <p:nvPr/>
          </p:nvSpPr>
          <p:spPr>
            <a:xfrm>
              <a:off x="3967468" y="3088774"/>
              <a:ext cx="295256" cy="285108"/>
            </a:xfrm>
            <a:prstGeom prst="rightArrow">
              <a:avLst/>
            </a:prstGeom>
            <a:solidFill>
              <a:srgbClr val="4C5A6A"/>
            </a:solidFill>
            <a:ln w="26425" cap="flat" cmpd="sng" algn="ctr">
              <a:solidFill>
                <a:srgbClr val="4C5A6A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ight Arrow 13">
              <a:extLst>
                <a:ext uri="{FF2B5EF4-FFF2-40B4-BE49-F238E27FC236}">
                  <a16:creationId xmlns:a16="http://schemas.microsoft.com/office/drawing/2014/main" id="{BDDA5527-4FBB-4B21-8014-34DEB8D1ED91}"/>
                </a:ext>
              </a:extLst>
            </p:cNvPr>
            <p:cNvSpPr/>
            <p:nvPr/>
          </p:nvSpPr>
          <p:spPr>
            <a:xfrm>
              <a:off x="3967468" y="4491876"/>
              <a:ext cx="295256" cy="283788"/>
            </a:xfrm>
            <a:prstGeom prst="rightArrow">
              <a:avLst/>
            </a:prstGeom>
            <a:solidFill>
              <a:srgbClr val="4C5A6A"/>
            </a:solidFill>
            <a:ln w="26425" cap="flat" cmpd="sng" algn="ctr">
              <a:solidFill>
                <a:srgbClr val="4C5A6A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Right Arrow 14">
              <a:extLst>
                <a:ext uri="{FF2B5EF4-FFF2-40B4-BE49-F238E27FC236}">
                  <a16:creationId xmlns:a16="http://schemas.microsoft.com/office/drawing/2014/main" id="{C852C366-830C-4C8B-B934-24ADC48F6850}"/>
                </a:ext>
              </a:extLst>
            </p:cNvPr>
            <p:cNvSpPr/>
            <p:nvPr/>
          </p:nvSpPr>
          <p:spPr>
            <a:xfrm>
              <a:off x="6348566" y="3088774"/>
              <a:ext cx="295256" cy="285108"/>
            </a:xfrm>
            <a:prstGeom prst="rightArrow">
              <a:avLst/>
            </a:prstGeom>
            <a:solidFill>
              <a:srgbClr val="4C5A6A"/>
            </a:solidFill>
            <a:ln w="26425" cap="flat" cmpd="sng" algn="ctr">
              <a:solidFill>
                <a:srgbClr val="4C5A6A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Right Arrow 15">
              <a:extLst>
                <a:ext uri="{FF2B5EF4-FFF2-40B4-BE49-F238E27FC236}">
                  <a16:creationId xmlns:a16="http://schemas.microsoft.com/office/drawing/2014/main" id="{D351EC87-4B3E-4438-9686-A773C902ACC2}"/>
                </a:ext>
              </a:extLst>
            </p:cNvPr>
            <p:cNvSpPr/>
            <p:nvPr/>
          </p:nvSpPr>
          <p:spPr>
            <a:xfrm>
              <a:off x="6348566" y="4491876"/>
              <a:ext cx="295256" cy="283788"/>
            </a:xfrm>
            <a:prstGeom prst="rightArrow">
              <a:avLst/>
            </a:prstGeom>
            <a:solidFill>
              <a:srgbClr val="4C5A6A"/>
            </a:solidFill>
            <a:ln w="26425" cap="flat" cmpd="sng" algn="ctr">
              <a:solidFill>
                <a:srgbClr val="4C5A6A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BAFEF55-781C-4B6F-9D50-BAF5FA430424}"/>
              </a:ext>
            </a:extLst>
          </p:cNvPr>
          <p:cNvGrpSpPr/>
          <p:nvPr/>
        </p:nvGrpSpPr>
        <p:grpSpPr>
          <a:xfrm>
            <a:off x="414343" y="4437112"/>
            <a:ext cx="5465634" cy="2412950"/>
            <a:chOff x="3065236" y="2895600"/>
            <a:chExt cx="6243349" cy="3051176"/>
          </a:xfrm>
        </p:grpSpPr>
        <p:sp>
          <p:nvSpPr>
            <p:cNvPr id="18" name="TextBox 11">
              <a:extLst>
                <a:ext uri="{FF2B5EF4-FFF2-40B4-BE49-F238E27FC236}">
                  <a16:creationId xmlns:a16="http://schemas.microsoft.com/office/drawing/2014/main" id="{EF090770-E0B8-4E0F-A2E7-DABDA8D00D9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82621" y="2895600"/>
              <a:ext cx="484187" cy="266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</a:rPr>
                <a:t>10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</a:rPr>
                <a:t>8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</a:rPr>
                <a:t>6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</a:rPr>
                <a:t>4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</a:rPr>
                <a:t>2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</a:rPr>
                <a:t>0</a:t>
              </a:r>
            </a:p>
          </p:txBody>
        </p:sp>
        <p:sp>
          <p:nvSpPr>
            <p:cNvPr id="19" name="TextBox 12">
              <a:extLst>
                <a:ext uri="{FF2B5EF4-FFF2-40B4-BE49-F238E27FC236}">
                  <a16:creationId xmlns:a16="http://schemas.microsoft.com/office/drawing/2014/main" id="{94DA3727-C635-48A6-8A1F-76BC7628D46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-5400000">
              <a:off x="2306054" y="4060131"/>
              <a:ext cx="1826141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altLang="tr-T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</a:rPr>
                <a:t>Genel </a:t>
              </a:r>
              <a:r>
                <a:rPr kumimoji="0" lang="tr-TR" altLang="tr-TR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</a:rPr>
                <a:t>sağkalım</a:t>
              </a:r>
              <a:r>
                <a:rPr kumimoji="0" lang="tr-TR" altLang="tr-T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</a:rPr>
                <a:t> </a:t>
              </a:r>
              <a:r>
                <a:rPr kumimoji="0" lang="en-US" altLang="tr-T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</a:rPr>
                <a:t>(%)</a:t>
              </a:r>
            </a:p>
          </p:txBody>
        </p:sp>
        <p:sp>
          <p:nvSpPr>
            <p:cNvPr id="20" name="Rectangle 14">
              <a:extLst>
                <a:ext uri="{FF2B5EF4-FFF2-40B4-BE49-F238E27FC236}">
                  <a16:creationId xmlns:a16="http://schemas.microsoft.com/office/drawing/2014/main" id="{02A48FEB-255E-4B53-8432-4187DCE403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3458" y="5408613"/>
              <a:ext cx="4848225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0"/>
                </a:spcAft>
                <a:buClrTx/>
                <a:buSzTx/>
                <a:buFontTx/>
                <a:buNone/>
                <a:tabLst>
                  <a:tab pos="479425" algn="ctr"/>
                  <a:tab pos="898525" algn="ctr"/>
                  <a:tab pos="1323975" algn="ctr"/>
                  <a:tab pos="1738313" algn="ctr"/>
                  <a:tab pos="2166938" algn="ctr"/>
                  <a:tab pos="2584450" algn="ctr"/>
                  <a:tab pos="3013075" algn="ctr"/>
                  <a:tab pos="3432175" algn="ctr"/>
                  <a:tab pos="3860800" algn="ctr"/>
                  <a:tab pos="4276725" algn="ctr"/>
                </a:tabLst>
                <a:defRPr/>
              </a:pPr>
              <a:r>
                <a:rPr kumimoji="0" lang="en-US" altLang="tr-T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/>
                </a:rPr>
                <a:t>0	6	12	18	24	30</a:t>
              </a:r>
            </a:p>
          </p:txBody>
        </p:sp>
        <p:sp>
          <p:nvSpPr>
            <p:cNvPr id="21" name="TextBox 15">
              <a:extLst>
                <a:ext uri="{FF2B5EF4-FFF2-40B4-BE49-F238E27FC236}">
                  <a16:creationId xmlns:a16="http://schemas.microsoft.com/office/drawing/2014/main" id="{9BD55562-9273-4951-B288-B50AF95FCFF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84270" y="5638801"/>
              <a:ext cx="4241800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eaLnBrk="0" fontAlgn="base" hangingPunct="0"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</a:rPr>
                <a:t>Zaman</a:t>
              </a:r>
              <a:r>
                <a:rPr kumimoji="0" lang="en-US" altLang="tr-T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</a:rPr>
                <a:t> (ay)</a:t>
              </a:r>
            </a:p>
          </p:txBody>
        </p:sp>
        <p:sp>
          <p:nvSpPr>
            <p:cNvPr id="22" name="TextBox 16">
              <a:extLst>
                <a:ext uri="{FF2B5EF4-FFF2-40B4-BE49-F238E27FC236}">
                  <a16:creationId xmlns:a16="http://schemas.microsoft.com/office/drawing/2014/main" id="{6FB72FE7-578E-4890-9B98-A87D6E2A2AE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71983" y="3128963"/>
              <a:ext cx="1071563" cy="487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tabLst>
                  <a:tab pos="895350" algn="l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>
                <a:tabLst>
                  <a:tab pos="895350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tabLst>
                  <a:tab pos="895350" algn="l"/>
                </a:tabLst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tabLst>
                  <a:tab pos="895350" algn="l"/>
                </a:tabLst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tabLst>
                  <a:tab pos="895350" algn="l"/>
                </a:tabLst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eaLnBrk="0" fontAlgn="base" hangingPunct="0">
                <a:spcAft>
                  <a:spcPct val="0"/>
                </a:spcAft>
                <a:buChar char="»"/>
                <a:tabLst>
                  <a:tab pos="895350" algn="l"/>
                </a:tabLst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eaLnBrk="0" fontAlgn="base" hangingPunct="0">
                <a:spcAft>
                  <a:spcPct val="0"/>
                </a:spcAft>
                <a:buChar char="»"/>
                <a:tabLst>
                  <a:tab pos="895350" algn="l"/>
                </a:tabLst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eaLnBrk="0" fontAlgn="base" hangingPunct="0">
                <a:spcAft>
                  <a:spcPct val="0"/>
                </a:spcAft>
                <a:buChar char="»"/>
                <a:tabLst>
                  <a:tab pos="895350" algn="l"/>
                </a:tabLst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eaLnBrk="0" fontAlgn="base" hangingPunct="0">
                <a:spcAft>
                  <a:spcPct val="0"/>
                </a:spcAft>
                <a:buChar char="»"/>
                <a:tabLst>
                  <a:tab pos="895350" algn="l"/>
                </a:tabLst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895350" algn="l"/>
                </a:tabLst>
                <a:defRPr/>
              </a:pPr>
              <a:r>
                <a:rPr kumimoji="0" lang="en-US" altLang="tr-TR" sz="12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</a:rPr>
                <a:t>Kabazitaksel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895350" algn="l"/>
                </a:tabLst>
                <a:defRPr/>
              </a:pPr>
              <a:r>
                <a:rPr kumimoji="0" lang="en-US" altLang="tr-TR" sz="12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</a:rPr>
                <a:t>Mitoksantron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85D31CA4-478F-4055-9C2F-7319978F8A89}"/>
                </a:ext>
              </a:extLst>
            </p:cNvPr>
            <p:cNvCxnSpPr/>
            <p:nvPr/>
          </p:nvCxnSpPr>
          <p:spPr>
            <a:xfrm flipH="1">
              <a:off x="6802108" y="3486150"/>
              <a:ext cx="265113" cy="0"/>
            </a:xfrm>
            <a:prstGeom prst="line">
              <a:avLst/>
            </a:prstGeom>
            <a:noFill/>
            <a:ln w="19050" cap="flat" cmpd="sng" algn="ctr">
              <a:solidFill>
                <a:srgbClr val="7030A0"/>
              </a:solidFill>
              <a:prstDash val="soli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A160E6B2-A7EE-4CBF-85A5-29F0B63D2FC4}"/>
                </a:ext>
              </a:extLst>
            </p:cNvPr>
            <p:cNvCxnSpPr/>
            <p:nvPr/>
          </p:nvCxnSpPr>
          <p:spPr>
            <a:xfrm flipH="1">
              <a:off x="6789408" y="3275012"/>
              <a:ext cx="263525" cy="0"/>
            </a:xfrm>
            <a:prstGeom prst="line">
              <a:avLst/>
            </a:prstGeom>
            <a:noFill/>
            <a:ln w="19050" cap="flat" cmpd="sng" algn="ctr">
              <a:solidFill>
                <a:srgbClr val="0070C0"/>
              </a:solidFill>
              <a:prstDash val="solid"/>
            </a:ln>
            <a:effectLst/>
          </p:spPr>
        </p:cxnSp>
        <p:sp>
          <p:nvSpPr>
            <p:cNvPr id="25" name="TextBox 19">
              <a:extLst>
                <a:ext uri="{FF2B5EF4-FFF2-40B4-BE49-F238E27FC236}">
                  <a16:creationId xmlns:a16="http://schemas.microsoft.com/office/drawing/2014/main" id="{B26DEEEB-7897-4E65-A9D4-9AC343255FE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62457" y="3611563"/>
              <a:ext cx="2246128" cy="487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tabLst>
                  <a:tab pos="895350" algn="l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>
                <a:tabLst>
                  <a:tab pos="895350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tabLst>
                  <a:tab pos="895350" algn="l"/>
                </a:tabLst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tabLst>
                  <a:tab pos="895350" algn="l"/>
                </a:tabLst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tabLst>
                  <a:tab pos="895350" algn="l"/>
                </a:tabLst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eaLnBrk="0" fontAlgn="base" hangingPunct="0">
                <a:spcAft>
                  <a:spcPct val="0"/>
                </a:spcAft>
                <a:buChar char="»"/>
                <a:tabLst>
                  <a:tab pos="895350" algn="l"/>
                </a:tabLst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eaLnBrk="0" fontAlgn="base" hangingPunct="0">
                <a:spcAft>
                  <a:spcPct val="0"/>
                </a:spcAft>
                <a:buChar char="»"/>
                <a:tabLst>
                  <a:tab pos="895350" algn="l"/>
                </a:tabLst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eaLnBrk="0" fontAlgn="base" hangingPunct="0">
                <a:spcAft>
                  <a:spcPct val="0"/>
                </a:spcAft>
                <a:buChar char="»"/>
                <a:tabLst>
                  <a:tab pos="895350" algn="l"/>
                </a:tabLst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eaLnBrk="0" fontAlgn="base" hangingPunct="0">
                <a:spcAft>
                  <a:spcPct val="0"/>
                </a:spcAft>
                <a:buChar char="»"/>
                <a:tabLst>
                  <a:tab pos="895350" algn="l"/>
                </a:tabLst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895350" algn="l"/>
                </a:tabLst>
                <a:defRPr/>
              </a:pPr>
              <a:r>
                <a:rPr kumimoji="0" lang="en-US" altLang="tr-TR" sz="12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</a:rPr>
                <a:t>HR=0.70 (%95 GA: 0.59-0.83)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>
                  <a:tab pos="895350" algn="l"/>
                </a:tabLst>
                <a:defRPr/>
              </a:pPr>
              <a:r>
                <a:rPr kumimoji="0" lang="en-US" altLang="tr-TR" sz="1200" b="0" i="0" u="none" strike="noStrike" kern="0" cap="none" spc="0" normalizeH="0" baseline="0" noProof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itchFamily="34" charset="0"/>
                </a:rPr>
                <a:t>Log-sıra p&lt;0.0001</a:t>
              </a:r>
            </a:p>
          </p:txBody>
        </p:sp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B1406EEA-C27D-4470-98A3-BB473EA2BC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5858" y="3048001"/>
              <a:ext cx="4246563" cy="2124075"/>
            </a:xfrm>
            <a:custGeom>
              <a:avLst/>
              <a:gdLst>
                <a:gd name="T0" fmla="*/ 2147483646 w 2675"/>
                <a:gd name="T1" fmla="*/ 2147483646 h 1338"/>
                <a:gd name="T2" fmla="*/ 2147483646 w 2675"/>
                <a:gd name="T3" fmla="*/ 2147483646 h 1338"/>
                <a:gd name="T4" fmla="*/ 2147483646 w 2675"/>
                <a:gd name="T5" fmla="*/ 2147483646 h 1338"/>
                <a:gd name="T6" fmla="*/ 2147483646 w 2675"/>
                <a:gd name="T7" fmla="*/ 2147483646 h 1338"/>
                <a:gd name="T8" fmla="*/ 2147483646 w 2675"/>
                <a:gd name="T9" fmla="*/ 2147483646 h 1338"/>
                <a:gd name="T10" fmla="*/ 2147483646 w 2675"/>
                <a:gd name="T11" fmla="*/ 2147483646 h 1338"/>
                <a:gd name="T12" fmla="*/ 2147483646 w 2675"/>
                <a:gd name="T13" fmla="*/ 2147483646 h 1338"/>
                <a:gd name="T14" fmla="*/ 2147483646 w 2675"/>
                <a:gd name="T15" fmla="*/ 2147483646 h 1338"/>
                <a:gd name="T16" fmla="*/ 2147483646 w 2675"/>
                <a:gd name="T17" fmla="*/ 2147483646 h 1338"/>
                <a:gd name="T18" fmla="*/ 2147483646 w 2675"/>
                <a:gd name="T19" fmla="*/ 2147483646 h 1338"/>
                <a:gd name="T20" fmla="*/ 2147483646 w 2675"/>
                <a:gd name="T21" fmla="*/ 2147483646 h 1338"/>
                <a:gd name="T22" fmla="*/ 2147483646 w 2675"/>
                <a:gd name="T23" fmla="*/ 2147483646 h 1338"/>
                <a:gd name="T24" fmla="*/ 2147483646 w 2675"/>
                <a:gd name="T25" fmla="*/ 2147483646 h 1338"/>
                <a:gd name="T26" fmla="*/ 2147483646 w 2675"/>
                <a:gd name="T27" fmla="*/ 2147483646 h 1338"/>
                <a:gd name="T28" fmla="*/ 2147483646 w 2675"/>
                <a:gd name="T29" fmla="*/ 2147483646 h 1338"/>
                <a:gd name="T30" fmla="*/ 2147483646 w 2675"/>
                <a:gd name="T31" fmla="*/ 2147483646 h 1338"/>
                <a:gd name="T32" fmla="*/ 2147483646 w 2675"/>
                <a:gd name="T33" fmla="*/ 2147483646 h 1338"/>
                <a:gd name="T34" fmla="*/ 2147483646 w 2675"/>
                <a:gd name="T35" fmla="*/ 2147483646 h 1338"/>
                <a:gd name="T36" fmla="*/ 2147483646 w 2675"/>
                <a:gd name="T37" fmla="*/ 2147483646 h 1338"/>
                <a:gd name="T38" fmla="*/ 2147483646 w 2675"/>
                <a:gd name="T39" fmla="*/ 2147483646 h 1338"/>
                <a:gd name="T40" fmla="*/ 2147483646 w 2675"/>
                <a:gd name="T41" fmla="*/ 2147483646 h 1338"/>
                <a:gd name="T42" fmla="*/ 2147483646 w 2675"/>
                <a:gd name="T43" fmla="*/ 2147483646 h 1338"/>
                <a:gd name="T44" fmla="*/ 2147483646 w 2675"/>
                <a:gd name="T45" fmla="*/ 2147483646 h 1338"/>
                <a:gd name="T46" fmla="*/ 2147483646 w 2675"/>
                <a:gd name="T47" fmla="*/ 2147483646 h 1338"/>
                <a:gd name="T48" fmla="*/ 2147483646 w 2675"/>
                <a:gd name="T49" fmla="*/ 2147483646 h 1338"/>
                <a:gd name="T50" fmla="*/ 2147483646 w 2675"/>
                <a:gd name="T51" fmla="*/ 2147483646 h 1338"/>
                <a:gd name="T52" fmla="*/ 2147483646 w 2675"/>
                <a:gd name="T53" fmla="*/ 2147483646 h 1338"/>
                <a:gd name="T54" fmla="*/ 2147483646 w 2675"/>
                <a:gd name="T55" fmla="*/ 2147483646 h 1338"/>
                <a:gd name="T56" fmla="*/ 2147483646 w 2675"/>
                <a:gd name="T57" fmla="*/ 2147483646 h 1338"/>
                <a:gd name="T58" fmla="*/ 2147483646 w 2675"/>
                <a:gd name="T59" fmla="*/ 2147483646 h 1338"/>
                <a:gd name="T60" fmla="*/ 2147483646 w 2675"/>
                <a:gd name="T61" fmla="*/ 2147483646 h 1338"/>
                <a:gd name="T62" fmla="*/ 2147483646 w 2675"/>
                <a:gd name="T63" fmla="*/ 2147483646 h 1338"/>
                <a:gd name="T64" fmla="*/ 2147483646 w 2675"/>
                <a:gd name="T65" fmla="*/ 2147483646 h 1338"/>
                <a:gd name="T66" fmla="*/ 2147483646 w 2675"/>
                <a:gd name="T67" fmla="*/ 2147483646 h 1338"/>
                <a:gd name="T68" fmla="*/ 2147483646 w 2675"/>
                <a:gd name="T69" fmla="*/ 2147483646 h 1338"/>
                <a:gd name="T70" fmla="*/ 2147483646 w 2675"/>
                <a:gd name="T71" fmla="*/ 2147483646 h 1338"/>
                <a:gd name="T72" fmla="*/ 2147483646 w 2675"/>
                <a:gd name="T73" fmla="*/ 2147483646 h 1338"/>
                <a:gd name="T74" fmla="*/ 2147483646 w 2675"/>
                <a:gd name="T75" fmla="*/ 2147483646 h 1338"/>
                <a:gd name="T76" fmla="*/ 2147483646 w 2675"/>
                <a:gd name="T77" fmla="*/ 2147483646 h 1338"/>
                <a:gd name="T78" fmla="*/ 2147483646 w 2675"/>
                <a:gd name="T79" fmla="*/ 2147483646 h 1338"/>
                <a:gd name="T80" fmla="*/ 2147483646 w 2675"/>
                <a:gd name="T81" fmla="*/ 2147483646 h 1338"/>
                <a:gd name="T82" fmla="*/ 2147483646 w 2675"/>
                <a:gd name="T83" fmla="*/ 2147483646 h 1338"/>
                <a:gd name="T84" fmla="*/ 2147483646 w 2675"/>
                <a:gd name="T85" fmla="*/ 2147483646 h 1338"/>
                <a:gd name="T86" fmla="*/ 2147483646 w 2675"/>
                <a:gd name="T87" fmla="*/ 2147483646 h 1338"/>
                <a:gd name="T88" fmla="*/ 2147483646 w 2675"/>
                <a:gd name="T89" fmla="*/ 2147483646 h 1338"/>
                <a:gd name="T90" fmla="*/ 2147483646 w 2675"/>
                <a:gd name="T91" fmla="*/ 2147483646 h 1338"/>
                <a:gd name="T92" fmla="*/ 2147483646 w 2675"/>
                <a:gd name="T93" fmla="*/ 2147483646 h 1338"/>
                <a:gd name="T94" fmla="*/ 2147483646 w 2675"/>
                <a:gd name="T95" fmla="*/ 2147483646 h 1338"/>
                <a:gd name="T96" fmla="*/ 2147483646 w 2675"/>
                <a:gd name="T97" fmla="*/ 2147483646 h 1338"/>
                <a:gd name="T98" fmla="*/ 2147483646 w 2675"/>
                <a:gd name="T99" fmla="*/ 2147483646 h 1338"/>
                <a:gd name="T100" fmla="*/ 2147483646 w 2675"/>
                <a:gd name="T101" fmla="*/ 2147483646 h 1338"/>
                <a:gd name="T102" fmla="*/ 2147483646 w 2675"/>
                <a:gd name="T103" fmla="*/ 2147483646 h 1338"/>
                <a:gd name="T104" fmla="*/ 2147483646 w 2675"/>
                <a:gd name="T105" fmla="*/ 2147483646 h 1338"/>
                <a:gd name="T106" fmla="*/ 2147483646 w 2675"/>
                <a:gd name="T107" fmla="*/ 2147483646 h 133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675" h="1338">
                  <a:moveTo>
                    <a:pt x="0" y="0"/>
                  </a:moveTo>
                  <a:lnTo>
                    <a:pt x="82" y="0"/>
                  </a:lnTo>
                  <a:lnTo>
                    <a:pt x="82" y="5"/>
                  </a:lnTo>
                  <a:lnTo>
                    <a:pt x="100" y="5"/>
                  </a:lnTo>
                  <a:lnTo>
                    <a:pt x="100" y="18"/>
                  </a:lnTo>
                  <a:lnTo>
                    <a:pt x="120" y="18"/>
                  </a:lnTo>
                  <a:lnTo>
                    <a:pt x="120" y="21"/>
                  </a:lnTo>
                  <a:lnTo>
                    <a:pt x="157" y="21"/>
                  </a:lnTo>
                  <a:lnTo>
                    <a:pt x="157" y="25"/>
                  </a:lnTo>
                  <a:lnTo>
                    <a:pt x="184" y="25"/>
                  </a:lnTo>
                  <a:lnTo>
                    <a:pt x="184" y="29"/>
                  </a:lnTo>
                  <a:lnTo>
                    <a:pt x="195" y="29"/>
                  </a:lnTo>
                  <a:lnTo>
                    <a:pt x="195" y="37"/>
                  </a:lnTo>
                  <a:lnTo>
                    <a:pt x="204" y="37"/>
                  </a:lnTo>
                  <a:lnTo>
                    <a:pt x="204" y="43"/>
                  </a:lnTo>
                  <a:lnTo>
                    <a:pt x="209" y="43"/>
                  </a:lnTo>
                  <a:lnTo>
                    <a:pt x="209" y="48"/>
                  </a:lnTo>
                  <a:lnTo>
                    <a:pt x="230" y="48"/>
                  </a:lnTo>
                  <a:lnTo>
                    <a:pt x="230" y="55"/>
                  </a:lnTo>
                  <a:lnTo>
                    <a:pt x="264" y="55"/>
                  </a:lnTo>
                  <a:lnTo>
                    <a:pt x="264" y="70"/>
                  </a:lnTo>
                  <a:lnTo>
                    <a:pt x="280" y="70"/>
                  </a:lnTo>
                  <a:lnTo>
                    <a:pt x="280" y="82"/>
                  </a:lnTo>
                  <a:lnTo>
                    <a:pt x="288" y="82"/>
                  </a:lnTo>
                  <a:lnTo>
                    <a:pt x="288" y="89"/>
                  </a:lnTo>
                  <a:lnTo>
                    <a:pt x="302" y="89"/>
                  </a:lnTo>
                  <a:lnTo>
                    <a:pt x="302" y="95"/>
                  </a:lnTo>
                  <a:lnTo>
                    <a:pt x="313" y="95"/>
                  </a:lnTo>
                  <a:lnTo>
                    <a:pt x="313" y="114"/>
                  </a:lnTo>
                  <a:lnTo>
                    <a:pt x="334" y="114"/>
                  </a:lnTo>
                  <a:lnTo>
                    <a:pt x="334" y="123"/>
                  </a:lnTo>
                  <a:lnTo>
                    <a:pt x="339" y="123"/>
                  </a:lnTo>
                  <a:lnTo>
                    <a:pt x="339" y="130"/>
                  </a:lnTo>
                  <a:lnTo>
                    <a:pt x="348" y="130"/>
                  </a:lnTo>
                  <a:lnTo>
                    <a:pt x="348" y="137"/>
                  </a:lnTo>
                  <a:lnTo>
                    <a:pt x="354" y="137"/>
                  </a:lnTo>
                  <a:lnTo>
                    <a:pt x="354" y="141"/>
                  </a:lnTo>
                  <a:lnTo>
                    <a:pt x="361" y="141"/>
                  </a:lnTo>
                  <a:lnTo>
                    <a:pt x="361" y="145"/>
                  </a:lnTo>
                  <a:lnTo>
                    <a:pt x="368" y="145"/>
                  </a:lnTo>
                  <a:lnTo>
                    <a:pt x="368" y="150"/>
                  </a:lnTo>
                  <a:lnTo>
                    <a:pt x="375" y="150"/>
                  </a:lnTo>
                  <a:lnTo>
                    <a:pt x="375" y="155"/>
                  </a:lnTo>
                  <a:lnTo>
                    <a:pt x="386" y="155"/>
                  </a:lnTo>
                  <a:lnTo>
                    <a:pt x="386" y="161"/>
                  </a:lnTo>
                  <a:lnTo>
                    <a:pt x="391" y="161"/>
                  </a:lnTo>
                  <a:lnTo>
                    <a:pt x="391" y="164"/>
                  </a:lnTo>
                  <a:lnTo>
                    <a:pt x="398" y="164"/>
                  </a:lnTo>
                  <a:lnTo>
                    <a:pt x="398" y="175"/>
                  </a:lnTo>
                  <a:lnTo>
                    <a:pt x="404" y="175"/>
                  </a:lnTo>
                  <a:lnTo>
                    <a:pt x="404" y="180"/>
                  </a:lnTo>
                  <a:lnTo>
                    <a:pt x="409" y="180"/>
                  </a:lnTo>
                  <a:lnTo>
                    <a:pt x="409" y="186"/>
                  </a:lnTo>
                  <a:lnTo>
                    <a:pt x="421" y="186"/>
                  </a:lnTo>
                  <a:lnTo>
                    <a:pt x="421" y="195"/>
                  </a:lnTo>
                  <a:lnTo>
                    <a:pt x="432" y="195"/>
                  </a:lnTo>
                  <a:lnTo>
                    <a:pt x="432" y="196"/>
                  </a:lnTo>
                  <a:lnTo>
                    <a:pt x="436" y="196"/>
                  </a:lnTo>
                  <a:lnTo>
                    <a:pt x="436" y="202"/>
                  </a:lnTo>
                  <a:lnTo>
                    <a:pt x="446" y="202"/>
                  </a:lnTo>
                  <a:lnTo>
                    <a:pt x="446" y="204"/>
                  </a:lnTo>
                  <a:lnTo>
                    <a:pt x="457" y="204"/>
                  </a:lnTo>
                  <a:lnTo>
                    <a:pt x="457" y="214"/>
                  </a:lnTo>
                  <a:lnTo>
                    <a:pt x="464" y="214"/>
                  </a:lnTo>
                  <a:lnTo>
                    <a:pt x="464" y="221"/>
                  </a:lnTo>
                  <a:lnTo>
                    <a:pt x="471" y="221"/>
                  </a:lnTo>
                  <a:lnTo>
                    <a:pt x="471" y="229"/>
                  </a:lnTo>
                  <a:lnTo>
                    <a:pt x="478" y="229"/>
                  </a:lnTo>
                  <a:lnTo>
                    <a:pt x="478" y="232"/>
                  </a:lnTo>
                  <a:lnTo>
                    <a:pt x="484" y="232"/>
                  </a:lnTo>
                  <a:lnTo>
                    <a:pt x="484" y="239"/>
                  </a:lnTo>
                  <a:lnTo>
                    <a:pt x="489" y="239"/>
                  </a:lnTo>
                  <a:lnTo>
                    <a:pt x="489" y="243"/>
                  </a:lnTo>
                  <a:lnTo>
                    <a:pt x="505" y="243"/>
                  </a:lnTo>
                  <a:lnTo>
                    <a:pt x="505" y="250"/>
                  </a:lnTo>
                  <a:lnTo>
                    <a:pt x="509" y="250"/>
                  </a:lnTo>
                  <a:lnTo>
                    <a:pt x="509" y="261"/>
                  </a:lnTo>
                  <a:lnTo>
                    <a:pt x="514" y="261"/>
                  </a:lnTo>
                  <a:lnTo>
                    <a:pt x="514" y="271"/>
                  </a:lnTo>
                  <a:lnTo>
                    <a:pt x="528" y="271"/>
                  </a:lnTo>
                  <a:lnTo>
                    <a:pt x="528" y="279"/>
                  </a:lnTo>
                  <a:lnTo>
                    <a:pt x="532" y="279"/>
                  </a:lnTo>
                  <a:lnTo>
                    <a:pt x="532" y="286"/>
                  </a:lnTo>
                  <a:lnTo>
                    <a:pt x="546" y="286"/>
                  </a:lnTo>
                  <a:lnTo>
                    <a:pt x="546" y="295"/>
                  </a:lnTo>
                  <a:lnTo>
                    <a:pt x="555" y="295"/>
                  </a:lnTo>
                  <a:lnTo>
                    <a:pt x="555" y="300"/>
                  </a:lnTo>
                  <a:lnTo>
                    <a:pt x="568" y="300"/>
                  </a:lnTo>
                  <a:lnTo>
                    <a:pt x="568" y="307"/>
                  </a:lnTo>
                  <a:lnTo>
                    <a:pt x="582" y="307"/>
                  </a:lnTo>
                  <a:lnTo>
                    <a:pt x="582" y="318"/>
                  </a:lnTo>
                  <a:lnTo>
                    <a:pt x="605" y="318"/>
                  </a:lnTo>
                  <a:lnTo>
                    <a:pt x="605" y="332"/>
                  </a:lnTo>
                  <a:lnTo>
                    <a:pt x="614" y="332"/>
                  </a:lnTo>
                  <a:lnTo>
                    <a:pt x="614" y="338"/>
                  </a:lnTo>
                  <a:lnTo>
                    <a:pt x="625" y="338"/>
                  </a:lnTo>
                  <a:lnTo>
                    <a:pt x="625" y="345"/>
                  </a:lnTo>
                  <a:lnTo>
                    <a:pt x="628" y="345"/>
                  </a:lnTo>
                  <a:lnTo>
                    <a:pt x="628" y="350"/>
                  </a:lnTo>
                  <a:lnTo>
                    <a:pt x="634" y="350"/>
                  </a:lnTo>
                  <a:lnTo>
                    <a:pt x="634" y="363"/>
                  </a:lnTo>
                  <a:lnTo>
                    <a:pt x="641" y="363"/>
                  </a:lnTo>
                  <a:lnTo>
                    <a:pt x="641" y="368"/>
                  </a:lnTo>
                  <a:lnTo>
                    <a:pt x="646" y="368"/>
                  </a:lnTo>
                  <a:lnTo>
                    <a:pt x="646" y="375"/>
                  </a:lnTo>
                  <a:lnTo>
                    <a:pt x="660" y="375"/>
                  </a:lnTo>
                  <a:lnTo>
                    <a:pt x="660" y="384"/>
                  </a:lnTo>
                  <a:lnTo>
                    <a:pt x="669" y="384"/>
                  </a:lnTo>
                  <a:lnTo>
                    <a:pt x="669" y="391"/>
                  </a:lnTo>
                  <a:lnTo>
                    <a:pt x="673" y="391"/>
                  </a:lnTo>
                  <a:lnTo>
                    <a:pt x="673" y="404"/>
                  </a:lnTo>
                  <a:lnTo>
                    <a:pt x="682" y="404"/>
                  </a:lnTo>
                  <a:lnTo>
                    <a:pt x="682" y="407"/>
                  </a:lnTo>
                  <a:lnTo>
                    <a:pt x="694" y="407"/>
                  </a:lnTo>
                  <a:lnTo>
                    <a:pt x="694" y="414"/>
                  </a:lnTo>
                  <a:lnTo>
                    <a:pt x="703" y="414"/>
                  </a:lnTo>
                  <a:lnTo>
                    <a:pt x="703" y="420"/>
                  </a:lnTo>
                  <a:lnTo>
                    <a:pt x="709" y="420"/>
                  </a:lnTo>
                  <a:lnTo>
                    <a:pt x="709" y="425"/>
                  </a:lnTo>
                  <a:lnTo>
                    <a:pt x="718" y="425"/>
                  </a:lnTo>
                  <a:lnTo>
                    <a:pt x="718" y="434"/>
                  </a:lnTo>
                  <a:lnTo>
                    <a:pt x="744" y="434"/>
                  </a:lnTo>
                  <a:lnTo>
                    <a:pt x="744" y="443"/>
                  </a:lnTo>
                  <a:lnTo>
                    <a:pt x="753" y="443"/>
                  </a:lnTo>
                  <a:lnTo>
                    <a:pt x="753" y="452"/>
                  </a:lnTo>
                  <a:lnTo>
                    <a:pt x="759" y="452"/>
                  </a:lnTo>
                  <a:lnTo>
                    <a:pt x="759" y="459"/>
                  </a:lnTo>
                  <a:lnTo>
                    <a:pt x="764" y="459"/>
                  </a:lnTo>
                  <a:lnTo>
                    <a:pt x="764" y="463"/>
                  </a:lnTo>
                  <a:lnTo>
                    <a:pt x="775" y="463"/>
                  </a:lnTo>
                  <a:lnTo>
                    <a:pt x="775" y="477"/>
                  </a:lnTo>
                  <a:lnTo>
                    <a:pt x="784" y="477"/>
                  </a:lnTo>
                  <a:lnTo>
                    <a:pt x="784" y="484"/>
                  </a:lnTo>
                  <a:lnTo>
                    <a:pt x="798" y="484"/>
                  </a:lnTo>
                  <a:lnTo>
                    <a:pt x="798" y="488"/>
                  </a:lnTo>
                  <a:lnTo>
                    <a:pt x="803" y="488"/>
                  </a:lnTo>
                  <a:lnTo>
                    <a:pt x="803" y="495"/>
                  </a:lnTo>
                  <a:lnTo>
                    <a:pt x="810" y="495"/>
                  </a:lnTo>
                  <a:lnTo>
                    <a:pt x="810" y="502"/>
                  </a:lnTo>
                  <a:lnTo>
                    <a:pt x="816" y="502"/>
                  </a:lnTo>
                  <a:lnTo>
                    <a:pt x="816" y="507"/>
                  </a:lnTo>
                  <a:lnTo>
                    <a:pt x="821" y="507"/>
                  </a:lnTo>
                  <a:lnTo>
                    <a:pt x="821" y="514"/>
                  </a:lnTo>
                  <a:lnTo>
                    <a:pt x="825" y="514"/>
                  </a:lnTo>
                  <a:lnTo>
                    <a:pt x="825" y="522"/>
                  </a:lnTo>
                  <a:lnTo>
                    <a:pt x="826" y="522"/>
                  </a:lnTo>
                  <a:lnTo>
                    <a:pt x="826" y="527"/>
                  </a:lnTo>
                  <a:lnTo>
                    <a:pt x="837" y="527"/>
                  </a:lnTo>
                  <a:lnTo>
                    <a:pt x="837" y="534"/>
                  </a:lnTo>
                  <a:lnTo>
                    <a:pt x="853" y="534"/>
                  </a:lnTo>
                  <a:lnTo>
                    <a:pt x="853" y="548"/>
                  </a:lnTo>
                  <a:lnTo>
                    <a:pt x="864" y="548"/>
                  </a:lnTo>
                  <a:lnTo>
                    <a:pt x="864" y="554"/>
                  </a:lnTo>
                  <a:lnTo>
                    <a:pt x="871" y="554"/>
                  </a:lnTo>
                  <a:lnTo>
                    <a:pt x="871" y="561"/>
                  </a:lnTo>
                  <a:lnTo>
                    <a:pt x="882" y="561"/>
                  </a:lnTo>
                  <a:lnTo>
                    <a:pt x="882" y="566"/>
                  </a:lnTo>
                  <a:lnTo>
                    <a:pt x="892" y="566"/>
                  </a:lnTo>
                  <a:lnTo>
                    <a:pt x="892" y="573"/>
                  </a:lnTo>
                  <a:lnTo>
                    <a:pt x="901" y="573"/>
                  </a:lnTo>
                  <a:lnTo>
                    <a:pt x="901" y="582"/>
                  </a:lnTo>
                  <a:lnTo>
                    <a:pt x="908" y="582"/>
                  </a:lnTo>
                  <a:lnTo>
                    <a:pt x="908" y="591"/>
                  </a:lnTo>
                  <a:lnTo>
                    <a:pt x="917" y="591"/>
                  </a:lnTo>
                  <a:lnTo>
                    <a:pt x="917" y="606"/>
                  </a:lnTo>
                  <a:lnTo>
                    <a:pt x="937" y="606"/>
                  </a:lnTo>
                  <a:lnTo>
                    <a:pt x="937" y="609"/>
                  </a:lnTo>
                  <a:lnTo>
                    <a:pt x="939" y="609"/>
                  </a:lnTo>
                  <a:lnTo>
                    <a:pt x="939" y="614"/>
                  </a:lnTo>
                  <a:lnTo>
                    <a:pt x="946" y="614"/>
                  </a:lnTo>
                  <a:lnTo>
                    <a:pt x="946" y="618"/>
                  </a:lnTo>
                  <a:lnTo>
                    <a:pt x="951" y="618"/>
                  </a:lnTo>
                  <a:lnTo>
                    <a:pt x="951" y="622"/>
                  </a:lnTo>
                  <a:lnTo>
                    <a:pt x="974" y="622"/>
                  </a:lnTo>
                  <a:lnTo>
                    <a:pt x="974" y="631"/>
                  </a:lnTo>
                  <a:lnTo>
                    <a:pt x="994" y="631"/>
                  </a:lnTo>
                  <a:lnTo>
                    <a:pt x="994" y="639"/>
                  </a:lnTo>
                  <a:lnTo>
                    <a:pt x="1003" y="639"/>
                  </a:lnTo>
                  <a:lnTo>
                    <a:pt x="1003" y="643"/>
                  </a:lnTo>
                  <a:lnTo>
                    <a:pt x="1017" y="643"/>
                  </a:lnTo>
                  <a:lnTo>
                    <a:pt x="1017" y="652"/>
                  </a:lnTo>
                  <a:lnTo>
                    <a:pt x="1026" y="652"/>
                  </a:lnTo>
                  <a:lnTo>
                    <a:pt x="1026" y="656"/>
                  </a:lnTo>
                  <a:lnTo>
                    <a:pt x="1039" y="656"/>
                  </a:lnTo>
                  <a:lnTo>
                    <a:pt x="1039" y="661"/>
                  </a:lnTo>
                  <a:lnTo>
                    <a:pt x="1048" y="661"/>
                  </a:lnTo>
                  <a:lnTo>
                    <a:pt x="1048" y="666"/>
                  </a:lnTo>
                  <a:lnTo>
                    <a:pt x="1055" y="666"/>
                  </a:lnTo>
                  <a:lnTo>
                    <a:pt x="1055" y="677"/>
                  </a:lnTo>
                  <a:lnTo>
                    <a:pt x="1067" y="677"/>
                  </a:lnTo>
                  <a:lnTo>
                    <a:pt x="1067" y="686"/>
                  </a:lnTo>
                  <a:lnTo>
                    <a:pt x="1076" y="686"/>
                  </a:lnTo>
                  <a:lnTo>
                    <a:pt x="1076" y="695"/>
                  </a:lnTo>
                  <a:lnTo>
                    <a:pt x="1083" y="695"/>
                  </a:lnTo>
                  <a:lnTo>
                    <a:pt x="1083" y="702"/>
                  </a:lnTo>
                  <a:lnTo>
                    <a:pt x="1092" y="702"/>
                  </a:lnTo>
                  <a:lnTo>
                    <a:pt x="1092" y="709"/>
                  </a:lnTo>
                  <a:lnTo>
                    <a:pt x="1101" y="709"/>
                  </a:lnTo>
                  <a:lnTo>
                    <a:pt x="1101" y="715"/>
                  </a:lnTo>
                  <a:lnTo>
                    <a:pt x="1112" y="715"/>
                  </a:lnTo>
                  <a:lnTo>
                    <a:pt x="1112" y="720"/>
                  </a:lnTo>
                  <a:lnTo>
                    <a:pt x="1119" y="720"/>
                  </a:lnTo>
                  <a:lnTo>
                    <a:pt x="1119" y="727"/>
                  </a:lnTo>
                  <a:lnTo>
                    <a:pt x="1131" y="727"/>
                  </a:lnTo>
                  <a:lnTo>
                    <a:pt x="1131" y="732"/>
                  </a:lnTo>
                  <a:lnTo>
                    <a:pt x="1140" y="732"/>
                  </a:lnTo>
                  <a:lnTo>
                    <a:pt x="1140" y="740"/>
                  </a:lnTo>
                  <a:lnTo>
                    <a:pt x="1151" y="740"/>
                  </a:lnTo>
                  <a:lnTo>
                    <a:pt x="1151" y="750"/>
                  </a:lnTo>
                  <a:lnTo>
                    <a:pt x="1156" y="750"/>
                  </a:lnTo>
                  <a:lnTo>
                    <a:pt x="1156" y="759"/>
                  </a:lnTo>
                  <a:lnTo>
                    <a:pt x="1160" y="759"/>
                  </a:lnTo>
                  <a:lnTo>
                    <a:pt x="1160" y="765"/>
                  </a:lnTo>
                  <a:lnTo>
                    <a:pt x="1169" y="765"/>
                  </a:lnTo>
                  <a:lnTo>
                    <a:pt x="1169" y="772"/>
                  </a:lnTo>
                  <a:lnTo>
                    <a:pt x="1183" y="772"/>
                  </a:lnTo>
                  <a:lnTo>
                    <a:pt x="1183" y="779"/>
                  </a:lnTo>
                  <a:lnTo>
                    <a:pt x="1194" y="779"/>
                  </a:lnTo>
                  <a:lnTo>
                    <a:pt x="1194" y="784"/>
                  </a:lnTo>
                  <a:lnTo>
                    <a:pt x="1203" y="784"/>
                  </a:lnTo>
                  <a:lnTo>
                    <a:pt x="1203" y="793"/>
                  </a:lnTo>
                  <a:lnTo>
                    <a:pt x="1221" y="793"/>
                  </a:lnTo>
                  <a:lnTo>
                    <a:pt x="1221" y="807"/>
                  </a:lnTo>
                  <a:lnTo>
                    <a:pt x="1231" y="807"/>
                  </a:lnTo>
                  <a:lnTo>
                    <a:pt x="1231" y="815"/>
                  </a:lnTo>
                  <a:lnTo>
                    <a:pt x="1238" y="815"/>
                  </a:lnTo>
                  <a:lnTo>
                    <a:pt x="1238" y="820"/>
                  </a:lnTo>
                  <a:lnTo>
                    <a:pt x="1246" y="820"/>
                  </a:lnTo>
                  <a:lnTo>
                    <a:pt x="1246" y="832"/>
                  </a:lnTo>
                  <a:lnTo>
                    <a:pt x="1263" y="832"/>
                  </a:lnTo>
                  <a:lnTo>
                    <a:pt x="1263" y="841"/>
                  </a:lnTo>
                  <a:lnTo>
                    <a:pt x="1272" y="841"/>
                  </a:lnTo>
                  <a:lnTo>
                    <a:pt x="1272" y="848"/>
                  </a:lnTo>
                  <a:lnTo>
                    <a:pt x="1283" y="848"/>
                  </a:lnTo>
                  <a:lnTo>
                    <a:pt x="1283" y="856"/>
                  </a:lnTo>
                  <a:lnTo>
                    <a:pt x="1294" y="856"/>
                  </a:lnTo>
                  <a:lnTo>
                    <a:pt x="1294" y="865"/>
                  </a:lnTo>
                  <a:lnTo>
                    <a:pt x="1306" y="865"/>
                  </a:lnTo>
                  <a:lnTo>
                    <a:pt x="1306" y="875"/>
                  </a:lnTo>
                  <a:lnTo>
                    <a:pt x="1319" y="875"/>
                  </a:lnTo>
                  <a:lnTo>
                    <a:pt x="1319" y="886"/>
                  </a:lnTo>
                  <a:lnTo>
                    <a:pt x="1335" y="886"/>
                  </a:lnTo>
                  <a:lnTo>
                    <a:pt x="1335" y="895"/>
                  </a:lnTo>
                  <a:lnTo>
                    <a:pt x="1349" y="895"/>
                  </a:lnTo>
                  <a:lnTo>
                    <a:pt x="1349" y="904"/>
                  </a:lnTo>
                  <a:lnTo>
                    <a:pt x="1360" y="904"/>
                  </a:lnTo>
                  <a:lnTo>
                    <a:pt x="1360" y="915"/>
                  </a:lnTo>
                  <a:lnTo>
                    <a:pt x="1376" y="915"/>
                  </a:lnTo>
                  <a:lnTo>
                    <a:pt x="1376" y="924"/>
                  </a:lnTo>
                  <a:lnTo>
                    <a:pt x="1388" y="924"/>
                  </a:lnTo>
                  <a:lnTo>
                    <a:pt x="1388" y="940"/>
                  </a:lnTo>
                  <a:lnTo>
                    <a:pt x="1397" y="940"/>
                  </a:lnTo>
                  <a:lnTo>
                    <a:pt x="1397" y="957"/>
                  </a:lnTo>
                  <a:lnTo>
                    <a:pt x="1410" y="957"/>
                  </a:lnTo>
                  <a:lnTo>
                    <a:pt x="1410" y="961"/>
                  </a:lnTo>
                  <a:lnTo>
                    <a:pt x="1426" y="961"/>
                  </a:lnTo>
                  <a:lnTo>
                    <a:pt x="1426" y="974"/>
                  </a:lnTo>
                  <a:lnTo>
                    <a:pt x="1438" y="974"/>
                  </a:lnTo>
                  <a:lnTo>
                    <a:pt x="1438" y="981"/>
                  </a:lnTo>
                  <a:lnTo>
                    <a:pt x="1445" y="981"/>
                  </a:lnTo>
                  <a:lnTo>
                    <a:pt x="1445" y="986"/>
                  </a:lnTo>
                  <a:lnTo>
                    <a:pt x="1451" y="986"/>
                  </a:lnTo>
                  <a:lnTo>
                    <a:pt x="1451" y="993"/>
                  </a:lnTo>
                  <a:lnTo>
                    <a:pt x="1458" y="993"/>
                  </a:lnTo>
                  <a:lnTo>
                    <a:pt x="1458" y="1006"/>
                  </a:lnTo>
                  <a:lnTo>
                    <a:pt x="1469" y="1006"/>
                  </a:lnTo>
                  <a:lnTo>
                    <a:pt x="1469" y="1011"/>
                  </a:lnTo>
                  <a:lnTo>
                    <a:pt x="1483" y="1011"/>
                  </a:lnTo>
                  <a:lnTo>
                    <a:pt x="1483" y="1015"/>
                  </a:lnTo>
                  <a:lnTo>
                    <a:pt x="1501" y="1015"/>
                  </a:lnTo>
                  <a:lnTo>
                    <a:pt x="1501" y="1016"/>
                  </a:lnTo>
                  <a:lnTo>
                    <a:pt x="1526" y="1016"/>
                  </a:lnTo>
                  <a:lnTo>
                    <a:pt x="1526" y="1024"/>
                  </a:lnTo>
                  <a:lnTo>
                    <a:pt x="1536" y="1024"/>
                  </a:lnTo>
                  <a:lnTo>
                    <a:pt x="1536" y="1031"/>
                  </a:lnTo>
                  <a:lnTo>
                    <a:pt x="1549" y="1031"/>
                  </a:lnTo>
                  <a:lnTo>
                    <a:pt x="1549" y="1036"/>
                  </a:lnTo>
                  <a:lnTo>
                    <a:pt x="1563" y="1036"/>
                  </a:lnTo>
                  <a:lnTo>
                    <a:pt x="1563" y="1041"/>
                  </a:lnTo>
                  <a:lnTo>
                    <a:pt x="1576" y="1041"/>
                  </a:lnTo>
                  <a:lnTo>
                    <a:pt x="1576" y="1050"/>
                  </a:lnTo>
                  <a:lnTo>
                    <a:pt x="1592" y="1050"/>
                  </a:lnTo>
                  <a:lnTo>
                    <a:pt x="1592" y="1056"/>
                  </a:lnTo>
                  <a:lnTo>
                    <a:pt x="1601" y="1056"/>
                  </a:lnTo>
                  <a:lnTo>
                    <a:pt x="1601" y="1063"/>
                  </a:lnTo>
                  <a:lnTo>
                    <a:pt x="1613" y="1063"/>
                  </a:lnTo>
                  <a:lnTo>
                    <a:pt x="1613" y="1066"/>
                  </a:lnTo>
                  <a:lnTo>
                    <a:pt x="1636" y="1066"/>
                  </a:lnTo>
                  <a:lnTo>
                    <a:pt x="1636" y="1072"/>
                  </a:lnTo>
                  <a:lnTo>
                    <a:pt x="1647" y="1072"/>
                  </a:lnTo>
                  <a:lnTo>
                    <a:pt x="1647" y="1081"/>
                  </a:lnTo>
                  <a:lnTo>
                    <a:pt x="1651" y="1081"/>
                  </a:lnTo>
                  <a:lnTo>
                    <a:pt x="1651" y="1084"/>
                  </a:lnTo>
                  <a:lnTo>
                    <a:pt x="1670" y="1084"/>
                  </a:lnTo>
                  <a:lnTo>
                    <a:pt x="1670" y="1088"/>
                  </a:lnTo>
                  <a:lnTo>
                    <a:pt x="1679" y="1088"/>
                  </a:lnTo>
                  <a:lnTo>
                    <a:pt x="1679" y="1113"/>
                  </a:lnTo>
                  <a:lnTo>
                    <a:pt x="1679" y="1118"/>
                  </a:lnTo>
                  <a:lnTo>
                    <a:pt x="1718" y="1118"/>
                  </a:lnTo>
                  <a:lnTo>
                    <a:pt x="1718" y="1134"/>
                  </a:lnTo>
                  <a:lnTo>
                    <a:pt x="1731" y="1134"/>
                  </a:lnTo>
                  <a:lnTo>
                    <a:pt x="1731" y="1143"/>
                  </a:lnTo>
                  <a:lnTo>
                    <a:pt x="1768" y="1143"/>
                  </a:lnTo>
                  <a:lnTo>
                    <a:pt x="1768" y="1158"/>
                  </a:lnTo>
                  <a:lnTo>
                    <a:pt x="1790" y="1158"/>
                  </a:lnTo>
                  <a:lnTo>
                    <a:pt x="1790" y="1165"/>
                  </a:lnTo>
                  <a:lnTo>
                    <a:pt x="1899" y="1165"/>
                  </a:lnTo>
                  <a:lnTo>
                    <a:pt x="1899" y="1181"/>
                  </a:lnTo>
                  <a:lnTo>
                    <a:pt x="1947" y="1181"/>
                  </a:lnTo>
                  <a:lnTo>
                    <a:pt x="1947" y="1193"/>
                  </a:lnTo>
                  <a:lnTo>
                    <a:pt x="1957" y="1193"/>
                  </a:lnTo>
                  <a:lnTo>
                    <a:pt x="1957" y="1204"/>
                  </a:lnTo>
                  <a:lnTo>
                    <a:pt x="1986" y="1204"/>
                  </a:lnTo>
                  <a:lnTo>
                    <a:pt x="1986" y="1211"/>
                  </a:lnTo>
                  <a:lnTo>
                    <a:pt x="2000" y="1211"/>
                  </a:lnTo>
                  <a:lnTo>
                    <a:pt x="2000" y="1217"/>
                  </a:lnTo>
                  <a:lnTo>
                    <a:pt x="2031" y="1217"/>
                  </a:lnTo>
                  <a:lnTo>
                    <a:pt x="2031" y="1242"/>
                  </a:lnTo>
                  <a:lnTo>
                    <a:pt x="2081" y="1242"/>
                  </a:lnTo>
                  <a:lnTo>
                    <a:pt x="2081" y="1254"/>
                  </a:lnTo>
                  <a:lnTo>
                    <a:pt x="2111" y="1254"/>
                  </a:lnTo>
                  <a:lnTo>
                    <a:pt x="2111" y="1267"/>
                  </a:lnTo>
                  <a:lnTo>
                    <a:pt x="2125" y="1267"/>
                  </a:lnTo>
                  <a:lnTo>
                    <a:pt x="2125" y="1293"/>
                  </a:lnTo>
                  <a:lnTo>
                    <a:pt x="2284" y="1293"/>
                  </a:lnTo>
                  <a:lnTo>
                    <a:pt x="2284" y="1313"/>
                  </a:lnTo>
                  <a:lnTo>
                    <a:pt x="2400" y="1313"/>
                  </a:lnTo>
                  <a:lnTo>
                    <a:pt x="2400" y="1338"/>
                  </a:lnTo>
                  <a:lnTo>
                    <a:pt x="2675" y="1338"/>
                  </a:lnTo>
                </a:path>
              </a:pathLst>
            </a:custGeom>
            <a:noFill/>
            <a:ln w="19050" cap="flat">
              <a:solidFill>
                <a:srgbClr val="7030A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7" name="Oval 6">
              <a:extLst>
                <a:ext uri="{FF2B5EF4-FFF2-40B4-BE49-F238E27FC236}">
                  <a16:creationId xmlns:a16="http://schemas.microsoft.com/office/drawing/2014/main" id="{2FC0D58D-FD1A-4883-A6B8-3020F361FA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08582" y="5151437"/>
              <a:ext cx="39688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8" name="Oval 7">
              <a:extLst>
                <a:ext uri="{FF2B5EF4-FFF2-40B4-BE49-F238E27FC236}">
                  <a16:creationId xmlns:a16="http://schemas.microsoft.com/office/drawing/2014/main" id="{6E8CA6F6-A353-4946-B1C9-3BAE9FB1B0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0321" y="5151437"/>
              <a:ext cx="39687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9" name="Oval 8">
              <a:extLst>
                <a:ext uri="{FF2B5EF4-FFF2-40B4-BE49-F238E27FC236}">
                  <a16:creationId xmlns:a16="http://schemas.microsoft.com/office/drawing/2014/main" id="{06C11E49-D285-4334-9BC8-D82C4EDA8D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5232" y="5151437"/>
              <a:ext cx="39688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0" name="Oval 9">
              <a:extLst>
                <a:ext uri="{FF2B5EF4-FFF2-40B4-BE49-F238E27FC236}">
                  <a16:creationId xmlns:a16="http://schemas.microsoft.com/office/drawing/2014/main" id="{E00EBB5A-07A5-4AF9-94BB-87045F1EE3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4433" y="5151437"/>
              <a:ext cx="36513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1" name="Oval 10">
              <a:extLst>
                <a:ext uri="{FF2B5EF4-FFF2-40B4-BE49-F238E27FC236}">
                  <a16:creationId xmlns:a16="http://schemas.microsoft.com/office/drawing/2014/main" id="{A9FFA957-7774-4E04-82E7-8E4F68078E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8233" y="5111751"/>
              <a:ext cx="36513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2" name="Oval 11">
              <a:extLst>
                <a:ext uri="{FF2B5EF4-FFF2-40B4-BE49-F238E27FC236}">
                  <a16:creationId xmlns:a16="http://schemas.microsoft.com/office/drawing/2014/main" id="{47743042-3E09-486C-9DCA-E1B43E4B9C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65682" y="5111751"/>
              <a:ext cx="39688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3" name="Oval 12">
              <a:extLst>
                <a:ext uri="{FF2B5EF4-FFF2-40B4-BE49-F238E27FC236}">
                  <a16:creationId xmlns:a16="http://schemas.microsoft.com/office/drawing/2014/main" id="{8076C601-C36B-4CD9-80B7-1F96156426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5995" y="5111751"/>
              <a:ext cx="36512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4" name="Oval 13">
              <a:extLst>
                <a:ext uri="{FF2B5EF4-FFF2-40B4-BE49-F238E27FC236}">
                  <a16:creationId xmlns:a16="http://schemas.microsoft.com/office/drawing/2014/main" id="{D7E66C61-CBF2-4E6C-83B8-C2183BA587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92646" y="5084762"/>
              <a:ext cx="39687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5" name="Oval 14">
              <a:extLst>
                <a:ext uri="{FF2B5EF4-FFF2-40B4-BE49-F238E27FC236}">
                  <a16:creationId xmlns:a16="http://schemas.microsoft.com/office/drawing/2014/main" id="{699F7F8B-B718-46AC-9599-C89A8FE903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0246" y="5059362"/>
              <a:ext cx="39687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6" name="Oval 15">
              <a:extLst>
                <a:ext uri="{FF2B5EF4-FFF2-40B4-BE49-F238E27FC236}">
                  <a16:creationId xmlns:a16="http://schemas.microsoft.com/office/drawing/2014/main" id="{7D7F72C8-9EF5-4E1E-8E27-623FEDA9C3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5471" y="4999037"/>
              <a:ext cx="39687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7" name="Oval 16">
              <a:extLst>
                <a:ext uri="{FF2B5EF4-FFF2-40B4-BE49-F238E27FC236}">
                  <a16:creationId xmlns:a16="http://schemas.microsoft.com/office/drawing/2014/main" id="{FC373731-2FBD-444F-9AB4-F45784B7E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00546" y="4999037"/>
              <a:ext cx="39687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8" name="Oval 17">
              <a:extLst>
                <a:ext uri="{FF2B5EF4-FFF2-40B4-BE49-F238E27FC236}">
                  <a16:creationId xmlns:a16="http://schemas.microsoft.com/office/drawing/2014/main" id="{9BD7C7ED-AFCA-4F75-8FD8-C7443BBEDC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146" y="4959351"/>
              <a:ext cx="39687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9" name="Oval 18">
              <a:extLst>
                <a:ext uri="{FF2B5EF4-FFF2-40B4-BE49-F238E27FC236}">
                  <a16:creationId xmlns:a16="http://schemas.microsoft.com/office/drawing/2014/main" id="{1C098B78-B6CC-4319-A843-788B9E174D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5457" y="4951412"/>
              <a:ext cx="39688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0" name="Oval 19">
              <a:extLst>
                <a:ext uri="{FF2B5EF4-FFF2-40B4-BE49-F238E27FC236}">
                  <a16:creationId xmlns:a16="http://schemas.microsoft.com/office/drawing/2014/main" id="{B7E46A5C-85ED-4E6E-88C2-16E71A2D5C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3233" y="4940301"/>
              <a:ext cx="36513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1" name="Oval 20">
              <a:extLst>
                <a:ext uri="{FF2B5EF4-FFF2-40B4-BE49-F238E27FC236}">
                  <a16:creationId xmlns:a16="http://schemas.microsoft.com/office/drawing/2014/main" id="{AD06989A-E481-41BE-AB4A-4611D82B58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73546" y="4940301"/>
              <a:ext cx="39687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2" name="Oval 21">
              <a:extLst>
                <a:ext uri="{FF2B5EF4-FFF2-40B4-BE49-F238E27FC236}">
                  <a16:creationId xmlns:a16="http://schemas.microsoft.com/office/drawing/2014/main" id="{61FB0514-9408-48F9-B1FC-9722E644A1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4971" y="4905375"/>
              <a:ext cx="39687" cy="36512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3" name="Oval 22">
              <a:extLst>
                <a:ext uri="{FF2B5EF4-FFF2-40B4-BE49-F238E27FC236}">
                  <a16:creationId xmlns:a16="http://schemas.microsoft.com/office/drawing/2014/main" id="{4B4AD330-FE0F-4707-AC58-D247F12732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97346" y="4905375"/>
              <a:ext cx="39687" cy="36512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4" name="Oval 23">
              <a:extLst>
                <a:ext uri="{FF2B5EF4-FFF2-40B4-BE49-F238E27FC236}">
                  <a16:creationId xmlns:a16="http://schemas.microsoft.com/office/drawing/2014/main" id="{F75C3C7B-FA64-4A9F-8497-B0361B82AB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00507" y="4876801"/>
              <a:ext cx="39688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5" name="Oval 24">
              <a:extLst>
                <a:ext uri="{FF2B5EF4-FFF2-40B4-BE49-F238E27FC236}">
                  <a16:creationId xmlns:a16="http://schemas.microsoft.com/office/drawing/2014/main" id="{CF3F7725-A8E4-4DE5-8C54-A3892CC418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3996" y="4876801"/>
              <a:ext cx="39687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6" name="Oval 25">
              <a:extLst>
                <a:ext uri="{FF2B5EF4-FFF2-40B4-BE49-F238E27FC236}">
                  <a16:creationId xmlns:a16="http://schemas.microsoft.com/office/drawing/2014/main" id="{BAE36A4B-358D-45F9-A006-CCE65D00BA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06846" y="4865687"/>
              <a:ext cx="39687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7" name="Oval 26">
              <a:extLst>
                <a:ext uri="{FF2B5EF4-FFF2-40B4-BE49-F238E27FC236}">
                  <a16:creationId xmlns:a16="http://schemas.microsoft.com/office/drawing/2014/main" id="{8F30ADE5-F2D8-4E1F-AE19-DABF99C6A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507" y="4843462"/>
              <a:ext cx="39688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8" name="Oval 27">
              <a:extLst>
                <a:ext uri="{FF2B5EF4-FFF2-40B4-BE49-F238E27FC236}">
                  <a16:creationId xmlns:a16="http://schemas.microsoft.com/office/drawing/2014/main" id="{92845C71-C393-4872-879C-6F637E412C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2696" y="4754562"/>
              <a:ext cx="39687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9" name="Oval 28">
              <a:extLst>
                <a:ext uri="{FF2B5EF4-FFF2-40B4-BE49-F238E27FC236}">
                  <a16:creationId xmlns:a16="http://schemas.microsoft.com/office/drawing/2014/main" id="{912861B9-1C00-41AB-AB1F-F2F8EF5E05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8407" y="4743451"/>
              <a:ext cx="39688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0" name="Oval 29">
              <a:extLst>
                <a:ext uri="{FF2B5EF4-FFF2-40B4-BE49-F238E27FC236}">
                  <a16:creationId xmlns:a16="http://schemas.microsoft.com/office/drawing/2014/main" id="{FD500F6E-7790-4F9E-96E1-8DA66A9048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9357" y="4743451"/>
              <a:ext cx="39688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1" name="Oval 30">
              <a:extLst>
                <a:ext uri="{FF2B5EF4-FFF2-40B4-BE49-F238E27FC236}">
                  <a16:creationId xmlns:a16="http://schemas.microsoft.com/office/drawing/2014/main" id="{95CC7AF1-A140-4868-AF1E-3D1E1C66AF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4432" y="4724400"/>
              <a:ext cx="39688" cy="36512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2" name="Oval 31">
              <a:extLst>
                <a:ext uri="{FF2B5EF4-FFF2-40B4-BE49-F238E27FC236}">
                  <a16:creationId xmlns:a16="http://schemas.microsoft.com/office/drawing/2014/main" id="{9E4240CD-9367-4222-848F-6F7DB7F4D9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17921" y="4714875"/>
              <a:ext cx="39687" cy="38100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3" name="Oval 32">
              <a:extLst>
                <a:ext uri="{FF2B5EF4-FFF2-40B4-BE49-F238E27FC236}">
                  <a16:creationId xmlns:a16="http://schemas.microsoft.com/office/drawing/2014/main" id="{C1A20B6D-89A2-4374-803F-A1E95A33C1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8871" y="4703762"/>
              <a:ext cx="39687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4" name="Oval 33">
              <a:extLst>
                <a:ext uri="{FF2B5EF4-FFF2-40B4-BE49-F238E27FC236}">
                  <a16:creationId xmlns:a16="http://schemas.microsoft.com/office/drawing/2014/main" id="{E1AFF2E1-97D0-4214-BE9A-DE22D485DF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2520" y="4695825"/>
              <a:ext cx="36512" cy="36512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5" name="Oval 34">
              <a:extLst>
                <a:ext uri="{FF2B5EF4-FFF2-40B4-BE49-F238E27FC236}">
                  <a16:creationId xmlns:a16="http://schemas.microsoft.com/office/drawing/2014/main" id="{B9182964-5340-4391-821F-6820AD87A4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2357" y="4681537"/>
              <a:ext cx="39688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6" name="Oval 35">
              <a:extLst>
                <a:ext uri="{FF2B5EF4-FFF2-40B4-BE49-F238E27FC236}">
                  <a16:creationId xmlns:a16="http://schemas.microsoft.com/office/drawing/2014/main" id="{875D1AF6-D5F1-4EC6-BD55-CEE572408B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6320" y="4660901"/>
              <a:ext cx="36512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7" name="Oval 36">
              <a:extLst>
                <a:ext uri="{FF2B5EF4-FFF2-40B4-BE49-F238E27FC236}">
                  <a16:creationId xmlns:a16="http://schemas.microsoft.com/office/drawing/2014/main" id="{88D123B2-5CD6-4FC6-B12F-69E9FD0683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7271" y="4652962"/>
              <a:ext cx="39687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8" name="Oval 37">
              <a:extLst>
                <a:ext uri="{FF2B5EF4-FFF2-40B4-BE49-F238E27FC236}">
                  <a16:creationId xmlns:a16="http://schemas.microsoft.com/office/drawing/2014/main" id="{C849D945-6DB1-4424-87F2-099EE2187A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1870" y="4645025"/>
              <a:ext cx="38100" cy="36512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9" name="Oval 38">
              <a:extLst>
                <a:ext uri="{FF2B5EF4-FFF2-40B4-BE49-F238E27FC236}">
                  <a16:creationId xmlns:a16="http://schemas.microsoft.com/office/drawing/2014/main" id="{EA7E2632-3F1E-46E8-A0E2-1095B94DEF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0121" y="4645025"/>
              <a:ext cx="39687" cy="36512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0" name="Oval 39">
              <a:extLst>
                <a:ext uri="{FF2B5EF4-FFF2-40B4-BE49-F238E27FC236}">
                  <a16:creationId xmlns:a16="http://schemas.microsoft.com/office/drawing/2014/main" id="{937F86D3-BEF7-4D3D-B5A4-46B1AA6D6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4721" y="4633912"/>
              <a:ext cx="39687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1" name="Oval 40">
              <a:extLst>
                <a:ext uri="{FF2B5EF4-FFF2-40B4-BE49-F238E27FC236}">
                  <a16:creationId xmlns:a16="http://schemas.microsoft.com/office/drawing/2014/main" id="{8A5D2523-8800-4229-A09B-57757417B0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7257" y="4624387"/>
              <a:ext cx="39688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2" name="Oval 41">
              <a:extLst>
                <a:ext uri="{FF2B5EF4-FFF2-40B4-BE49-F238E27FC236}">
                  <a16:creationId xmlns:a16="http://schemas.microsoft.com/office/drawing/2014/main" id="{ADC8B04C-6891-4B23-9EC4-73D4E5F551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0746" y="4584701"/>
              <a:ext cx="39687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3" name="Oval 42">
              <a:extLst>
                <a:ext uri="{FF2B5EF4-FFF2-40B4-BE49-F238E27FC236}">
                  <a16:creationId xmlns:a16="http://schemas.microsoft.com/office/drawing/2014/main" id="{6643862D-A765-4908-8827-7A2870A169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84546" y="4548187"/>
              <a:ext cx="39687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4" name="Oval 43">
              <a:extLst>
                <a:ext uri="{FF2B5EF4-FFF2-40B4-BE49-F238E27FC236}">
                  <a16:creationId xmlns:a16="http://schemas.microsoft.com/office/drawing/2014/main" id="{CEA0A4F4-323B-4B63-AF38-66AFA084EE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0257" y="4494213"/>
              <a:ext cx="39688" cy="36513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5" name="Oval 44">
              <a:extLst>
                <a:ext uri="{FF2B5EF4-FFF2-40B4-BE49-F238E27FC236}">
                  <a16:creationId xmlns:a16="http://schemas.microsoft.com/office/drawing/2014/main" id="{722517E2-0977-4208-A694-CFC6970F74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8508" y="4483101"/>
              <a:ext cx="36513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6" name="Oval 45">
              <a:extLst>
                <a:ext uri="{FF2B5EF4-FFF2-40B4-BE49-F238E27FC236}">
                  <a16:creationId xmlns:a16="http://schemas.microsoft.com/office/drawing/2014/main" id="{1F61A712-0C55-4FBD-8E98-E3B3A29C27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8345" y="4454525"/>
              <a:ext cx="36512" cy="36512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7" name="Oval 46">
              <a:extLst>
                <a:ext uri="{FF2B5EF4-FFF2-40B4-BE49-F238E27FC236}">
                  <a16:creationId xmlns:a16="http://schemas.microsoft.com/office/drawing/2014/main" id="{A6E376C5-2BAE-4B5C-AFB2-78B09784E8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87707" y="4446588"/>
              <a:ext cx="39688" cy="36513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8" name="Oval 47">
              <a:extLst>
                <a:ext uri="{FF2B5EF4-FFF2-40B4-BE49-F238E27FC236}">
                  <a16:creationId xmlns:a16="http://schemas.microsoft.com/office/drawing/2014/main" id="{5BD17FC5-1F19-4CC0-9283-294A809C6B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0245" y="4446588"/>
              <a:ext cx="38100" cy="36513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9" name="Oval 48">
              <a:extLst>
                <a:ext uri="{FF2B5EF4-FFF2-40B4-BE49-F238E27FC236}">
                  <a16:creationId xmlns:a16="http://schemas.microsoft.com/office/drawing/2014/main" id="{012E7133-7627-45D9-A67A-28D741C0C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9132" y="4425951"/>
              <a:ext cx="39688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0" name="Oval 49">
              <a:extLst>
                <a:ext uri="{FF2B5EF4-FFF2-40B4-BE49-F238E27FC236}">
                  <a16:creationId xmlns:a16="http://schemas.microsoft.com/office/drawing/2014/main" id="{B80A31CF-5E29-4E5F-AF66-9D958584C0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0082" y="4418012"/>
              <a:ext cx="39688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1" name="Oval 50">
              <a:extLst>
                <a:ext uri="{FF2B5EF4-FFF2-40B4-BE49-F238E27FC236}">
                  <a16:creationId xmlns:a16="http://schemas.microsoft.com/office/drawing/2014/main" id="{8B7008B7-ED38-451C-9122-7146224E98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9446" y="4386262"/>
              <a:ext cx="39687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2" name="Oval 51">
              <a:extLst>
                <a:ext uri="{FF2B5EF4-FFF2-40B4-BE49-F238E27FC236}">
                  <a16:creationId xmlns:a16="http://schemas.microsoft.com/office/drawing/2014/main" id="{89BA9B03-1F87-4ECC-AF22-13B4E8F80B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3571" y="4375151"/>
              <a:ext cx="39687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3" name="Oval 52">
              <a:extLst>
                <a:ext uri="{FF2B5EF4-FFF2-40B4-BE49-F238E27FC236}">
                  <a16:creationId xmlns:a16="http://schemas.microsoft.com/office/drawing/2014/main" id="{4961422D-EC73-42D5-8703-AAC6144AAF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78170" y="4367213"/>
              <a:ext cx="36512" cy="36513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4" name="Oval 53">
              <a:extLst>
                <a:ext uri="{FF2B5EF4-FFF2-40B4-BE49-F238E27FC236}">
                  <a16:creationId xmlns:a16="http://schemas.microsoft.com/office/drawing/2014/main" id="{5326F995-9FEB-4809-BEB8-CC3AF41777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0707" y="4352926"/>
              <a:ext cx="39688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5" name="Oval 54">
              <a:extLst>
                <a:ext uri="{FF2B5EF4-FFF2-40B4-BE49-F238E27FC236}">
                  <a16:creationId xmlns:a16="http://schemas.microsoft.com/office/drawing/2014/main" id="{DC40ED0F-5BC2-4112-B40D-B1E1C35277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1496" y="4310062"/>
              <a:ext cx="39687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6" name="Oval 55">
              <a:extLst>
                <a:ext uri="{FF2B5EF4-FFF2-40B4-BE49-F238E27FC236}">
                  <a16:creationId xmlns:a16="http://schemas.microsoft.com/office/drawing/2014/main" id="{5785D311-B2AA-4CE2-BAF0-8DBCD2A63D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0696" y="4264026"/>
              <a:ext cx="39687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7" name="Oval 56">
              <a:extLst>
                <a:ext uri="{FF2B5EF4-FFF2-40B4-BE49-F238E27FC236}">
                  <a16:creationId xmlns:a16="http://schemas.microsoft.com/office/drawing/2014/main" id="{C3B1E65D-6DAE-456D-85D6-DCB9154AFD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9582" y="4256087"/>
              <a:ext cx="39688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8" name="Oval 57">
              <a:extLst>
                <a:ext uri="{FF2B5EF4-FFF2-40B4-BE49-F238E27FC236}">
                  <a16:creationId xmlns:a16="http://schemas.microsoft.com/office/drawing/2014/main" id="{C4602342-148B-4F47-B52C-423ABE4EF5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1007" y="4244976"/>
              <a:ext cx="39688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9" name="Oval 58">
              <a:extLst>
                <a:ext uri="{FF2B5EF4-FFF2-40B4-BE49-F238E27FC236}">
                  <a16:creationId xmlns:a16="http://schemas.microsoft.com/office/drawing/2014/main" id="{0B90F43B-BBD6-4B2D-AAD5-F69F7448D3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1957" y="4233862"/>
              <a:ext cx="39688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0" name="Oval 59">
              <a:extLst>
                <a:ext uri="{FF2B5EF4-FFF2-40B4-BE49-F238E27FC236}">
                  <a16:creationId xmlns:a16="http://schemas.microsoft.com/office/drawing/2014/main" id="{A805B51B-FE44-40C9-A4AE-E64FE03E76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81321" y="4202112"/>
              <a:ext cx="39687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1" name="Oval 60">
              <a:extLst>
                <a:ext uri="{FF2B5EF4-FFF2-40B4-BE49-F238E27FC236}">
                  <a16:creationId xmlns:a16="http://schemas.microsoft.com/office/drawing/2014/main" id="{C8AE1E48-5727-45E4-9236-40B919860C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271" y="4183063"/>
              <a:ext cx="39687" cy="36513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2" name="Oval 61">
              <a:extLst>
                <a:ext uri="{FF2B5EF4-FFF2-40B4-BE49-F238E27FC236}">
                  <a16:creationId xmlns:a16="http://schemas.microsoft.com/office/drawing/2014/main" id="{4C4310E2-3F16-4D31-9FDB-6459844631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1632" y="4173538"/>
              <a:ext cx="39688" cy="36513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3" name="Oval 62">
              <a:extLst>
                <a:ext uri="{FF2B5EF4-FFF2-40B4-BE49-F238E27FC236}">
                  <a16:creationId xmlns:a16="http://schemas.microsoft.com/office/drawing/2014/main" id="{72FF7B45-4E9C-4896-AD9F-62002A8835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4646" y="4162426"/>
              <a:ext cx="39687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4" name="Oval 63">
              <a:extLst>
                <a:ext uri="{FF2B5EF4-FFF2-40B4-BE49-F238E27FC236}">
                  <a16:creationId xmlns:a16="http://schemas.microsoft.com/office/drawing/2014/main" id="{CE96F733-840F-4F42-851D-954A5CD868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4008" y="4144962"/>
              <a:ext cx="36513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5" name="Oval 64">
              <a:extLst>
                <a:ext uri="{FF2B5EF4-FFF2-40B4-BE49-F238E27FC236}">
                  <a16:creationId xmlns:a16="http://schemas.microsoft.com/office/drawing/2014/main" id="{1323AE16-E7C3-48C7-BDEC-7C48B98CCA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74957" y="4130676"/>
              <a:ext cx="39688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6" name="Oval 65">
              <a:extLst>
                <a:ext uri="{FF2B5EF4-FFF2-40B4-BE49-F238E27FC236}">
                  <a16:creationId xmlns:a16="http://schemas.microsoft.com/office/drawing/2014/main" id="{B6D2BB72-9BD3-4C42-AEB4-826C0B22FB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5432" y="4111626"/>
              <a:ext cx="39688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7" name="Oval 66">
              <a:extLst>
                <a:ext uri="{FF2B5EF4-FFF2-40B4-BE49-F238E27FC236}">
                  <a16:creationId xmlns:a16="http://schemas.microsoft.com/office/drawing/2014/main" id="{493267FB-C432-45BA-8D77-811ACD2965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4632" y="4076701"/>
              <a:ext cx="39688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8" name="Oval 67">
              <a:extLst>
                <a:ext uri="{FF2B5EF4-FFF2-40B4-BE49-F238E27FC236}">
                  <a16:creationId xmlns:a16="http://schemas.microsoft.com/office/drawing/2014/main" id="{15C8810D-94A6-41C4-8424-A91A525C58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6695" y="4068762"/>
              <a:ext cx="36512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9" name="Oval 68">
              <a:extLst>
                <a:ext uri="{FF2B5EF4-FFF2-40B4-BE49-F238E27FC236}">
                  <a16:creationId xmlns:a16="http://schemas.microsoft.com/office/drawing/2014/main" id="{16E6F6DC-110B-466F-8F15-5C16D5B4E2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6057" y="4054476"/>
              <a:ext cx="38100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0" name="Oval 69">
              <a:extLst>
                <a:ext uri="{FF2B5EF4-FFF2-40B4-BE49-F238E27FC236}">
                  <a16:creationId xmlns:a16="http://schemas.microsoft.com/office/drawing/2014/main" id="{84D88ED4-B4B8-4D42-9A2F-DEC8A0D2E5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8432" y="4032251"/>
              <a:ext cx="39688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1" name="Oval 70">
              <a:extLst>
                <a:ext uri="{FF2B5EF4-FFF2-40B4-BE49-F238E27FC236}">
                  <a16:creationId xmlns:a16="http://schemas.microsoft.com/office/drawing/2014/main" id="{B54BE100-2A50-4A2F-9F28-41E22DFAA5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5707" y="3898901"/>
              <a:ext cx="39688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2" name="Oval 71">
              <a:extLst>
                <a:ext uri="{FF2B5EF4-FFF2-40B4-BE49-F238E27FC236}">
                  <a16:creationId xmlns:a16="http://schemas.microsoft.com/office/drawing/2014/main" id="{6404701F-CCC9-4CFF-AAA2-7E23B56EA7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9146" y="3532187"/>
              <a:ext cx="39687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3" name="Oval 72">
              <a:extLst>
                <a:ext uri="{FF2B5EF4-FFF2-40B4-BE49-F238E27FC236}">
                  <a16:creationId xmlns:a16="http://schemas.microsoft.com/office/drawing/2014/main" id="{738E3D06-9D8F-4944-BF3D-E9054AEF5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6757" y="3490912"/>
              <a:ext cx="39688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4" name="Oval 73">
              <a:extLst>
                <a:ext uri="{FF2B5EF4-FFF2-40B4-BE49-F238E27FC236}">
                  <a16:creationId xmlns:a16="http://schemas.microsoft.com/office/drawing/2014/main" id="{9841FB2F-7671-47D3-B258-63A44DFED2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5907" y="3124201"/>
              <a:ext cx="39688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5" name="Oval 74">
              <a:extLst>
                <a:ext uri="{FF2B5EF4-FFF2-40B4-BE49-F238E27FC236}">
                  <a16:creationId xmlns:a16="http://schemas.microsoft.com/office/drawing/2014/main" id="{562C6480-9FEB-4C10-8EAE-FCDBE7B846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5557" y="3048001"/>
              <a:ext cx="39688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6" name="Oval 75">
              <a:extLst>
                <a:ext uri="{FF2B5EF4-FFF2-40B4-BE49-F238E27FC236}">
                  <a16:creationId xmlns:a16="http://schemas.microsoft.com/office/drawing/2014/main" id="{679F689A-96DB-4BB9-AB9B-D0B44E14A9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9521" y="3027362"/>
              <a:ext cx="39687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7" name="Oval 76">
              <a:extLst>
                <a:ext uri="{FF2B5EF4-FFF2-40B4-BE49-F238E27FC236}">
                  <a16:creationId xmlns:a16="http://schemas.microsoft.com/office/drawing/2014/main" id="{A632935B-2930-4B7B-939C-001E004D18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9671" y="3027362"/>
              <a:ext cx="39687" cy="39688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8" name="Oval 77">
              <a:extLst>
                <a:ext uri="{FF2B5EF4-FFF2-40B4-BE49-F238E27FC236}">
                  <a16:creationId xmlns:a16="http://schemas.microsoft.com/office/drawing/2014/main" id="{0B4880BD-83E6-461D-B64B-5C79A7FD82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87782" y="4803776"/>
              <a:ext cx="39688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9" name="Oval 78">
              <a:extLst>
                <a:ext uri="{FF2B5EF4-FFF2-40B4-BE49-F238E27FC236}">
                  <a16:creationId xmlns:a16="http://schemas.microsoft.com/office/drawing/2014/main" id="{82F5D9D5-C96E-4C2A-84F2-15F8A9580E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8096" y="4803776"/>
              <a:ext cx="39687" cy="39687"/>
            </a:xfrm>
            <a:prstGeom prst="ellipse">
              <a:avLst/>
            </a:prstGeom>
            <a:solidFill>
              <a:srgbClr val="7030A0"/>
            </a:solidFill>
            <a:ln w="19050">
              <a:solidFill>
                <a:srgbClr val="7030A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0" name="Freeform 79">
              <a:extLst>
                <a:ext uri="{FF2B5EF4-FFF2-40B4-BE49-F238E27FC236}">
                  <a16:creationId xmlns:a16="http://schemas.microsoft.com/office/drawing/2014/main" id="{72257632-9E67-4E1D-9673-FD3141E13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5857" y="3048000"/>
              <a:ext cx="4243388" cy="1936750"/>
            </a:xfrm>
            <a:custGeom>
              <a:avLst/>
              <a:gdLst>
                <a:gd name="T0" fmla="*/ 2147483646 w 2673"/>
                <a:gd name="T1" fmla="*/ 2147483646 h 1220"/>
                <a:gd name="T2" fmla="*/ 2147483646 w 2673"/>
                <a:gd name="T3" fmla="*/ 2147483646 h 1220"/>
                <a:gd name="T4" fmla="*/ 2147483646 w 2673"/>
                <a:gd name="T5" fmla="*/ 2147483646 h 1220"/>
                <a:gd name="T6" fmla="*/ 2147483646 w 2673"/>
                <a:gd name="T7" fmla="*/ 2147483646 h 1220"/>
                <a:gd name="T8" fmla="*/ 2147483646 w 2673"/>
                <a:gd name="T9" fmla="*/ 2147483646 h 1220"/>
                <a:gd name="T10" fmla="*/ 2147483646 w 2673"/>
                <a:gd name="T11" fmla="*/ 2147483646 h 1220"/>
                <a:gd name="T12" fmla="*/ 2147483646 w 2673"/>
                <a:gd name="T13" fmla="*/ 2147483646 h 1220"/>
                <a:gd name="T14" fmla="*/ 2147483646 w 2673"/>
                <a:gd name="T15" fmla="*/ 2147483646 h 1220"/>
                <a:gd name="T16" fmla="*/ 2147483646 w 2673"/>
                <a:gd name="T17" fmla="*/ 2147483646 h 1220"/>
                <a:gd name="T18" fmla="*/ 2147483646 w 2673"/>
                <a:gd name="T19" fmla="*/ 2147483646 h 1220"/>
                <a:gd name="T20" fmla="*/ 2147483646 w 2673"/>
                <a:gd name="T21" fmla="*/ 2147483646 h 1220"/>
                <a:gd name="T22" fmla="*/ 2147483646 w 2673"/>
                <a:gd name="T23" fmla="*/ 2147483646 h 1220"/>
                <a:gd name="T24" fmla="*/ 2147483646 w 2673"/>
                <a:gd name="T25" fmla="*/ 2147483646 h 1220"/>
                <a:gd name="T26" fmla="*/ 2147483646 w 2673"/>
                <a:gd name="T27" fmla="*/ 2147483646 h 1220"/>
                <a:gd name="T28" fmla="*/ 2147483646 w 2673"/>
                <a:gd name="T29" fmla="*/ 2147483646 h 1220"/>
                <a:gd name="T30" fmla="*/ 2147483646 w 2673"/>
                <a:gd name="T31" fmla="*/ 2147483646 h 1220"/>
                <a:gd name="T32" fmla="*/ 2147483646 w 2673"/>
                <a:gd name="T33" fmla="*/ 2147483646 h 1220"/>
                <a:gd name="T34" fmla="*/ 2147483646 w 2673"/>
                <a:gd name="T35" fmla="*/ 2147483646 h 1220"/>
                <a:gd name="T36" fmla="*/ 2147483646 w 2673"/>
                <a:gd name="T37" fmla="*/ 2147483646 h 1220"/>
                <a:gd name="T38" fmla="*/ 2147483646 w 2673"/>
                <a:gd name="T39" fmla="*/ 2147483646 h 1220"/>
                <a:gd name="T40" fmla="*/ 2147483646 w 2673"/>
                <a:gd name="T41" fmla="*/ 2147483646 h 1220"/>
                <a:gd name="T42" fmla="*/ 2147483646 w 2673"/>
                <a:gd name="T43" fmla="*/ 2147483646 h 1220"/>
                <a:gd name="T44" fmla="*/ 2147483646 w 2673"/>
                <a:gd name="T45" fmla="*/ 2147483646 h 1220"/>
                <a:gd name="T46" fmla="*/ 2147483646 w 2673"/>
                <a:gd name="T47" fmla="*/ 2147483646 h 1220"/>
                <a:gd name="T48" fmla="*/ 2147483646 w 2673"/>
                <a:gd name="T49" fmla="*/ 2147483646 h 1220"/>
                <a:gd name="T50" fmla="*/ 2147483646 w 2673"/>
                <a:gd name="T51" fmla="*/ 2147483646 h 1220"/>
                <a:gd name="T52" fmla="*/ 2147483646 w 2673"/>
                <a:gd name="T53" fmla="*/ 2147483646 h 1220"/>
                <a:gd name="T54" fmla="*/ 2147483646 w 2673"/>
                <a:gd name="T55" fmla="*/ 2147483646 h 1220"/>
                <a:gd name="T56" fmla="*/ 2147483646 w 2673"/>
                <a:gd name="T57" fmla="*/ 2147483646 h 1220"/>
                <a:gd name="T58" fmla="*/ 2147483646 w 2673"/>
                <a:gd name="T59" fmla="*/ 2147483646 h 1220"/>
                <a:gd name="T60" fmla="*/ 2147483646 w 2673"/>
                <a:gd name="T61" fmla="*/ 2147483646 h 1220"/>
                <a:gd name="T62" fmla="*/ 2147483646 w 2673"/>
                <a:gd name="T63" fmla="*/ 2147483646 h 1220"/>
                <a:gd name="T64" fmla="*/ 2147483646 w 2673"/>
                <a:gd name="T65" fmla="*/ 2147483646 h 1220"/>
                <a:gd name="T66" fmla="*/ 2147483646 w 2673"/>
                <a:gd name="T67" fmla="*/ 2147483646 h 1220"/>
                <a:gd name="T68" fmla="*/ 2147483646 w 2673"/>
                <a:gd name="T69" fmla="*/ 2147483646 h 1220"/>
                <a:gd name="T70" fmla="*/ 2147483646 w 2673"/>
                <a:gd name="T71" fmla="*/ 2147483646 h 1220"/>
                <a:gd name="T72" fmla="*/ 2147483646 w 2673"/>
                <a:gd name="T73" fmla="*/ 2147483646 h 1220"/>
                <a:gd name="T74" fmla="*/ 2147483646 w 2673"/>
                <a:gd name="T75" fmla="*/ 2147483646 h 1220"/>
                <a:gd name="T76" fmla="*/ 2147483646 w 2673"/>
                <a:gd name="T77" fmla="*/ 2147483646 h 1220"/>
                <a:gd name="T78" fmla="*/ 2147483646 w 2673"/>
                <a:gd name="T79" fmla="*/ 2147483646 h 1220"/>
                <a:gd name="T80" fmla="*/ 2147483646 w 2673"/>
                <a:gd name="T81" fmla="*/ 2147483646 h 1220"/>
                <a:gd name="T82" fmla="*/ 2147483646 w 2673"/>
                <a:gd name="T83" fmla="*/ 2147483646 h 1220"/>
                <a:gd name="T84" fmla="*/ 2147483646 w 2673"/>
                <a:gd name="T85" fmla="*/ 2147483646 h 1220"/>
                <a:gd name="T86" fmla="*/ 2147483646 w 2673"/>
                <a:gd name="T87" fmla="*/ 2147483646 h 1220"/>
                <a:gd name="T88" fmla="*/ 2147483646 w 2673"/>
                <a:gd name="T89" fmla="*/ 2147483646 h 1220"/>
                <a:gd name="T90" fmla="*/ 2147483646 w 2673"/>
                <a:gd name="T91" fmla="*/ 2147483646 h 1220"/>
                <a:gd name="T92" fmla="*/ 2147483646 w 2673"/>
                <a:gd name="T93" fmla="*/ 2147483646 h 1220"/>
                <a:gd name="T94" fmla="*/ 2147483646 w 2673"/>
                <a:gd name="T95" fmla="*/ 2147483646 h 1220"/>
                <a:gd name="T96" fmla="*/ 2147483646 w 2673"/>
                <a:gd name="T97" fmla="*/ 2147483646 h 1220"/>
                <a:gd name="T98" fmla="*/ 2147483646 w 2673"/>
                <a:gd name="T99" fmla="*/ 2147483646 h 1220"/>
                <a:gd name="T100" fmla="*/ 2147483646 w 2673"/>
                <a:gd name="T101" fmla="*/ 2147483646 h 1220"/>
                <a:gd name="T102" fmla="*/ 2147483646 w 2673"/>
                <a:gd name="T103" fmla="*/ 2147483646 h 1220"/>
                <a:gd name="T104" fmla="*/ 2147483646 w 2673"/>
                <a:gd name="T105" fmla="*/ 2147483646 h 1220"/>
                <a:gd name="T106" fmla="*/ 2147483646 w 2673"/>
                <a:gd name="T107" fmla="*/ 2147483646 h 122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673" h="1220">
                  <a:moveTo>
                    <a:pt x="0" y="0"/>
                  </a:moveTo>
                  <a:lnTo>
                    <a:pt x="41" y="0"/>
                  </a:lnTo>
                  <a:lnTo>
                    <a:pt x="41" y="11"/>
                  </a:lnTo>
                  <a:lnTo>
                    <a:pt x="48" y="11"/>
                  </a:lnTo>
                  <a:lnTo>
                    <a:pt x="48" y="16"/>
                  </a:lnTo>
                  <a:lnTo>
                    <a:pt x="56" y="16"/>
                  </a:lnTo>
                  <a:lnTo>
                    <a:pt x="56" y="23"/>
                  </a:lnTo>
                  <a:lnTo>
                    <a:pt x="65" y="23"/>
                  </a:lnTo>
                  <a:lnTo>
                    <a:pt x="65" y="29"/>
                  </a:lnTo>
                  <a:lnTo>
                    <a:pt x="98" y="29"/>
                  </a:lnTo>
                  <a:lnTo>
                    <a:pt x="98" y="36"/>
                  </a:lnTo>
                  <a:lnTo>
                    <a:pt x="102" y="36"/>
                  </a:lnTo>
                  <a:lnTo>
                    <a:pt x="102" y="39"/>
                  </a:lnTo>
                  <a:lnTo>
                    <a:pt x="122" y="39"/>
                  </a:lnTo>
                  <a:lnTo>
                    <a:pt x="122" y="45"/>
                  </a:lnTo>
                  <a:lnTo>
                    <a:pt x="131" y="45"/>
                  </a:lnTo>
                  <a:lnTo>
                    <a:pt x="131" y="48"/>
                  </a:lnTo>
                  <a:lnTo>
                    <a:pt x="166" y="48"/>
                  </a:lnTo>
                  <a:lnTo>
                    <a:pt x="166" y="50"/>
                  </a:lnTo>
                  <a:lnTo>
                    <a:pt x="218" y="50"/>
                  </a:lnTo>
                  <a:lnTo>
                    <a:pt x="218" y="54"/>
                  </a:lnTo>
                  <a:lnTo>
                    <a:pt x="229" y="54"/>
                  </a:lnTo>
                  <a:lnTo>
                    <a:pt x="229" y="59"/>
                  </a:lnTo>
                  <a:lnTo>
                    <a:pt x="243" y="59"/>
                  </a:lnTo>
                  <a:lnTo>
                    <a:pt x="243" y="66"/>
                  </a:lnTo>
                  <a:lnTo>
                    <a:pt x="270" y="66"/>
                  </a:lnTo>
                  <a:lnTo>
                    <a:pt x="270" y="70"/>
                  </a:lnTo>
                  <a:lnTo>
                    <a:pt x="279" y="70"/>
                  </a:lnTo>
                  <a:lnTo>
                    <a:pt x="279" y="75"/>
                  </a:lnTo>
                  <a:lnTo>
                    <a:pt x="284" y="75"/>
                  </a:lnTo>
                  <a:lnTo>
                    <a:pt x="284" y="77"/>
                  </a:lnTo>
                  <a:lnTo>
                    <a:pt x="311" y="77"/>
                  </a:lnTo>
                  <a:lnTo>
                    <a:pt x="311" y="82"/>
                  </a:lnTo>
                  <a:lnTo>
                    <a:pt x="320" y="82"/>
                  </a:lnTo>
                  <a:lnTo>
                    <a:pt x="320" y="93"/>
                  </a:lnTo>
                  <a:lnTo>
                    <a:pt x="329" y="93"/>
                  </a:lnTo>
                  <a:lnTo>
                    <a:pt x="329" y="96"/>
                  </a:lnTo>
                  <a:lnTo>
                    <a:pt x="341" y="96"/>
                  </a:lnTo>
                  <a:lnTo>
                    <a:pt x="341" y="102"/>
                  </a:lnTo>
                  <a:lnTo>
                    <a:pt x="348" y="102"/>
                  </a:lnTo>
                  <a:lnTo>
                    <a:pt x="348" y="105"/>
                  </a:lnTo>
                  <a:lnTo>
                    <a:pt x="352" y="105"/>
                  </a:lnTo>
                  <a:lnTo>
                    <a:pt x="352" y="114"/>
                  </a:lnTo>
                  <a:lnTo>
                    <a:pt x="357" y="114"/>
                  </a:lnTo>
                  <a:lnTo>
                    <a:pt x="357" y="118"/>
                  </a:lnTo>
                  <a:lnTo>
                    <a:pt x="373" y="118"/>
                  </a:lnTo>
                  <a:lnTo>
                    <a:pt x="373" y="123"/>
                  </a:lnTo>
                  <a:lnTo>
                    <a:pt x="379" y="123"/>
                  </a:lnTo>
                  <a:lnTo>
                    <a:pt x="379" y="125"/>
                  </a:lnTo>
                  <a:lnTo>
                    <a:pt x="400" y="125"/>
                  </a:lnTo>
                  <a:lnTo>
                    <a:pt x="400" y="129"/>
                  </a:lnTo>
                  <a:lnTo>
                    <a:pt x="407" y="129"/>
                  </a:lnTo>
                  <a:lnTo>
                    <a:pt x="407" y="132"/>
                  </a:lnTo>
                  <a:lnTo>
                    <a:pt x="416" y="132"/>
                  </a:lnTo>
                  <a:lnTo>
                    <a:pt x="416" y="136"/>
                  </a:lnTo>
                  <a:lnTo>
                    <a:pt x="425" y="136"/>
                  </a:lnTo>
                  <a:lnTo>
                    <a:pt x="425" y="141"/>
                  </a:lnTo>
                  <a:lnTo>
                    <a:pt x="430" y="141"/>
                  </a:lnTo>
                  <a:lnTo>
                    <a:pt x="430" y="145"/>
                  </a:lnTo>
                  <a:lnTo>
                    <a:pt x="437" y="145"/>
                  </a:lnTo>
                  <a:lnTo>
                    <a:pt x="437" y="148"/>
                  </a:lnTo>
                  <a:lnTo>
                    <a:pt x="443" y="148"/>
                  </a:lnTo>
                  <a:lnTo>
                    <a:pt x="443" y="150"/>
                  </a:lnTo>
                  <a:lnTo>
                    <a:pt x="446" y="150"/>
                  </a:lnTo>
                  <a:lnTo>
                    <a:pt x="446" y="155"/>
                  </a:lnTo>
                  <a:lnTo>
                    <a:pt x="455" y="155"/>
                  </a:lnTo>
                  <a:lnTo>
                    <a:pt x="455" y="168"/>
                  </a:lnTo>
                  <a:lnTo>
                    <a:pt x="478" y="168"/>
                  </a:lnTo>
                  <a:lnTo>
                    <a:pt x="478" y="171"/>
                  </a:lnTo>
                  <a:lnTo>
                    <a:pt x="498" y="171"/>
                  </a:lnTo>
                  <a:lnTo>
                    <a:pt x="498" y="184"/>
                  </a:lnTo>
                  <a:lnTo>
                    <a:pt x="505" y="184"/>
                  </a:lnTo>
                  <a:lnTo>
                    <a:pt x="505" y="196"/>
                  </a:lnTo>
                  <a:lnTo>
                    <a:pt x="509" y="196"/>
                  </a:lnTo>
                  <a:lnTo>
                    <a:pt x="509" y="200"/>
                  </a:lnTo>
                  <a:lnTo>
                    <a:pt x="514" y="200"/>
                  </a:lnTo>
                  <a:lnTo>
                    <a:pt x="514" y="204"/>
                  </a:lnTo>
                  <a:lnTo>
                    <a:pt x="518" y="204"/>
                  </a:lnTo>
                  <a:lnTo>
                    <a:pt x="518" y="207"/>
                  </a:lnTo>
                  <a:lnTo>
                    <a:pt x="537" y="207"/>
                  </a:lnTo>
                  <a:lnTo>
                    <a:pt x="537" y="220"/>
                  </a:lnTo>
                  <a:lnTo>
                    <a:pt x="543" y="220"/>
                  </a:lnTo>
                  <a:lnTo>
                    <a:pt x="543" y="223"/>
                  </a:lnTo>
                  <a:lnTo>
                    <a:pt x="550" y="223"/>
                  </a:lnTo>
                  <a:lnTo>
                    <a:pt x="550" y="227"/>
                  </a:lnTo>
                  <a:lnTo>
                    <a:pt x="569" y="227"/>
                  </a:lnTo>
                  <a:lnTo>
                    <a:pt x="569" y="232"/>
                  </a:lnTo>
                  <a:lnTo>
                    <a:pt x="577" y="232"/>
                  </a:lnTo>
                  <a:lnTo>
                    <a:pt x="577" y="236"/>
                  </a:lnTo>
                  <a:lnTo>
                    <a:pt x="584" y="236"/>
                  </a:lnTo>
                  <a:lnTo>
                    <a:pt x="584" y="241"/>
                  </a:lnTo>
                  <a:lnTo>
                    <a:pt x="593" y="241"/>
                  </a:lnTo>
                  <a:lnTo>
                    <a:pt x="593" y="246"/>
                  </a:lnTo>
                  <a:lnTo>
                    <a:pt x="614" y="246"/>
                  </a:lnTo>
                  <a:lnTo>
                    <a:pt x="614" y="250"/>
                  </a:lnTo>
                  <a:lnTo>
                    <a:pt x="623" y="250"/>
                  </a:lnTo>
                  <a:lnTo>
                    <a:pt x="623" y="255"/>
                  </a:lnTo>
                  <a:lnTo>
                    <a:pt x="628" y="255"/>
                  </a:lnTo>
                  <a:lnTo>
                    <a:pt x="628" y="259"/>
                  </a:lnTo>
                  <a:lnTo>
                    <a:pt x="634" y="259"/>
                  </a:lnTo>
                  <a:lnTo>
                    <a:pt x="634" y="264"/>
                  </a:lnTo>
                  <a:lnTo>
                    <a:pt x="650" y="264"/>
                  </a:lnTo>
                  <a:lnTo>
                    <a:pt x="650" y="270"/>
                  </a:lnTo>
                  <a:lnTo>
                    <a:pt x="657" y="270"/>
                  </a:lnTo>
                  <a:lnTo>
                    <a:pt x="657" y="271"/>
                  </a:lnTo>
                  <a:lnTo>
                    <a:pt x="675" y="271"/>
                  </a:lnTo>
                  <a:lnTo>
                    <a:pt x="675" y="277"/>
                  </a:lnTo>
                  <a:lnTo>
                    <a:pt x="680" y="277"/>
                  </a:lnTo>
                  <a:lnTo>
                    <a:pt x="680" y="284"/>
                  </a:lnTo>
                  <a:lnTo>
                    <a:pt x="689" y="284"/>
                  </a:lnTo>
                  <a:lnTo>
                    <a:pt x="689" y="291"/>
                  </a:lnTo>
                  <a:lnTo>
                    <a:pt x="694" y="291"/>
                  </a:lnTo>
                  <a:lnTo>
                    <a:pt x="694" y="298"/>
                  </a:lnTo>
                  <a:lnTo>
                    <a:pt x="700" y="298"/>
                  </a:lnTo>
                  <a:lnTo>
                    <a:pt x="700" y="300"/>
                  </a:lnTo>
                  <a:lnTo>
                    <a:pt x="714" y="300"/>
                  </a:lnTo>
                  <a:lnTo>
                    <a:pt x="714" y="305"/>
                  </a:lnTo>
                  <a:lnTo>
                    <a:pt x="721" y="305"/>
                  </a:lnTo>
                  <a:lnTo>
                    <a:pt x="721" y="313"/>
                  </a:lnTo>
                  <a:lnTo>
                    <a:pt x="726" y="313"/>
                  </a:lnTo>
                  <a:lnTo>
                    <a:pt x="726" y="321"/>
                  </a:lnTo>
                  <a:lnTo>
                    <a:pt x="744" y="321"/>
                  </a:lnTo>
                  <a:lnTo>
                    <a:pt x="744" y="327"/>
                  </a:lnTo>
                  <a:lnTo>
                    <a:pt x="750" y="327"/>
                  </a:lnTo>
                  <a:lnTo>
                    <a:pt x="750" y="332"/>
                  </a:lnTo>
                  <a:lnTo>
                    <a:pt x="755" y="332"/>
                  </a:lnTo>
                  <a:lnTo>
                    <a:pt x="755" y="338"/>
                  </a:lnTo>
                  <a:lnTo>
                    <a:pt x="766" y="338"/>
                  </a:lnTo>
                  <a:lnTo>
                    <a:pt x="766" y="343"/>
                  </a:lnTo>
                  <a:lnTo>
                    <a:pt x="780" y="343"/>
                  </a:lnTo>
                  <a:lnTo>
                    <a:pt x="780" y="348"/>
                  </a:lnTo>
                  <a:lnTo>
                    <a:pt x="792" y="348"/>
                  </a:lnTo>
                  <a:lnTo>
                    <a:pt x="792" y="352"/>
                  </a:lnTo>
                  <a:lnTo>
                    <a:pt x="798" y="352"/>
                  </a:lnTo>
                  <a:lnTo>
                    <a:pt x="798" y="355"/>
                  </a:lnTo>
                  <a:lnTo>
                    <a:pt x="823" y="355"/>
                  </a:lnTo>
                  <a:lnTo>
                    <a:pt x="823" y="366"/>
                  </a:lnTo>
                  <a:lnTo>
                    <a:pt x="828" y="366"/>
                  </a:lnTo>
                  <a:lnTo>
                    <a:pt x="828" y="379"/>
                  </a:lnTo>
                  <a:lnTo>
                    <a:pt x="835" y="379"/>
                  </a:lnTo>
                  <a:lnTo>
                    <a:pt x="835" y="386"/>
                  </a:lnTo>
                  <a:lnTo>
                    <a:pt x="841" y="386"/>
                  </a:lnTo>
                  <a:lnTo>
                    <a:pt x="841" y="391"/>
                  </a:lnTo>
                  <a:lnTo>
                    <a:pt x="848" y="391"/>
                  </a:lnTo>
                  <a:lnTo>
                    <a:pt x="848" y="395"/>
                  </a:lnTo>
                  <a:lnTo>
                    <a:pt x="858" y="395"/>
                  </a:lnTo>
                  <a:lnTo>
                    <a:pt x="858" y="398"/>
                  </a:lnTo>
                  <a:lnTo>
                    <a:pt x="867" y="398"/>
                  </a:lnTo>
                  <a:lnTo>
                    <a:pt x="867" y="402"/>
                  </a:lnTo>
                  <a:lnTo>
                    <a:pt x="883" y="402"/>
                  </a:lnTo>
                  <a:lnTo>
                    <a:pt x="883" y="405"/>
                  </a:lnTo>
                  <a:lnTo>
                    <a:pt x="894" y="405"/>
                  </a:lnTo>
                  <a:lnTo>
                    <a:pt x="894" y="409"/>
                  </a:lnTo>
                  <a:lnTo>
                    <a:pt x="899" y="409"/>
                  </a:lnTo>
                  <a:lnTo>
                    <a:pt x="899" y="413"/>
                  </a:lnTo>
                  <a:lnTo>
                    <a:pt x="905" y="413"/>
                  </a:lnTo>
                  <a:lnTo>
                    <a:pt x="905" y="422"/>
                  </a:lnTo>
                  <a:lnTo>
                    <a:pt x="908" y="422"/>
                  </a:lnTo>
                  <a:lnTo>
                    <a:pt x="908" y="425"/>
                  </a:lnTo>
                  <a:lnTo>
                    <a:pt x="924" y="425"/>
                  </a:lnTo>
                  <a:lnTo>
                    <a:pt x="924" y="430"/>
                  </a:lnTo>
                  <a:lnTo>
                    <a:pt x="928" y="430"/>
                  </a:lnTo>
                  <a:lnTo>
                    <a:pt x="928" y="432"/>
                  </a:lnTo>
                  <a:lnTo>
                    <a:pt x="933" y="432"/>
                  </a:lnTo>
                  <a:lnTo>
                    <a:pt x="933" y="439"/>
                  </a:lnTo>
                  <a:lnTo>
                    <a:pt x="941" y="439"/>
                  </a:lnTo>
                  <a:lnTo>
                    <a:pt x="941" y="445"/>
                  </a:lnTo>
                  <a:lnTo>
                    <a:pt x="967" y="445"/>
                  </a:lnTo>
                  <a:lnTo>
                    <a:pt x="967" y="448"/>
                  </a:lnTo>
                  <a:lnTo>
                    <a:pt x="985" y="448"/>
                  </a:lnTo>
                  <a:lnTo>
                    <a:pt x="985" y="459"/>
                  </a:lnTo>
                  <a:lnTo>
                    <a:pt x="990" y="459"/>
                  </a:lnTo>
                  <a:lnTo>
                    <a:pt x="990" y="468"/>
                  </a:lnTo>
                  <a:lnTo>
                    <a:pt x="999" y="468"/>
                  </a:lnTo>
                  <a:lnTo>
                    <a:pt x="999" y="480"/>
                  </a:lnTo>
                  <a:lnTo>
                    <a:pt x="1019" y="480"/>
                  </a:lnTo>
                  <a:lnTo>
                    <a:pt x="1019" y="493"/>
                  </a:lnTo>
                  <a:lnTo>
                    <a:pt x="1035" y="493"/>
                  </a:lnTo>
                  <a:lnTo>
                    <a:pt x="1035" y="500"/>
                  </a:lnTo>
                  <a:lnTo>
                    <a:pt x="1040" y="500"/>
                  </a:lnTo>
                  <a:lnTo>
                    <a:pt x="1040" y="507"/>
                  </a:lnTo>
                  <a:lnTo>
                    <a:pt x="1046" y="507"/>
                  </a:lnTo>
                  <a:lnTo>
                    <a:pt x="1046" y="516"/>
                  </a:lnTo>
                  <a:lnTo>
                    <a:pt x="1053" y="516"/>
                  </a:lnTo>
                  <a:lnTo>
                    <a:pt x="1053" y="522"/>
                  </a:lnTo>
                  <a:lnTo>
                    <a:pt x="1064" y="522"/>
                  </a:lnTo>
                  <a:lnTo>
                    <a:pt x="1064" y="529"/>
                  </a:lnTo>
                  <a:lnTo>
                    <a:pt x="1076" y="529"/>
                  </a:lnTo>
                  <a:lnTo>
                    <a:pt x="1076" y="532"/>
                  </a:lnTo>
                  <a:lnTo>
                    <a:pt x="1083" y="532"/>
                  </a:lnTo>
                  <a:lnTo>
                    <a:pt x="1083" y="538"/>
                  </a:lnTo>
                  <a:lnTo>
                    <a:pt x="1099" y="538"/>
                  </a:lnTo>
                  <a:lnTo>
                    <a:pt x="1099" y="547"/>
                  </a:lnTo>
                  <a:lnTo>
                    <a:pt x="1112" y="547"/>
                  </a:lnTo>
                  <a:lnTo>
                    <a:pt x="1112" y="557"/>
                  </a:lnTo>
                  <a:lnTo>
                    <a:pt x="1128" y="557"/>
                  </a:lnTo>
                  <a:lnTo>
                    <a:pt x="1128" y="564"/>
                  </a:lnTo>
                  <a:lnTo>
                    <a:pt x="1135" y="564"/>
                  </a:lnTo>
                  <a:lnTo>
                    <a:pt x="1135" y="570"/>
                  </a:lnTo>
                  <a:lnTo>
                    <a:pt x="1149" y="570"/>
                  </a:lnTo>
                  <a:lnTo>
                    <a:pt x="1149" y="579"/>
                  </a:lnTo>
                  <a:lnTo>
                    <a:pt x="1155" y="579"/>
                  </a:lnTo>
                  <a:lnTo>
                    <a:pt x="1155" y="584"/>
                  </a:lnTo>
                  <a:lnTo>
                    <a:pt x="1169" y="584"/>
                  </a:lnTo>
                  <a:lnTo>
                    <a:pt x="1169" y="593"/>
                  </a:lnTo>
                  <a:lnTo>
                    <a:pt x="1178" y="593"/>
                  </a:lnTo>
                  <a:lnTo>
                    <a:pt x="1178" y="595"/>
                  </a:lnTo>
                  <a:lnTo>
                    <a:pt x="1189" y="595"/>
                  </a:lnTo>
                  <a:lnTo>
                    <a:pt x="1189" y="609"/>
                  </a:lnTo>
                  <a:lnTo>
                    <a:pt x="1219" y="609"/>
                  </a:lnTo>
                  <a:lnTo>
                    <a:pt x="1219" y="622"/>
                  </a:lnTo>
                  <a:lnTo>
                    <a:pt x="1235" y="622"/>
                  </a:lnTo>
                  <a:lnTo>
                    <a:pt x="1235" y="629"/>
                  </a:lnTo>
                  <a:lnTo>
                    <a:pt x="1246" y="629"/>
                  </a:lnTo>
                  <a:lnTo>
                    <a:pt x="1246" y="643"/>
                  </a:lnTo>
                  <a:lnTo>
                    <a:pt x="1251" y="643"/>
                  </a:lnTo>
                  <a:lnTo>
                    <a:pt x="1251" y="648"/>
                  </a:lnTo>
                  <a:lnTo>
                    <a:pt x="1253" y="648"/>
                  </a:lnTo>
                  <a:lnTo>
                    <a:pt x="1253" y="652"/>
                  </a:lnTo>
                  <a:lnTo>
                    <a:pt x="1263" y="652"/>
                  </a:lnTo>
                  <a:lnTo>
                    <a:pt x="1263" y="663"/>
                  </a:lnTo>
                  <a:lnTo>
                    <a:pt x="1265" y="663"/>
                  </a:lnTo>
                  <a:lnTo>
                    <a:pt x="1265" y="670"/>
                  </a:lnTo>
                  <a:lnTo>
                    <a:pt x="1271" y="670"/>
                  </a:lnTo>
                  <a:lnTo>
                    <a:pt x="1271" y="690"/>
                  </a:lnTo>
                  <a:lnTo>
                    <a:pt x="1278" y="690"/>
                  </a:lnTo>
                  <a:lnTo>
                    <a:pt x="1278" y="697"/>
                  </a:lnTo>
                  <a:lnTo>
                    <a:pt x="1290" y="697"/>
                  </a:lnTo>
                  <a:lnTo>
                    <a:pt x="1290" y="704"/>
                  </a:lnTo>
                  <a:lnTo>
                    <a:pt x="1297" y="704"/>
                  </a:lnTo>
                  <a:lnTo>
                    <a:pt x="1297" y="713"/>
                  </a:lnTo>
                  <a:lnTo>
                    <a:pt x="1306" y="713"/>
                  </a:lnTo>
                  <a:lnTo>
                    <a:pt x="1306" y="716"/>
                  </a:lnTo>
                  <a:lnTo>
                    <a:pt x="1328" y="716"/>
                  </a:lnTo>
                  <a:lnTo>
                    <a:pt x="1328" y="727"/>
                  </a:lnTo>
                  <a:lnTo>
                    <a:pt x="1335" y="727"/>
                  </a:lnTo>
                  <a:lnTo>
                    <a:pt x="1335" y="729"/>
                  </a:lnTo>
                  <a:lnTo>
                    <a:pt x="1347" y="729"/>
                  </a:lnTo>
                  <a:lnTo>
                    <a:pt x="1347" y="738"/>
                  </a:lnTo>
                  <a:lnTo>
                    <a:pt x="1362" y="738"/>
                  </a:lnTo>
                  <a:lnTo>
                    <a:pt x="1362" y="752"/>
                  </a:lnTo>
                  <a:lnTo>
                    <a:pt x="1365" y="752"/>
                  </a:lnTo>
                  <a:lnTo>
                    <a:pt x="1365" y="756"/>
                  </a:lnTo>
                  <a:lnTo>
                    <a:pt x="1367" y="756"/>
                  </a:lnTo>
                  <a:lnTo>
                    <a:pt x="1367" y="757"/>
                  </a:lnTo>
                  <a:lnTo>
                    <a:pt x="1378" y="757"/>
                  </a:lnTo>
                  <a:lnTo>
                    <a:pt x="1378" y="768"/>
                  </a:lnTo>
                  <a:lnTo>
                    <a:pt x="1385" y="768"/>
                  </a:lnTo>
                  <a:lnTo>
                    <a:pt x="1385" y="773"/>
                  </a:lnTo>
                  <a:lnTo>
                    <a:pt x="1390" y="773"/>
                  </a:lnTo>
                  <a:lnTo>
                    <a:pt x="1390" y="777"/>
                  </a:lnTo>
                  <a:lnTo>
                    <a:pt x="1395" y="777"/>
                  </a:lnTo>
                  <a:lnTo>
                    <a:pt x="1395" y="786"/>
                  </a:lnTo>
                  <a:lnTo>
                    <a:pt x="1401" y="786"/>
                  </a:lnTo>
                  <a:lnTo>
                    <a:pt x="1401" y="788"/>
                  </a:lnTo>
                  <a:lnTo>
                    <a:pt x="1408" y="788"/>
                  </a:lnTo>
                  <a:lnTo>
                    <a:pt x="1408" y="795"/>
                  </a:lnTo>
                  <a:lnTo>
                    <a:pt x="1429" y="795"/>
                  </a:lnTo>
                  <a:lnTo>
                    <a:pt x="1429" y="800"/>
                  </a:lnTo>
                  <a:lnTo>
                    <a:pt x="1451" y="800"/>
                  </a:lnTo>
                  <a:lnTo>
                    <a:pt x="1451" y="807"/>
                  </a:lnTo>
                  <a:lnTo>
                    <a:pt x="1458" y="807"/>
                  </a:lnTo>
                  <a:lnTo>
                    <a:pt x="1458" y="820"/>
                  </a:lnTo>
                  <a:lnTo>
                    <a:pt x="1476" y="820"/>
                  </a:lnTo>
                  <a:lnTo>
                    <a:pt x="1476" y="823"/>
                  </a:lnTo>
                  <a:lnTo>
                    <a:pt x="1481" y="823"/>
                  </a:lnTo>
                  <a:lnTo>
                    <a:pt x="1481" y="840"/>
                  </a:lnTo>
                  <a:lnTo>
                    <a:pt x="1497" y="840"/>
                  </a:lnTo>
                  <a:lnTo>
                    <a:pt x="1497" y="845"/>
                  </a:lnTo>
                  <a:lnTo>
                    <a:pt x="1511" y="845"/>
                  </a:lnTo>
                  <a:lnTo>
                    <a:pt x="1511" y="857"/>
                  </a:lnTo>
                  <a:lnTo>
                    <a:pt x="1535" y="857"/>
                  </a:lnTo>
                  <a:lnTo>
                    <a:pt x="1535" y="865"/>
                  </a:lnTo>
                  <a:lnTo>
                    <a:pt x="1544" y="865"/>
                  </a:lnTo>
                  <a:lnTo>
                    <a:pt x="1544" y="874"/>
                  </a:lnTo>
                  <a:lnTo>
                    <a:pt x="1561" y="874"/>
                  </a:lnTo>
                  <a:lnTo>
                    <a:pt x="1561" y="882"/>
                  </a:lnTo>
                  <a:lnTo>
                    <a:pt x="1601" y="882"/>
                  </a:lnTo>
                  <a:lnTo>
                    <a:pt x="1601" y="893"/>
                  </a:lnTo>
                  <a:lnTo>
                    <a:pt x="1606" y="893"/>
                  </a:lnTo>
                  <a:lnTo>
                    <a:pt x="1606" y="902"/>
                  </a:lnTo>
                  <a:lnTo>
                    <a:pt x="1626" y="902"/>
                  </a:lnTo>
                  <a:lnTo>
                    <a:pt x="1626" y="907"/>
                  </a:lnTo>
                  <a:lnTo>
                    <a:pt x="1635" y="907"/>
                  </a:lnTo>
                  <a:lnTo>
                    <a:pt x="1635" y="913"/>
                  </a:lnTo>
                  <a:lnTo>
                    <a:pt x="1647" y="913"/>
                  </a:lnTo>
                  <a:lnTo>
                    <a:pt x="1647" y="922"/>
                  </a:lnTo>
                  <a:lnTo>
                    <a:pt x="1651" y="922"/>
                  </a:lnTo>
                  <a:lnTo>
                    <a:pt x="1651" y="927"/>
                  </a:lnTo>
                  <a:lnTo>
                    <a:pt x="1684" y="927"/>
                  </a:lnTo>
                  <a:lnTo>
                    <a:pt x="1684" y="936"/>
                  </a:lnTo>
                  <a:lnTo>
                    <a:pt x="1693" y="936"/>
                  </a:lnTo>
                  <a:lnTo>
                    <a:pt x="1693" y="941"/>
                  </a:lnTo>
                  <a:lnTo>
                    <a:pt x="1715" y="941"/>
                  </a:lnTo>
                  <a:lnTo>
                    <a:pt x="1715" y="947"/>
                  </a:lnTo>
                  <a:lnTo>
                    <a:pt x="1756" y="947"/>
                  </a:lnTo>
                  <a:lnTo>
                    <a:pt x="1756" y="956"/>
                  </a:lnTo>
                  <a:lnTo>
                    <a:pt x="1792" y="956"/>
                  </a:lnTo>
                  <a:lnTo>
                    <a:pt x="1792" y="961"/>
                  </a:lnTo>
                  <a:lnTo>
                    <a:pt x="1822" y="961"/>
                  </a:lnTo>
                  <a:lnTo>
                    <a:pt x="1822" y="972"/>
                  </a:lnTo>
                  <a:lnTo>
                    <a:pt x="1829" y="972"/>
                  </a:lnTo>
                  <a:lnTo>
                    <a:pt x="1829" y="977"/>
                  </a:lnTo>
                  <a:lnTo>
                    <a:pt x="1834" y="977"/>
                  </a:lnTo>
                  <a:lnTo>
                    <a:pt x="1834" y="988"/>
                  </a:lnTo>
                  <a:lnTo>
                    <a:pt x="1858" y="988"/>
                  </a:lnTo>
                  <a:lnTo>
                    <a:pt x="1858" y="993"/>
                  </a:lnTo>
                  <a:lnTo>
                    <a:pt x="1961" y="993"/>
                  </a:lnTo>
                  <a:lnTo>
                    <a:pt x="1961" y="1000"/>
                  </a:lnTo>
                  <a:lnTo>
                    <a:pt x="2007" y="1000"/>
                  </a:lnTo>
                  <a:lnTo>
                    <a:pt x="2007" y="1011"/>
                  </a:lnTo>
                  <a:lnTo>
                    <a:pt x="2032" y="1011"/>
                  </a:lnTo>
                  <a:lnTo>
                    <a:pt x="2032" y="1020"/>
                  </a:lnTo>
                  <a:lnTo>
                    <a:pt x="2041" y="1020"/>
                  </a:lnTo>
                  <a:lnTo>
                    <a:pt x="2041" y="1031"/>
                  </a:lnTo>
                  <a:lnTo>
                    <a:pt x="2088" y="1031"/>
                  </a:lnTo>
                  <a:lnTo>
                    <a:pt x="2088" y="1043"/>
                  </a:lnTo>
                  <a:lnTo>
                    <a:pt x="2225" y="1043"/>
                  </a:lnTo>
                  <a:lnTo>
                    <a:pt x="2225" y="1065"/>
                  </a:lnTo>
                  <a:lnTo>
                    <a:pt x="2229" y="1065"/>
                  </a:lnTo>
                  <a:lnTo>
                    <a:pt x="2229" y="1084"/>
                  </a:lnTo>
                  <a:lnTo>
                    <a:pt x="2543" y="1084"/>
                  </a:lnTo>
                  <a:lnTo>
                    <a:pt x="2543" y="1129"/>
                  </a:lnTo>
                  <a:lnTo>
                    <a:pt x="2560" y="1129"/>
                  </a:lnTo>
                  <a:lnTo>
                    <a:pt x="2560" y="1172"/>
                  </a:lnTo>
                  <a:lnTo>
                    <a:pt x="2644" y="1172"/>
                  </a:lnTo>
                  <a:lnTo>
                    <a:pt x="2644" y="1220"/>
                  </a:lnTo>
                  <a:lnTo>
                    <a:pt x="2673" y="1220"/>
                  </a:lnTo>
                </a:path>
              </a:pathLst>
            </a:custGeom>
            <a:noFill/>
            <a:ln w="19050" cap="flat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1" name="Oval 80">
              <a:extLst>
                <a:ext uri="{FF2B5EF4-FFF2-40B4-BE49-F238E27FC236}">
                  <a16:creationId xmlns:a16="http://schemas.microsoft.com/office/drawing/2014/main" id="{563340B1-B3AB-402F-9B54-4CF14DDD8B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97496" y="4965701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2" name="Oval 81">
              <a:extLst>
                <a:ext uri="{FF2B5EF4-FFF2-40B4-BE49-F238E27FC236}">
                  <a16:creationId xmlns:a16="http://schemas.microsoft.com/office/drawing/2014/main" id="{494EBF04-26F1-46C3-8829-D99CDB03BC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5582" y="4891087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3" name="Oval 82">
              <a:extLst>
                <a:ext uri="{FF2B5EF4-FFF2-40B4-BE49-F238E27FC236}">
                  <a16:creationId xmlns:a16="http://schemas.microsoft.com/office/drawing/2014/main" id="{5F254910-1418-42B0-B401-D6F87A06AF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3657" y="4754562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4" name="Oval 83">
              <a:extLst>
                <a:ext uri="{FF2B5EF4-FFF2-40B4-BE49-F238E27FC236}">
                  <a16:creationId xmlns:a16="http://schemas.microsoft.com/office/drawing/2014/main" id="{EB7B32DF-B427-4C4F-9EC8-9D2A6B8E3C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8257" y="4754562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5" name="Oval 84">
              <a:extLst>
                <a:ext uri="{FF2B5EF4-FFF2-40B4-BE49-F238E27FC236}">
                  <a16:creationId xmlns:a16="http://schemas.microsoft.com/office/drawing/2014/main" id="{FDEB9B83-2A3C-4512-8597-A2A60DC6CA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89521" y="4754562"/>
              <a:ext cx="39687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6" name="Oval 85">
              <a:extLst>
                <a:ext uri="{FF2B5EF4-FFF2-40B4-BE49-F238E27FC236}">
                  <a16:creationId xmlns:a16="http://schemas.microsoft.com/office/drawing/2014/main" id="{2CAA8209-F49F-4A55-B330-0C446F9ADE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8408" y="4754562"/>
              <a:ext cx="36513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7" name="Oval 86">
              <a:extLst>
                <a:ext uri="{FF2B5EF4-FFF2-40B4-BE49-F238E27FC236}">
                  <a16:creationId xmlns:a16="http://schemas.microsoft.com/office/drawing/2014/main" id="{155EBC1B-6EE0-4D38-886C-1FC5E446AE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89507" y="4754562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8" name="Oval 87">
              <a:extLst>
                <a:ext uri="{FF2B5EF4-FFF2-40B4-BE49-F238E27FC236}">
                  <a16:creationId xmlns:a16="http://schemas.microsoft.com/office/drawing/2014/main" id="{7AE0BDAC-3D31-47FA-B2F1-C46BABA53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421" y="4754562"/>
              <a:ext cx="39687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9" name="Oval 88">
              <a:extLst>
                <a:ext uri="{FF2B5EF4-FFF2-40B4-BE49-F238E27FC236}">
                  <a16:creationId xmlns:a16="http://schemas.microsoft.com/office/drawing/2014/main" id="{66DD4B8D-4F89-4D74-BE67-CCAA20572C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4257" y="4754562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0" name="Oval 89">
              <a:extLst>
                <a:ext uri="{FF2B5EF4-FFF2-40B4-BE49-F238E27FC236}">
                  <a16:creationId xmlns:a16="http://schemas.microsoft.com/office/drawing/2014/main" id="{9A5129DD-AEAC-44C5-9415-687A56AA1C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8370" y="4754562"/>
              <a:ext cx="38100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1" name="Oval 90">
              <a:extLst>
                <a:ext uri="{FF2B5EF4-FFF2-40B4-BE49-F238E27FC236}">
                  <a16:creationId xmlns:a16="http://schemas.microsoft.com/office/drawing/2014/main" id="{8ACEB7A2-3DAF-468F-8A53-09E38DA774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6296" y="4689476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2" name="Oval 91">
              <a:extLst>
                <a:ext uri="{FF2B5EF4-FFF2-40B4-BE49-F238E27FC236}">
                  <a16:creationId xmlns:a16="http://schemas.microsoft.com/office/drawing/2014/main" id="{9F7BC4A0-D424-4D81-BFBE-8C26B49FED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7246" y="4689476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3" name="Oval 92">
              <a:extLst>
                <a:ext uri="{FF2B5EF4-FFF2-40B4-BE49-F238E27FC236}">
                  <a16:creationId xmlns:a16="http://schemas.microsoft.com/office/drawing/2014/main" id="{6BABE04C-882C-4FDA-9337-C2DA1468AC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49782" y="4689476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4" name="Oval 93">
              <a:extLst>
                <a:ext uri="{FF2B5EF4-FFF2-40B4-BE49-F238E27FC236}">
                  <a16:creationId xmlns:a16="http://schemas.microsoft.com/office/drawing/2014/main" id="{AC8E7299-9380-4896-AEFC-CE10C4D1F9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27557" y="4689476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5" name="Oval 94">
              <a:extLst>
                <a:ext uri="{FF2B5EF4-FFF2-40B4-BE49-F238E27FC236}">
                  <a16:creationId xmlns:a16="http://schemas.microsoft.com/office/drawing/2014/main" id="{3BFE5718-B29E-4B24-AD32-80438F06B8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6121" y="4689476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6" name="Oval 95">
              <a:extLst>
                <a:ext uri="{FF2B5EF4-FFF2-40B4-BE49-F238E27FC236}">
                  <a16:creationId xmlns:a16="http://schemas.microsoft.com/office/drawing/2014/main" id="{D2A613E2-B697-4572-B6BE-411CA54B13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7071" y="4689476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7" name="Oval 96">
              <a:extLst>
                <a:ext uri="{FF2B5EF4-FFF2-40B4-BE49-F238E27FC236}">
                  <a16:creationId xmlns:a16="http://schemas.microsoft.com/office/drawing/2014/main" id="{824EB7F5-A2E1-4050-93CE-CC3F30A2A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2782" y="4689476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8" name="Oval 97">
              <a:extLst>
                <a:ext uri="{FF2B5EF4-FFF2-40B4-BE49-F238E27FC236}">
                  <a16:creationId xmlns:a16="http://schemas.microsoft.com/office/drawing/2014/main" id="{1B750D08-ED7A-400D-84D6-96087D43FF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2146" y="4689476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9" name="Oval 98">
              <a:extLst>
                <a:ext uri="{FF2B5EF4-FFF2-40B4-BE49-F238E27FC236}">
                  <a16:creationId xmlns:a16="http://schemas.microsoft.com/office/drawing/2014/main" id="{50287C92-3283-4C2B-BC87-28289A5D4C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68807" y="4670426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0" name="Oval 99">
              <a:extLst>
                <a:ext uri="{FF2B5EF4-FFF2-40B4-BE49-F238E27FC236}">
                  <a16:creationId xmlns:a16="http://schemas.microsoft.com/office/drawing/2014/main" id="{BBBFF7F0-B5D9-4CC5-B9AD-C900178DC1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6582" y="4670426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1" name="Oval 100">
              <a:extLst>
                <a:ext uri="{FF2B5EF4-FFF2-40B4-BE49-F238E27FC236}">
                  <a16:creationId xmlns:a16="http://schemas.microsoft.com/office/drawing/2014/main" id="{81B13308-9E0E-4291-99CC-4A330B8274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4357" y="4670426"/>
              <a:ext cx="38100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2" name="Oval 101">
              <a:extLst>
                <a:ext uri="{FF2B5EF4-FFF2-40B4-BE49-F238E27FC236}">
                  <a16:creationId xmlns:a16="http://schemas.microsoft.com/office/drawing/2014/main" id="{D3EE0A09-783F-4BB6-B06D-988EB913E6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06896" y="4670426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3" name="Oval 102">
              <a:extLst>
                <a:ext uri="{FF2B5EF4-FFF2-40B4-BE49-F238E27FC236}">
                  <a16:creationId xmlns:a16="http://schemas.microsoft.com/office/drawing/2014/main" id="{B4ED268C-E9DE-426A-BE1B-562B9725A3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5782" y="4635501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4" name="Oval 103">
              <a:extLst>
                <a:ext uri="{FF2B5EF4-FFF2-40B4-BE49-F238E27FC236}">
                  <a16:creationId xmlns:a16="http://schemas.microsoft.com/office/drawing/2014/main" id="{AD5A928B-E38A-4194-B1C0-E0E08F99C3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1971" y="4635501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5" name="Oval 104">
              <a:extLst>
                <a:ext uri="{FF2B5EF4-FFF2-40B4-BE49-F238E27FC236}">
                  <a16:creationId xmlns:a16="http://schemas.microsoft.com/office/drawing/2014/main" id="{A96106B3-82E6-4BF2-A4C1-565D1F2D75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56096" y="4621212"/>
              <a:ext cx="39687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6" name="Oval 105">
              <a:extLst>
                <a:ext uri="{FF2B5EF4-FFF2-40B4-BE49-F238E27FC236}">
                  <a16:creationId xmlns:a16="http://schemas.microsoft.com/office/drawing/2014/main" id="{00E19A03-721B-49FD-A47B-1972C0B5DC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8632" y="4621212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7" name="Oval 106">
              <a:extLst>
                <a:ext uri="{FF2B5EF4-FFF2-40B4-BE49-F238E27FC236}">
                  <a16:creationId xmlns:a16="http://schemas.microsoft.com/office/drawing/2014/main" id="{ADDD335E-291F-4BDA-B78F-5A5B5B299D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1171" y="4621212"/>
              <a:ext cx="39687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8" name="Oval 107">
              <a:extLst>
                <a:ext uri="{FF2B5EF4-FFF2-40B4-BE49-F238E27FC236}">
                  <a16:creationId xmlns:a16="http://schemas.microsoft.com/office/drawing/2014/main" id="{7B999B59-9272-4434-8EC3-A6F8CA21FD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6407" y="4621212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9" name="Oval 108">
              <a:extLst>
                <a:ext uri="{FF2B5EF4-FFF2-40B4-BE49-F238E27FC236}">
                  <a16:creationId xmlns:a16="http://schemas.microsoft.com/office/drawing/2014/main" id="{F58B5FBB-A438-44B2-B35A-B5BCD8B611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5295" y="4621212"/>
              <a:ext cx="36512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0" name="Oval 109">
              <a:extLst>
                <a:ext uri="{FF2B5EF4-FFF2-40B4-BE49-F238E27FC236}">
                  <a16:creationId xmlns:a16="http://schemas.microsoft.com/office/drawing/2014/main" id="{5E0111F9-0909-4723-A120-C9B8E26980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2596" y="4621212"/>
              <a:ext cx="39687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1" name="Oval 110">
              <a:extLst>
                <a:ext uri="{FF2B5EF4-FFF2-40B4-BE49-F238E27FC236}">
                  <a16:creationId xmlns:a16="http://schemas.microsoft.com/office/drawing/2014/main" id="{8801C1BE-CA1A-4FB5-9006-7BE2DCC5AF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84658" y="4621212"/>
              <a:ext cx="36513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2" name="Oval 111">
              <a:extLst>
                <a:ext uri="{FF2B5EF4-FFF2-40B4-BE49-F238E27FC236}">
                  <a16:creationId xmlns:a16="http://schemas.microsoft.com/office/drawing/2014/main" id="{C4499E5F-30BC-462B-A0F2-65A353672A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2432" y="4606926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3" name="Oval 112">
              <a:extLst>
                <a:ext uri="{FF2B5EF4-FFF2-40B4-BE49-F238E27FC236}">
                  <a16:creationId xmlns:a16="http://schemas.microsoft.com/office/drawing/2014/main" id="{69B27F23-4445-4481-8BA3-578B1D95A4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1320" y="4606926"/>
              <a:ext cx="36512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4" name="Oval 113">
              <a:extLst>
                <a:ext uri="{FF2B5EF4-FFF2-40B4-BE49-F238E27FC236}">
                  <a16:creationId xmlns:a16="http://schemas.microsoft.com/office/drawing/2014/main" id="{F9F0EBAD-4CF5-427A-8B4D-21416B7340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0207" y="4606926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5" name="Oval 114">
              <a:extLst>
                <a:ext uri="{FF2B5EF4-FFF2-40B4-BE49-F238E27FC236}">
                  <a16:creationId xmlns:a16="http://schemas.microsoft.com/office/drawing/2014/main" id="{5F49DCFC-BD1A-4E05-B9B6-9B7C840C18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5921" y="4606926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6" name="Oval 115">
              <a:extLst>
                <a:ext uri="{FF2B5EF4-FFF2-40B4-BE49-F238E27FC236}">
                  <a16:creationId xmlns:a16="http://schemas.microsoft.com/office/drawing/2014/main" id="{5A4B7A22-A591-43CD-AD7F-61EFA9CF70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8457" y="4606926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7" name="Oval 116">
              <a:extLst>
                <a:ext uri="{FF2B5EF4-FFF2-40B4-BE49-F238E27FC236}">
                  <a16:creationId xmlns:a16="http://schemas.microsoft.com/office/drawing/2014/main" id="{A3A5308A-7C8E-4761-8E49-C170D2E245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2257" y="4606926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8" name="Oval 117">
              <a:extLst>
                <a:ext uri="{FF2B5EF4-FFF2-40B4-BE49-F238E27FC236}">
                  <a16:creationId xmlns:a16="http://schemas.microsoft.com/office/drawing/2014/main" id="{C85B9750-C3BE-48FC-8702-1F298DC79E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00507" y="4598987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9" name="Oval 118">
              <a:extLst>
                <a:ext uri="{FF2B5EF4-FFF2-40B4-BE49-F238E27FC236}">
                  <a16:creationId xmlns:a16="http://schemas.microsoft.com/office/drawing/2014/main" id="{1B74D5B0-0793-4B29-8A76-5474501B1E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75107" y="4598987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40" name="Oval 119">
              <a:extLst>
                <a:ext uri="{FF2B5EF4-FFF2-40B4-BE49-F238E27FC236}">
                  <a16:creationId xmlns:a16="http://schemas.microsoft.com/office/drawing/2014/main" id="{24E8ACE3-6E93-46FA-AC75-EAABE8C4AF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1771" y="4556126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41" name="Oval 120">
              <a:extLst>
                <a:ext uri="{FF2B5EF4-FFF2-40B4-BE49-F238E27FC236}">
                  <a16:creationId xmlns:a16="http://schemas.microsoft.com/office/drawing/2014/main" id="{2AB203CE-F3E8-44B7-9173-C3A7E58A20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92557" y="4548188"/>
              <a:ext cx="39688" cy="36513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42" name="Oval 121">
              <a:extLst>
                <a:ext uri="{FF2B5EF4-FFF2-40B4-BE49-F238E27FC236}">
                  <a16:creationId xmlns:a16="http://schemas.microsoft.com/office/drawing/2014/main" id="{7356B2AD-5797-4E19-BB16-6E1F57E61C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8421" y="4537076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43" name="Oval 122">
              <a:extLst>
                <a:ext uri="{FF2B5EF4-FFF2-40B4-BE49-F238E27FC236}">
                  <a16:creationId xmlns:a16="http://schemas.microsoft.com/office/drawing/2014/main" id="{337159D7-7F68-4B9E-8B58-74A48E6D4C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3333" y="4508501"/>
              <a:ext cx="36513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44" name="Oval 123">
              <a:extLst>
                <a:ext uri="{FF2B5EF4-FFF2-40B4-BE49-F238E27FC236}">
                  <a16:creationId xmlns:a16="http://schemas.microsoft.com/office/drawing/2014/main" id="{59AEA119-5CC7-408C-8FDA-424477EB35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9357" y="4502151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45" name="Oval 124">
              <a:extLst>
                <a:ext uri="{FF2B5EF4-FFF2-40B4-BE49-F238E27FC236}">
                  <a16:creationId xmlns:a16="http://schemas.microsoft.com/office/drawing/2014/main" id="{C71B3250-32E2-41FF-A9B6-6085274FDB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3007" y="4486276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46" name="Oval 125">
              <a:extLst>
                <a:ext uri="{FF2B5EF4-FFF2-40B4-BE49-F238E27FC236}">
                  <a16:creationId xmlns:a16="http://schemas.microsoft.com/office/drawing/2014/main" id="{1DF677E8-8631-4EF6-8B99-DFD71FDF9B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2845" y="4471987"/>
              <a:ext cx="36512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47" name="Oval 126">
              <a:extLst>
                <a:ext uri="{FF2B5EF4-FFF2-40B4-BE49-F238E27FC236}">
                  <a16:creationId xmlns:a16="http://schemas.microsoft.com/office/drawing/2014/main" id="{4E822752-816B-4FC7-AC5D-0D646ED601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9032" y="4465637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48" name="Oval 127">
              <a:extLst>
                <a:ext uri="{FF2B5EF4-FFF2-40B4-BE49-F238E27FC236}">
                  <a16:creationId xmlns:a16="http://schemas.microsoft.com/office/drawing/2014/main" id="{622AE6F6-1A77-47BB-A50D-8C61C6BE8B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17921" y="4457700"/>
              <a:ext cx="39687" cy="36512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49" name="Oval 128">
              <a:extLst>
                <a:ext uri="{FF2B5EF4-FFF2-40B4-BE49-F238E27FC236}">
                  <a16:creationId xmlns:a16="http://schemas.microsoft.com/office/drawing/2014/main" id="{9757FA3B-C52D-497D-8235-2483DEDE32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13157" y="4448175"/>
              <a:ext cx="39688" cy="3810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50" name="Oval 129">
              <a:extLst>
                <a:ext uri="{FF2B5EF4-FFF2-40B4-BE49-F238E27FC236}">
                  <a16:creationId xmlns:a16="http://schemas.microsoft.com/office/drawing/2014/main" id="{E06459EB-DA49-42E6-BE99-1DC16894AF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9983" y="4437062"/>
              <a:ext cx="36513" cy="3810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51" name="Oval 130">
              <a:extLst>
                <a:ext uri="{FF2B5EF4-FFF2-40B4-BE49-F238E27FC236}">
                  <a16:creationId xmlns:a16="http://schemas.microsoft.com/office/drawing/2014/main" id="{18DA774E-594A-47DF-B754-5CA3A60360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9346" y="4432301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52" name="Oval 131">
              <a:extLst>
                <a:ext uri="{FF2B5EF4-FFF2-40B4-BE49-F238E27FC236}">
                  <a16:creationId xmlns:a16="http://schemas.microsoft.com/office/drawing/2014/main" id="{A934A77F-9331-414B-A7B8-19D14D93F2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7121" y="4432301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53" name="Oval 132">
              <a:extLst>
                <a:ext uri="{FF2B5EF4-FFF2-40B4-BE49-F238E27FC236}">
                  <a16:creationId xmlns:a16="http://schemas.microsoft.com/office/drawing/2014/main" id="{FF83151C-4B0B-49E7-AFC9-317EC268B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48071" y="4432301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54" name="Oval 133">
              <a:extLst>
                <a:ext uri="{FF2B5EF4-FFF2-40B4-BE49-F238E27FC236}">
                  <a16:creationId xmlns:a16="http://schemas.microsoft.com/office/drawing/2014/main" id="{7E6FAD23-1312-4CC6-A683-7ACE83D93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7432" y="4418012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55" name="Oval 134">
              <a:extLst>
                <a:ext uri="{FF2B5EF4-FFF2-40B4-BE49-F238E27FC236}">
                  <a16:creationId xmlns:a16="http://schemas.microsoft.com/office/drawing/2014/main" id="{0F124E1B-E5E5-4D2A-8D21-89D060BD54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7271" y="4392612"/>
              <a:ext cx="39687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56" name="Oval 135">
              <a:extLst>
                <a:ext uri="{FF2B5EF4-FFF2-40B4-BE49-F238E27FC236}">
                  <a16:creationId xmlns:a16="http://schemas.microsoft.com/office/drawing/2014/main" id="{2383BC26-DC89-4836-88D7-EF7A817A58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3457" y="4392612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57" name="Oval 136">
              <a:extLst>
                <a:ext uri="{FF2B5EF4-FFF2-40B4-BE49-F238E27FC236}">
                  <a16:creationId xmlns:a16="http://schemas.microsoft.com/office/drawing/2014/main" id="{3E3476C6-D547-4330-BBB5-80EC8893DF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51233" y="4371976"/>
              <a:ext cx="36513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58" name="Oval 137">
              <a:extLst>
                <a:ext uri="{FF2B5EF4-FFF2-40B4-BE49-F238E27FC236}">
                  <a16:creationId xmlns:a16="http://schemas.microsoft.com/office/drawing/2014/main" id="{D2E6C054-47DB-4480-B83C-7641960693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0433" y="4332287"/>
              <a:ext cx="36513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59" name="Oval 138">
              <a:extLst>
                <a:ext uri="{FF2B5EF4-FFF2-40B4-BE49-F238E27FC236}">
                  <a16:creationId xmlns:a16="http://schemas.microsoft.com/office/drawing/2014/main" id="{FD947895-933A-4B50-9172-F1BFE43987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57571" y="4302126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0" name="Oval 139">
              <a:extLst>
                <a:ext uri="{FF2B5EF4-FFF2-40B4-BE49-F238E27FC236}">
                  <a16:creationId xmlns:a16="http://schemas.microsoft.com/office/drawing/2014/main" id="{9ACF7DC8-E74A-4CED-835D-00BD079855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407" y="4295776"/>
              <a:ext cx="38100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1" name="Oval 140">
              <a:extLst>
                <a:ext uri="{FF2B5EF4-FFF2-40B4-BE49-F238E27FC236}">
                  <a16:creationId xmlns:a16="http://schemas.microsoft.com/office/drawing/2014/main" id="{B5CEC4D5-FC72-42E8-B8A9-BDC5BC70E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4707" y="4292601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2" name="Oval 141">
              <a:extLst>
                <a:ext uri="{FF2B5EF4-FFF2-40B4-BE49-F238E27FC236}">
                  <a16:creationId xmlns:a16="http://schemas.microsoft.com/office/drawing/2014/main" id="{B893F195-D20B-493B-AEA9-42989E683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0420" y="4292601"/>
              <a:ext cx="38100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3" name="Oval 142">
              <a:extLst>
                <a:ext uri="{FF2B5EF4-FFF2-40B4-BE49-F238E27FC236}">
                  <a16:creationId xmlns:a16="http://schemas.microsoft.com/office/drawing/2014/main" id="{A4F5009D-130F-4D67-A650-1F5437E0AD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3432" y="4262437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4" name="Oval 143">
              <a:extLst>
                <a:ext uri="{FF2B5EF4-FFF2-40B4-BE49-F238E27FC236}">
                  <a16:creationId xmlns:a16="http://schemas.microsoft.com/office/drawing/2014/main" id="{1D0BEEF7-565F-4B7B-92A6-434ECEDA13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0732" y="4249737"/>
              <a:ext cx="39688" cy="3810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5" name="Oval 144">
              <a:extLst>
                <a:ext uri="{FF2B5EF4-FFF2-40B4-BE49-F238E27FC236}">
                  <a16:creationId xmlns:a16="http://schemas.microsoft.com/office/drawing/2014/main" id="{E072F490-64E0-41C0-9944-AAF7353BFD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44857" y="4241801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6" name="Oval 145">
              <a:extLst>
                <a:ext uri="{FF2B5EF4-FFF2-40B4-BE49-F238E27FC236}">
                  <a16:creationId xmlns:a16="http://schemas.microsoft.com/office/drawing/2014/main" id="{D7807BFA-9842-46D5-977A-68038AAA93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3746" y="4235450"/>
              <a:ext cx="39687" cy="3810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7" name="Oval 146">
              <a:extLst>
                <a:ext uri="{FF2B5EF4-FFF2-40B4-BE49-F238E27FC236}">
                  <a16:creationId xmlns:a16="http://schemas.microsoft.com/office/drawing/2014/main" id="{3DB8FFA2-73B8-4842-BC37-B519E6E9BE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22633" y="4208463"/>
              <a:ext cx="36513" cy="36513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8" name="Oval 147">
              <a:extLst>
                <a:ext uri="{FF2B5EF4-FFF2-40B4-BE49-F238E27FC236}">
                  <a16:creationId xmlns:a16="http://schemas.microsoft.com/office/drawing/2014/main" id="{38E1F196-41A9-4DC8-A9F7-936A2FD4D6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1995" y="4195762"/>
              <a:ext cx="36512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9" name="Oval 148">
              <a:extLst>
                <a:ext uri="{FF2B5EF4-FFF2-40B4-BE49-F238E27FC236}">
                  <a16:creationId xmlns:a16="http://schemas.microsoft.com/office/drawing/2014/main" id="{F4C5100E-647F-4102-959B-90CB0A7C37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4057" y="4187826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0" name="Oval 149">
              <a:extLst>
                <a:ext uri="{FF2B5EF4-FFF2-40B4-BE49-F238E27FC236}">
                  <a16:creationId xmlns:a16="http://schemas.microsoft.com/office/drawing/2014/main" id="{17D376F3-799C-4662-9515-D504653FFD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3421" y="4170362"/>
              <a:ext cx="39687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1" name="Oval 150">
              <a:extLst>
                <a:ext uri="{FF2B5EF4-FFF2-40B4-BE49-F238E27FC236}">
                  <a16:creationId xmlns:a16="http://schemas.microsoft.com/office/drawing/2014/main" id="{0D9ED4B9-73C3-44D5-9A68-3323427EC2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9132" y="4170362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2" name="Oval 151">
              <a:extLst>
                <a:ext uri="{FF2B5EF4-FFF2-40B4-BE49-F238E27FC236}">
                  <a16:creationId xmlns:a16="http://schemas.microsoft.com/office/drawing/2014/main" id="{8FC6B6A2-3011-4E64-8BFB-E3F5534309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1196" y="4170362"/>
              <a:ext cx="39687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3" name="Oval 152">
              <a:extLst>
                <a:ext uri="{FF2B5EF4-FFF2-40B4-BE49-F238E27FC236}">
                  <a16:creationId xmlns:a16="http://schemas.microsoft.com/office/drawing/2014/main" id="{70C1A996-7D22-4F94-96AF-6906C4F5F1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6908" y="4156076"/>
              <a:ext cx="36513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4" name="Oval 153">
              <a:extLst>
                <a:ext uri="{FF2B5EF4-FFF2-40B4-BE49-F238E27FC236}">
                  <a16:creationId xmlns:a16="http://schemas.microsoft.com/office/drawing/2014/main" id="{EA59CB5B-6E77-4B20-B990-00F993CC7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5796" y="4156075"/>
              <a:ext cx="39687" cy="3810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5" name="Oval 154">
              <a:extLst>
                <a:ext uri="{FF2B5EF4-FFF2-40B4-BE49-F238E27FC236}">
                  <a16:creationId xmlns:a16="http://schemas.microsoft.com/office/drawing/2014/main" id="{92FDEC72-D00F-43A6-BAF9-BEDB4A2AF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4682" y="4151312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6" name="Oval 155">
              <a:extLst>
                <a:ext uri="{FF2B5EF4-FFF2-40B4-BE49-F238E27FC236}">
                  <a16:creationId xmlns:a16="http://schemas.microsoft.com/office/drawing/2014/main" id="{97FC8B5B-1E2C-4711-8357-1A46F267AC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3571" y="4144962"/>
              <a:ext cx="39687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7" name="Oval 156">
              <a:extLst>
                <a:ext uri="{FF2B5EF4-FFF2-40B4-BE49-F238E27FC236}">
                  <a16:creationId xmlns:a16="http://schemas.microsoft.com/office/drawing/2014/main" id="{E192B9CA-38EB-4B6E-9FC6-34E26A8CD6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82932" y="4097337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8" name="Oval 157">
              <a:extLst>
                <a:ext uri="{FF2B5EF4-FFF2-40B4-BE49-F238E27FC236}">
                  <a16:creationId xmlns:a16="http://schemas.microsoft.com/office/drawing/2014/main" id="{79D2B8E9-3544-415D-BDE4-BFE60B49C8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78170" y="4089401"/>
              <a:ext cx="36512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9" name="Oval 158">
              <a:extLst>
                <a:ext uri="{FF2B5EF4-FFF2-40B4-BE49-F238E27FC236}">
                  <a16:creationId xmlns:a16="http://schemas.microsoft.com/office/drawing/2014/main" id="{4291B1D6-F67A-47D3-A41A-DFDBBF667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3882" y="4075112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0" name="Oval 159">
              <a:extLst>
                <a:ext uri="{FF2B5EF4-FFF2-40B4-BE49-F238E27FC236}">
                  <a16:creationId xmlns:a16="http://schemas.microsoft.com/office/drawing/2014/main" id="{DA8A9C0B-3954-4E79-90C0-0B14F3150F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1182" y="4057650"/>
              <a:ext cx="39688" cy="36512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1" name="Oval 160">
              <a:extLst>
                <a:ext uri="{FF2B5EF4-FFF2-40B4-BE49-F238E27FC236}">
                  <a16:creationId xmlns:a16="http://schemas.microsoft.com/office/drawing/2014/main" id="{7C57B245-9762-478F-A32E-BB9DF95ACD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3246" y="4049712"/>
              <a:ext cx="39687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2" name="Oval 161">
              <a:extLst>
                <a:ext uri="{FF2B5EF4-FFF2-40B4-BE49-F238E27FC236}">
                  <a16:creationId xmlns:a16="http://schemas.microsoft.com/office/drawing/2014/main" id="{AEAF5123-A23F-4CFD-B7FE-E3A653AF4A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8957" y="4029076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3" name="Oval 162">
              <a:extLst>
                <a:ext uri="{FF2B5EF4-FFF2-40B4-BE49-F238E27FC236}">
                  <a16:creationId xmlns:a16="http://schemas.microsoft.com/office/drawing/2014/main" id="{90A4BB62-D454-4075-B3F3-048E5FEDDD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6732" y="4011612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4" name="Oval 163">
              <a:extLst>
                <a:ext uri="{FF2B5EF4-FFF2-40B4-BE49-F238E27FC236}">
                  <a16:creationId xmlns:a16="http://schemas.microsoft.com/office/drawing/2014/main" id="{0EAB16CA-262A-456D-9C62-20B305AAB6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8796" y="4003676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5" name="Oval 164">
              <a:extLst>
                <a:ext uri="{FF2B5EF4-FFF2-40B4-BE49-F238E27FC236}">
                  <a16:creationId xmlns:a16="http://schemas.microsoft.com/office/drawing/2014/main" id="{8ED68DF1-D856-4059-BC3A-E1E1659A6D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6096" y="4000501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6" name="Oval 165">
              <a:extLst>
                <a:ext uri="{FF2B5EF4-FFF2-40B4-BE49-F238E27FC236}">
                  <a16:creationId xmlns:a16="http://schemas.microsoft.com/office/drawing/2014/main" id="{7BDDA7A3-AE20-4530-A223-F2BFBB6BC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3395" y="4000500"/>
              <a:ext cx="38100" cy="36512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7" name="Oval 166">
              <a:extLst>
                <a:ext uri="{FF2B5EF4-FFF2-40B4-BE49-F238E27FC236}">
                  <a16:creationId xmlns:a16="http://schemas.microsoft.com/office/drawing/2014/main" id="{1C69ED25-8BA0-4463-8D58-6D2401728C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9107" y="3997325"/>
              <a:ext cx="39688" cy="3810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8" name="Oval 167">
              <a:extLst>
                <a:ext uri="{FF2B5EF4-FFF2-40B4-BE49-F238E27FC236}">
                  <a16:creationId xmlns:a16="http://schemas.microsoft.com/office/drawing/2014/main" id="{B61D2628-4ADA-493C-82C6-692A0B71F7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9582" y="3997325"/>
              <a:ext cx="39688" cy="3810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9" name="Oval 168">
              <a:extLst>
                <a:ext uri="{FF2B5EF4-FFF2-40B4-BE49-F238E27FC236}">
                  <a16:creationId xmlns:a16="http://schemas.microsoft.com/office/drawing/2014/main" id="{793B35CC-315E-4189-9936-3BA04D5C6C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1646" y="3981451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0" name="Oval 169">
              <a:extLst>
                <a:ext uri="{FF2B5EF4-FFF2-40B4-BE49-F238E27FC236}">
                  <a16:creationId xmlns:a16="http://schemas.microsoft.com/office/drawing/2014/main" id="{F37C340B-56B9-4E97-9A62-AAFC0F5494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9421" y="3963988"/>
              <a:ext cx="39687" cy="36513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1" name="Oval 170">
              <a:extLst>
                <a:ext uri="{FF2B5EF4-FFF2-40B4-BE49-F238E27FC236}">
                  <a16:creationId xmlns:a16="http://schemas.microsoft.com/office/drawing/2014/main" id="{DF37B0CF-EF49-4620-BB00-86D1DF486B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0846" y="3943350"/>
              <a:ext cx="39687" cy="3810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2" name="Oval 171">
              <a:extLst>
                <a:ext uri="{FF2B5EF4-FFF2-40B4-BE49-F238E27FC236}">
                  <a16:creationId xmlns:a16="http://schemas.microsoft.com/office/drawing/2014/main" id="{B41811EC-654B-4131-9114-48CEB768C2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9095" y="3927476"/>
              <a:ext cx="36512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3" name="Oval 172">
              <a:extLst>
                <a:ext uri="{FF2B5EF4-FFF2-40B4-BE49-F238E27FC236}">
                  <a16:creationId xmlns:a16="http://schemas.microsoft.com/office/drawing/2014/main" id="{C163D419-D083-411C-9BD8-5DCC349F75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4807" y="3916362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4" name="Oval 173">
              <a:extLst>
                <a:ext uri="{FF2B5EF4-FFF2-40B4-BE49-F238E27FC236}">
                  <a16:creationId xmlns:a16="http://schemas.microsoft.com/office/drawing/2014/main" id="{4FE44632-F00E-44F8-8835-60F4419A96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30521" y="3913187"/>
              <a:ext cx="39687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5" name="Oval 174">
              <a:extLst>
                <a:ext uri="{FF2B5EF4-FFF2-40B4-BE49-F238E27FC236}">
                  <a16:creationId xmlns:a16="http://schemas.microsoft.com/office/drawing/2014/main" id="{E5D6B70C-A2AA-4043-8A66-110B157A7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8932" y="3906837"/>
              <a:ext cx="38100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6" name="Oval 175">
              <a:extLst>
                <a:ext uri="{FF2B5EF4-FFF2-40B4-BE49-F238E27FC236}">
                  <a16:creationId xmlns:a16="http://schemas.microsoft.com/office/drawing/2014/main" id="{6AA1941E-4560-45C2-B7F7-6193646149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1471" y="3902076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7" name="Oval 176">
              <a:extLst>
                <a:ext uri="{FF2B5EF4-FFF2-40B4-BE49-F238E27FC236}">
                  <a16:creationId xmlns:a16="http://schemas.microsoft.com/office/drawing/2014/main" id="{210E7298-5C02-413E-9C66-80A4383CE0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1945" y="3884613"/>
              <a:ext cx="38100" cy="36513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8" name="Oval 177">
              <a:extLst>
                <a:ext uri="{FF2B5EF4-FFF2-40B4-BE49-F238E27FC236}">
                  <a16:creationId xmlns:a16="http://schemas.microsoft.com/office/drawing/2014/main" id="{E17F4A7A-9E24-44A2-85EB-83F67C6784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2896" y="3878262"/>
              <a:ext cx="39687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9" name="Oval 178">
              <a:extLst>
                <a:ext uri="{FF2B5EF4-FFF2-40B4-BE49-F238E27FC236}">
                  <a16:creationId xmlns:a16="http://schemas.microsoft.com/office/drawing/2014/main" id="{12F9D551-CE9A-4A6C-89D7-D7B00E2B1B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74957" y="3870326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00" name="Oval 179">
              <a:extLst>
                <a:ext uri="{FF2B5EF4-FFF2-40B4-BE49-F238E27FC236}">
                  <a16:creationId xmlns:a16="http://schemas.microsoft.com/office/drawing/2014/main" id="{5D3832A3-B7FC-44AE-B2F8-F1F5326F90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5432" y="3870326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01" name="Oval 180">
              <a:extLst>
                <a:ext uri="{FF2B5EF4-FFF2-40B4-BE49-F238E27FC236}">
                  <a16:creationId xmlns:a16="http://schemas.microsoft.com/office/drawing/2014/main" id="{B7EE9ADB-1CF5-4268-8359-5E6273614C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4321" y="3856037"/>
              <a:ext cx="39687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02" name="Oval 181">
              <a:extLst>
                <a:ext uri="{FF2B5EF4-FFF2-40B4-BE49-F238E27FC236}">
                  <a16:creationId xmlns:a16="http://schemas.microsoft.com/office/drawing/2014/main" id="{9ACA1521-378B-469E-9456-FD4F58268B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3207" y="3856037"/>
              <a:ext cx="39688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03" name="Oval 182">
              <a:extLst>
                <a:ext uri="{FF2B5EF4-FFF2-40B4-BE49-F238E27FC236}">
                  <a16:creationId xmlns:a16="http://schemas.microsoft.com/office/drawing/2014/main" id="{CAA5AF19-1518-4419-8B11-583BDB01B0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2096" y="3856037"/>
              <a:ext cx="39687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04" name="Oval 183">
              <a:extLst>
                <a:ext uri="{FF2B5EF4-FFF2-40B4-BE49-F238E27FC236}">
                  <a16:creationId xmlns:a16="http://schemas.microsoft.com/office/drawing/2014/main" id="{2953CAF1-0B98-4B9B-AC3B-6D13B028CC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4157" y="3830638"/>
              <a:ext cx="38100" cy="36513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05" name="Oval 184">
              <a:extLst>
                <a:ext uri="{FF2B5EF4-FFF2-40B4-BE49-F238E27FC236}">
                  <a16:creationId xmlns:a16="http://schemas.microsoft.com/office/drawing/2014/main" id="{4427BF1B-3AB4-4E1F-A6FA-5058BF4C3B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4632" y="3813175"/>
              <a:ext cx="39688" cy="36512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06" name="Oval 185">
              <a:extLst>
                <a:ext uri="{FF2B5EF4-FFF2-40B4-BE49-F238E27FC236}">
                  <a16:creationId xmlns:a16="http://schemas.microsoft.com/office/drawing/2014/main" id="{EEE527D6-A6B1-4BEA-9A25-E7AF56790D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9232" y="3813175"/>
              <a:ext cx="39688" cy="36512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07" name="Oval 186">
              <a:extLst>
                <a:ext uri="{FF2B5EF4-FFF2-40B4-BE49-F238E27FC236}">
                  <a16:creationId xmlns:a16="http://schemas.microsoft.com/office/drawing/2014/main" id="{5ABA981D-8968-4D20-8DEC-01146E2357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1296" y="3805237"/>
              <a:ext cx="39687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08" name="Oval 187">
              <a:extLst>
                <a:ext uri="{FF2B5EF4-FFF2-40B4-BE49-F238E27FC236}">
                  <a16:creationId xmlns:a16="http://schemas.microsoft.com/office/drawing/2014/main" id="{F4CFD5FD-74F9-48DA-8F26-D7AB2FC843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4946" y="3798887"/>
              <a:ext cx="39687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09" name="Oval 188">
              <a:extLst>
                <a:ext uri="{FF2B5EF4-FFF2-40B4-BE49-F238E27FC236}">
                  <a16:creationId xmlns:a16="http://schemas.microsoft.com/office/drawing/2014/main" id="{BCCBB54A-1CA7-4B0E-89A4-99CEE73261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9546" y="3787775"/>
              <a:ext cx="39687" cy="36512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0" name="Oval 189">
              <a:extLst>
                <a:ext uri="{FF2B5EF4-FFF2-40B4-BE49-F238E27FC236}">
                  <a16:creationId xmlns:a16="http://schemas.microsoft.com/office/drawing/2014/main" id="{8F19B469-BD65-4931-A661-F96CCAD548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93807" y="3073401"/>
              <a:ext cx="39688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1" name="Oval 190">
              <a:extLst>
                <a:ext uri="{FF2B5EF4-FFF2-40B4-BE49-F238E27FC236}">
                  <a16:creationId xmlns:a16="http://schemas.microsoft.com/office/drawing/2014/main" id="{87CF6F32-CCFB-49E3-BD17-A6B237B6FA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3521" y="3813175"/>
              <a:ext cx="39687" cy="36512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2" name="Oval 191">
              <a:extLst>
                <a:ext uri="{FF2B5EF4-FFF2-40B4-BE49-F238E27FC236}">
                  <a16:creationId xmlns:a16="http://schemas.microsoft.com/office/drawing/2014/main" id="{F851E6AF-B8B8-4D69-87EA-B1D8397615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6557" y="3943350"/>
              <a:ext cx="39688" cy="38100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3" name="Oval 192">
              <a:extLst>
                <a:ext uri="{FF2B5EF4-FFF2-40B4-BE49-F238E27FC236}">
                  <a16:creationId xmlns:a16="http://schemas.microsoft.com/office/drawing/2014/main" id="{3D83E122-8B1E-4368-ACEB-1B3C0A7F2A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6721" y="3963988"/>
              <a:ext cx="39687" cy="36513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4" name="Oval 193">
              <a:extLst>
                <a:ext uri="{FF2B5EF4-FFF2-40B4-BE49-F238E27FC236}">
                  <a16:creationId xmlns:a16="http://schemas.microsoft.com/office/drawing/2014/main" id="{5B220F68-66A2-4D9F-B455-E843A7DF76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5607" y="3963988"/>
              <a:ext cx="39688" cy="36513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5" name="Oval 194">
              <a:extLst>
                <a:ext uri="{FF2B5EF4-FFF2-40B4-BE49-F238E27FC236}">
                  <a16:creationId xmlns:a16="http://schemas.microsoft.com/office/drawing/2014/main" id="{46ED4A38-37F3-44BC-A465-0554D76272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020" y="3963988"/>
              <a:ext cx="36512" cy="36513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6" name="Oval 195">
              <a:extLst>
                <a:ext uri="{FF2B5EF4-FFF2-40B4-BE49-F238E27FC236}">
                  <a16:creationId xmlns:a16="http://schemas.microsoft.com/office/drawing/2014/main" id="{92F33A27-6F42-482C-8C93-764AC1FB97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3421" y="4187826"/>
              <a:ext cx="39687" cy="39687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7" name="Oval 196">
              <a:extLst>
                <a:ext uri="{FF2B5EF4-FFF2-40B4-BE49-F238E27FC236}">
                  <a16:creationId xmlns:a16="http://schemas.microsoft.com/office/drawing/2014/main" id="{D0891251-134D-4B21-8372-C472C16438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2971" y="4332287"/>
              <a:ext cx="39687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8" name="Oval 197">
              <a:extLst>
                <a:ext uri="{FF2B5EF4-FFF2-40B4-BE49-F238E27FC236}">
                  <a16:creationId xmlns:a16="http://schemas.microsoft.com/office/drawing/2014/main" id="{F5245357-5FAF-4872-B50C-2A13F3DC90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508" y="4548188"/>
              <a:ext cx="36513" cy="36513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9" name="Oval 198">
              <a:extLst>
                <a:ext uri="{FF2B5EF4-FFF2-40B4-BE49-F238E27FC236}">
                  <a16:creationId xmlns:a16="http://schemas.microsoft.com/office/drawing/2014/main" id="{7F3BE13D-C739-4219-962D-3F68BD3F22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7770" y="4754562"/>
              <a:ext cx="36512" cy="39688"/>
            </a:xfrm>
            <a:prstGeom prst="ellipse">
              <a:avLst/>
            </a:prstGeom>
            <a:solidFill>
              <a:srgbClr val="0070C0"/>
            </a:solidFill>
            <a:ln w="19050">
              <a:solidFill>
                <a:srgbClr val="0070C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alt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0" name="Freeform 200">
              <a:extLst>
                <a:ext uri="{FF2B5EF4-FFF2-40B4-BE49-F238E27FC236}">
                  <a16:creationId xmlns:a16="http://schemas.microsoft.com/office/drawing/2014/main" id="{CA99D3E0-1E06-4131-9D25-BDBD758D6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5857" y="5391151"/>
              <a:ext cx="0" cy="73025"/>
            </a:xfrm>
            <a:custGeom>
              <a:avLst/>
              <a:gdLst>
                <a:gd name="T0" fmla="*/ 0 h 46"/>
                <a:gd name="T1" fmla="*/ 0 h 46"/>
                <a:gd name="T2" fmla="*/ 2147483646 h 46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46">
                  <a:moveTo>
                    <a:pt x="0" y="0"/>
                  </a:moveTo>
                  <a:lnTo>
                    <a:pt x="0" y="0"/>
                  </a:lnTo>
                  <a:lnTo>
                    <a:pt x="0" y="46"/>
                  </a:lnTo>
                </a:path>
              </a:pathLst>
            </a:custGeom>
            <a:noFill/>
            <a:ln w="19050" cap="sq">
              <a:solidFill>
                <a:srgbClr val="01010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1" name="Freeform 201">
              <a:extLst>
                <a:ext uri="{FF2B5EF4-FFF2-40B4-BE49-F238E27FC236}">
                  <a16:creationId xmlns:a16="http://schemas.microsoft.com/office/drawing/2014/main" id="{098940E5-B1D6-4821-8688-FAE808B6B7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007" y="5387975"/>
              <a:ext cx="65088" cy="0"/>
            </a:xfrm>
            <a:custGeom>
              <a:avLst/>
              <a:gdLst>
                <a:gd name="T0" fmla="*/ 2147483646 w 41"/>
                <a:gd name="T1" fmla="*/ 2147483646 w 41"/>
                <a:gd name="T2" fmla="*/ 0 w 4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0" t="0" r="r" b="b"/>
              <a:pathLst>
                <a:path w="41">
                  <a:moveTo>
                    <a:pt x="41" y="0"/>
                  </a:moveTo>
                  <a:lnTo>
                    <a:pt x="41" y="0"/>
                  </a:lnTo>
                  <a:lnTo>
                    <a:pt x="0" y="0"/>
                  </a:lnTo>
                </a:path>
              </a:pathLst>
            </a:custGeom>
            <a:noFill/>
            <a:ln w="19050" cap="sq">
              <a:solidFill>
                <a:srgbClr val="01010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2" name="Freeform 202">
              <a:extLst>
                <a:ext uri="{FF2B5EF4-FFF2-40B4-BE49-F238E27FC236}">
                  <a16:creationId xmlns:a16="http://schemas.microsoft.com/office/drawing/2014/main" id="{8C6252E9-9AD8-4949-A84B-57DA873741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007" y="4919662"/>
              <a:ext cx="65088" cy="0"/>
            </a:xfrm>
            <a:custGeom>
              <a:avLst/>
              <a:gdLst>
                <a:gd name="T0" fmla="*/ 2147483646 w 41"/>
                <a:gd name="T1" fmla="*/ 2147483646 w 41"/>
                <a:gd name="T2" fmla="*/ 0 w 4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0" t="0" r="r" b="b"/>
              <a:pathLst>
                <a:path w="41">
                  <a:moveTo>
                    <a:pt x="41" y="0"/>
                  </a:moveTo>
                  <a:lnTo>
                    <a:pt x="41" y="0"/>
                  </a:lnTo>
                  <a:lnTo>
                    <a:pt x="0" y="0"/>
                  </a:lnTo>
                </a:path>
              </a:pathLst>
            </a:custGeom>
            <a:solidFill>
              <a:srgbClr val="7030A0"/>
            </a:solidFill>
            <a:ln w="19050" cap="sq">
              <a:solidFill>
                <a:srgbClr val="7030A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3" name="Freeform 203">
              <a:extLst>
                <a:ext uri="{FF2B5EF4-FFF2-40B4-BE49-F238E27FC236}">
                  <a16:creationId xmlns:a16="http://schemas.microsoft.com/office/drawing/2014/main" id="{F5547ED1-F6C3-4181-A955-33CC13288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007" y="4451350"/>
              <a:ext cx="65088" cy="0"/>
            </a:xfrm>
            <a:custGeom>
              <a:avLst/>
              <a:gdLst>
                <a:gd name="T0" fmla="*/ 2147483646 w 41"/>
                <a:gd name="T1" fmla="*/ 2147483646 w 41"/>
                <a:gd name="T2" fmla="*/ 0 w 4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0" t="0" r="r" b="b"/>
              <a:pathLst>
                <a:path w="41">
                  <a:moveTo>
                    <a:pt x="41" y="0"/>
                  </a:moveTo>
                  <a:lnTo>
                    <a:pt x="41" y="0"/>
                  </a:lnTo>
                  <a:lnTo>
                    <a:pt x="0" y="0"/>
                  </a:lnTo>
                </a:path>
              </a:pathLst>
            </a:custGeom>
            <a:solidFill>
              <a:srgbClr val="7030A0"/>
            </a:solidFill>
            <a:ln w="19050" cap="sq">
              <a:solidFill>
                <a:srgbClr val="01010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4" name="Freeform 204">
              <a:extLst>
                <a:ext uri="{FF2B5EF4-FFF2-40B4-BE49-F238E27FC236}">
                  <a16:creationId xmlns:a16="http://schemas.microsoft.com/office/drawing/2014/main" id="{6A605A64-D032-41B3-9ED9-07721D01F5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007" y="3983037"/>
              <a:ext cx="65088" cy="0"/>
            </a:xfrm>
            <a:custGeom>
              <a:avLst/>
              <a:gdLst>
                <a:gd name="T0" fmla="*/ 2147483646 w 41"/>
                <a:gd name="T1" fmla="*/ 2147483646 w 41"/>
                <a:gd name="T2" fmla="*/ 0 w 4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0" t="0" r="r" b="b"/>
              <a:pathLst>
                <a:path w="41">
                  <a:moveTo>
                    <a:pt x="41" y="0"/>
                  </a:moveTo>
                  <a:lnTo>
                    <a:pt x="41" y="0"/>
                  </a:lnTo>
                  <a:lnTo>
                    <a:pt x="0" y="0"/>
                  </a:lnTo>
                </a:path>
              </a:pathLst>
            </a:custGeom>
            <a:noFill/>
            <a:ln w="19050" cap="sq">
              <a:solidFill>
                <a:srgbClr val="01010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5" name="Freeform 206">
              <a:extLst>
                <a:ext uri="{FF2B5EF4-FFF2-40B4-BE49-F238E27FC236}">
                  <a16:creationId xmlns:a16="http://schemas.microsoft.com/office/drawing/2014/main" id="{E6AF6766-121C-499A-AB12-B9425D5BF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007" y="3516312"/>
              <a:ext cx="65088" cy="0"/>
            </a:xfrm>
            <a:custGeom>
              <a:avLst/>
              <a:gdLst>
                <a:gd name="T0" fmla="*/ 2147483646 w 41"/>
                <a:gd name="T1" fmla="*/ 2147483646 w 41"/>
                <a:gd name="T2" fmla="*/ 0 w 4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0" t="0" r="r" b="b"/>
              <a:pathLst>
                <a:path w="41">
                  <a:moveTo>
                    <a:pt x="41" y="0"/>
                  </a:moveTo>
                  <a:lnTo>
                    <a:pt x="41" y="0"/>
                  </a:lnTo>
                  <a:lnTo>
                    <a:pt x="0" y="0"/>
                  </a:lnTo>
                </a:path>
              </a:pathLst>
            </a:custGeom>
            <a:noFill/>
            <a:ln w="19050" cap="sq">
              <a:solidFill>
                <a:srgbClr val="01010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6" name="Freeform 207">
              <a:extLst>
                <a:ext uri="{FF2B5EF4-FFF2-40B4-BE49-F238E27FC236}">
                  <a16:creationId xmlns:a16="http://schemas.microsoft.com/office/drawing/2014/main" id="{9189E68D-D249-4F60-9F5C-02DE3569E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6757" y="5395913"/>
              <a:ext cx="0" cy="68263"/>
            </a:xfrm>
            <a:custGeom>
              <a:avLst/>
              <a:gdLst>
                <a:gd name="T0" fmla="*/ 2147483646 h 43"/>
                <a:gd name="T1" fmla="*/ 2147483646 h 43"/>
                <a:gd name="T2" fmla="*/ 0 h 43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43">
                  <a:moveTo>
                    <a:pt x="0" y="43"/>
                  </a:moveTo>
                  <a:lnTo>
                    <a:pt x="0" y="43"/>
                  </a:lnTo>
                  <a:lnTo>
                    <a:pt x="0" y="0"/>
                  </a:lnTo>
                </a:path>
              </a:pathLst>
            </a:custGeom>
            <a:noFill/>
            <a:ln w="19050" cap="sq">
              <a:solidFill>
                <a:srgbClr val="01010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7" name="Freeform 208">
              <a:extLst>
                <a:ext uri="{FF2B5EF4-FFF2-40B4-BE49-F238E27FC236}">
                  <a16:creationId xmlns:a16="http://schemas.microsoft.com/office/drawing/2014/main" id="{1117123D-B144-47C9-9BDA-4BCF762D0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2895" y="5395913"/>
              <a:ext cx="0" cy="68263"/>
            </a:xfrm>
            <a:custGeom>
              <a:avLst/>
              <a:gdLst>
                <a:gd name="T0" fmla="*/ 2147483646 h 43"/>
                <a:gd name="T1" fmla="*/ 2147483646 h 43"/>
                <a:gd name="T2" fmla="*/ 0 h 43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43">
                  <a:moveTo>
                    <a:pt x="0" y="43"/>
                  </a:moveTo>
                  <a:lnTo>
                    <a:pt x="0" y="43"/>
                  </a:lnTo>
                  <a:lnTo>
                    <a:pt x="0" y="0"/>
                  </a:lnTo>
                </a:path>
              </a:pathLst>
            </a:custGeom>
            <a:noFill/>
            <a:ln w="19050" cap="sq">
              <a:solidFill>
                <a:srgbClr val="01010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8" name="Freeform 209">
              <a:extLst>
                <a:ext uri="{FF2B5EF4-FFF2-40B4-BE49-F238E27FC236}">
                  <a16:creationId xmlns:a16="http://schemas.microsoft.com/office/drawing/2014/main" id="{070CB247-91D2-474C-A032-76D0F5953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1520" y="5395913"/>
              <a:ext cx="0" cy="68263"/>
            </a:xfrm>
            <a:custGeom>
              <a:avLst/>
              <a:gdLst>
                <a:gd name="T0" fmla="*/ 2147483646 h 43"/>
                <a:gd name="T1" fmla="*/ 2147483646 h 43"/>
                <a:gd name="T2" fmla="*/ 0 h 43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43">
                  <a:moveTo>
                    <a:pt x="0" y="43"/>
                  </a:moveTo>
                  <a:lnTo>
                    <a:pt x="0" y="43"/>
                  </a:lnTo>
                  <a:lnTo>
                    <a:pt x="0" y="0"/>
                  </a:lnTo>
                </a:path>
              </a:pathLst>
            </a:custGeom>
            <a:noFill/>
            <a:ln w="19050" cap="sq">
              <a:solidFill>
                <a:srgbClr val="01010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9" name="Freeform 210">
              <a:extLst>
                <a:ext uri="{FF2B5EF4-FFF2-40B4-BE49-F238E27FC236}">
                  <a16:creationId xmlns:a16="http://schemas.microsoft.com/office/drawing/2014/main" id="{361CA5D9-7832-4CD7-A26D-CB66210F5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2420" y="5387975"/>
              <a:ext cx="0" cy="69850"/>
            </a:xfrm>
            <a:custGeom>
              <a:avLst/>
              <a:gdLst>
                <a:gd name="T0" fmla="*/ 2147483646 h 44"/>
                <a:gd name="T1" fmla="*/ 2147483646 h 44"/>
                <a:gd name="T2" fmla="*/ 0 h 44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44">
                  <a:moveTo>
                    <a:pt x="0" y="44"/>
                  </a:moveTo>
                  <a:lnTo>
                    <a:pt x="0" y="44"/>
                  </a:lnTo>
                  <a:lnTo>
                    <a:pt x="0" y="0"/>
                  </a:lnTo>
                </a:path>
              </a:pathLst>
            </a:custGeom>
            <a:noFill/>
            <a:ln w="19050" cap="sq">
              <a:solidFill>
                <a:srgbClr val="01010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30" name="Freeform 211">
              <a:extLst>
                <a:ext uri="{FF2B5EF4-FFF2-40B4-BE49-F238E27FC236}">
                  <a16:creationId xmlns:a16="http://schemas.microsoft.com/office/drawing/2014/main" id="{ADE5298C-6D80-49ED-944C-A55BDB96C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2207" y="5395913"/>
              <a:ext cx="0" cy="68263"/>
            </a:xfrm>
            <a:custGeom>
              <a:avLst/>
              <a:gdLst>
                <a:gd name="T0" fmla="*/ 2147483646 h 43"/>
                <a:gd name="T1" fmla="*/ 2147483646 h 43"/>
                <a:gd name="T2" fmla="*/ 0 h 43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43">
                  <a:moveTo>
                    <a:pt x="0" y="43"/>
                  </a:moveTo>
                  <a:lnTo>
                    <a:pt x="0" y="43"/>
                  </a:lnTo>
                  <a:lnTo>
                    <a:pt x="0" y="0"/>
                  </a:lnTo>
                </a:path>
              </a:pathLst>
            </a:custGeom>
            <a:noFill/>
            <a:ln w="19050" cap="sq">
              <a:solidFill>
                <a:srgbClr val="01010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31" name="Freeform 212">
              <a:extLst>
                <a:ext uri="{FF2B5EF4-FFF2-40B4-BE49-F238E27FC236}">
                  <a16:creationId xmlns:a16="http://schemas.microsoft.com/office/drawing/2014/main" id="{80DB9011-3544-40EF-B07B-B839C05C5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2833" y="3048000"/>
              <a:ext cx="68263" cy="0"/>
            </a:xfrm>
            <a:custGeom>
              <a:avLst/>
              <a:gdLst>
                <a:gd name="T0" fmla="*/ 2147483646 w 43"/>
                <a:gd name="T1" fmla="*/ 2147483646 w 43"/>
                <a:gd name="T2" fmla="*/ 0 w 43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0" t="0" r="r" b="b"/>
              <a:pathLst>
                <a:path w="43">
                  <a:moveTo>
                    <a:pt x="43" y="0"/>
                  </a:moveTo>
                  <a:lnTo>
                    <a:pt x="43" y="0"/>
                  </a:lnTo>
                  <a:lnTo>
                    <a:pt x="0" y="0"/>
                  </a:lnTo>
                </a:path>
              </a:pathLst>
            </a:custGeom>
            <a:noFill/>
            <a:ln w="19050" cap="sq">
              <a:solidFill>
                <a:srgbClr val="01010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32" name="Freeform 213">
              <a:extLst>
                <a:ext uri="{FF2B5EF4-FFF2-40B4-BE49-F238E27FC236}">
                  <a16:creationId xmlns:a16="http://schemas.microsoft.com/office/drawing/2014/main" id="{38C47220-A8CF-46FD-BA57-35625A58E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5858" y="3048001"/>
              <a:ext cx="4246563" cy="2339975"/>
            </a:xfrm>
            <a:custGeom>
              <a:avLst/>
              <a:gdLst>
                <a:gd name="T0" fmla="*/ 0 w 2675"/>
                <a:gd name="T1" fmla="*/ 0 h 1474"/>
                <a:gd name="T2" fmla="*/ 0 w 2675"/>
                <a:gd name="T3" fmla="*/ 0 h 1474"/>
                <a:gd name="T4" fmla="*/ 0 w 2675"/>
                <a:gd name="T5" fmla="*/ 2147483646 h 1474"/>
                <a:gd name="T6" fmla="*/ 2147483646 w 2675"/>
                <a:gd name="T7" fmla="*/ 2147483646 h 147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675" h="1474">
                  <a:moveTo>
                    <a:pt x="0" y="0"/>
                  </a:moveTo>
                  <a:lnTo>
                    <a:pt x="0" y="0"/>
                  </a:lnTo>
                  <a:lnTo>
                    <a:pt x="0" y="1474"/>
                  </a:lnTo>
                  <a:lnTo>
                    <a:pt x="2675" y="1474"/>
                  </a:lnTo>
                </a:path>
              </a:pathLst>
            </a:custGeom>
            <a:noFill/>
            <a:ln w="19050" cap="sq">
              <a:solidFill>
                <a:srgbClr val="01010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33" name="Freeform 7">
              <a:extLst>
                <a:ext uri="{FF2B5EF4-FFF2-40B4-BE49-F238E27FC236}">
                  <a16:creationId xmlns:a16="http://schemas.microsoft.com/office/drawing/2014/main" id="{71976A43-C33A-46EE-AF66-575124F1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3958" y="4221162"/>
              <a:ext cx="4187825" cy="46038"/>
            </a:xfrm>
            <a:custGeom>
              <a:avLst/>
              <a:gdLst>
                <a:gd name="T0" fmla="*/ 0 w 2657"/>
                <a:gd name="T1" fmla="*/ 0 h 45719"/>
                <a:gd name="T2" fmla="*/ 2147483646 w 2657"/>
                <a:gd name="T3" fmla="*/ 0 h 45719"/>
                <a:gd name="T4" fmla="*/ 2147483646 w 2657"/>
                <a:gd name="T5" fmla="*/ 0 h 457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57" h="45719">
                  <a:moveTo>
                    <a:pt x="0" y="0"/>
                  </a:moveTo>
                  <a:lnTo>
                    <a:pt x="2657" y="0"/>
                  </a:lnTo>
                </a:path>
              </a:pathLst>
            </a:custGeom>
            <a:noFill/>
            <a:ln w="19050" cap="flat">
              <a:solidFill>
                <a:srgbClr val="010101"/>
              </a:solidFill>
              <a:prstDash val="sys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</a:endParaRPr>
            </a:p>
          </p:txBody>
        </p:sp>
      </p:grpSp>
      <p:pic>
        <p:nvPicPr>
          <p:cNvPr id="369" name="Picture 368">
            <a:extLst>
              <a:ext uri="{FF2B5EF4-FFF2-40B4-BE49-F238E27FC236}">
                <a16:creationId xmlns:a16="http://schemas.microsoft.com/office/drawing/2014/main" id="{5F24A62D-67A7-4855-A88A-EF471B641A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2530" y="4557634"/>
            <a:ext cx="4240856" cy="2217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38337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2CDA61-7096-488B-9191-411BB7C2C3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Abirateron</a:t>
            </a:r>
            <a:r>
              <a:rPr lang="en-GB" dirty="0"/>
              <a:t> </a:t>
            </a:r>
            <a:r>
              <a:rPr lang="en-US" sz="2400" b="1" dirty="0">
                <a:solidFill>
                  <a:srgbClr val="FF0000"/>
                </a:solidFill>
              </a:rPr>
              <a:t>COU-AA-301</a:t>
            </a:r>
            <a:endParaRPr lang="en-GB" dirty="0">
              <a:solidFill>
                <a:srgbClr val="FF0000"/>
              </a:solidFill>
            </a:endParaRPr>
          </a:p>
        </p:txBody>
      </p:sp>
      <p:pic>
        <p:nvPicPr>
          <p:cNvPr id="37" name="Content Placeholder 36">
            <a:extLst>
              <a:ext uri="{FF2B5EF4-FFF2-40B4-BE49-F238E27FC236}">
                <a16:creationId xmlns:a16="http://schemas.microsoft.com/office/drawing/2014/main" id="{73224282-2D37-4FE2-9525-37D7A2F9C9B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845893" y="2638580"/>
            <a:ext cx="4913802" cy="3023878"/>
          </a:xfr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9F03D69-D5B5-46FF-8DFD-BE792B070CC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GB" dirty="0" err="1"/>
              <a:t>Enzalutamid</a:t>
            </a:r>
            <a:r>
              <a:rPr lang="en-GB" dirty="0"/>
              <a:t> </a:t>
            </a:r>
            <a:r>
              <a:rPr lang="en-GB" dirty="0">
                <a:solidFill>
                  <a:srgbClr val="FF0000"/>
                </a:solidFill>
              </a:rPr>
              <a:t>AFFIRM</a:t>
            </a:r>
          </a:p>
        </p:txBody>
      </p:sp>
      <p:pic>
        <p:nvPicPr>
          <p:cNvPr id="33" name="Content Placeholder 32">
            <a:extLst>
              <a:ext uri="{FF2B5EF4-FFF2-40B4-BE49-F238E27FC236}">
                <a16:creationId xmlns:a16="http://schemas.microsoft.com/office/drawing/2014/main" id="{25AF8962-7ABF-4329-A7D5-9F3277A73328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3"/>
          <a:stretch>
            <a:fillRect/>
          </a:stretch>
        </p:blipFill>
        <p:spPr>
          <a:xfrm>
            <a:off x="6192838" y="2346288"/>
            <a:ext cx="5389562" cy="3608461"/>
          </a:xfrm>
        </p:spPr>
      </p:pic>
      <p:sp>
        <p:nvSpPr>
          <p:cNvPr id="34" name="Title 33">
            <a:extLst>
              <a:ext uri="{FF2B5EF4-FFF2-40B4-BE49-F238E27FC236}">
                <a16:creationId xmlns:a16="http://schemas.microsoft.com/office/drawing/2014/main" id="{E5DFD3BA-0FBD-46E9-B234-CDB7B32A0F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ost </a:t>
            </a:r>
            <a:r>
              <a:rPr lang="en-GB" dirty="0" err="1"/>
              <a:t>Docetaks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718351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87A9A35-9B88-45DC-A7A1-9A70820F5A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4674" y="4742725"/>
            <a:ext cx="10877529" cy="1473927"/>
          </a:xfrm>
        </p:spPr>
        <p:txBody>
          <a:bodyPr/>
          <a:lstStyle/>
          <a:p>
            <a:r>
              <a:rPr lang="en-US" sz="1800" dirty="0"/>
              <a:t>Primary endpoint: imaging-based PFS</a:t>
            </a:r>
          </a:p>
          <a:p>
            <a:r>
              <a:rPr lang="en-US" sz="1800" dirty="0"/>
              <a:t>Secondary endpoint: OS, PFS, PSA response, tumor response, time to SSE, pain response, and safety</a:t>
            </a:r>
          </a:p>
        </p:txBody>
      </p:sp>
      <p:sp>
        <p:nvSpPr>
          <p:cNvPr id="19460" name="Text Box 45">
            <a:extLst>
              <a:ext uri="{FF2B5EF4-FFF2-40B4-BE49-F238E27FC236}">
                <a16:creationId xmlns:a16="http://schemas.microsoft.com/office/drawing/2014/main" id="{73BB8788-EA93-4F80-B091-B8486BEE86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7395" y="2302309"/>
            <a:ext cx="2568575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atients with mCRPC previously treated with </a:t>
            </a:r>
            <a:b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≥ 3 cycles of docetaxel and disease progression after </a:t>
            </a:r>
            <a:b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≤ 12 mos on abiraterone or enzalutamide (before or after docetaxel)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N = 255)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462" name="Rectangle 47">
            <a:extLst>
              <a:ext uri="{FF2B5EF4-FFF2-40B4-BE49-F238E27FC236}">
                <a16:creationId xmlns:a16="http://schemas.microsoft.com/office/drawing/2014/main" id="{D399FC2C-9F96-49BC-868E-62B4C2F89A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44445" y="3218731"/>
            <a:ext cx="104560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ntil PD</a:t>
            </a:r>
          </a:p>
        </p:txBody>
      </p:sp>
      <p:sp>
        <p:nvSpPr>
          <p:cNvPr id="19463" name="Rectangle 49">
            <a:extLst>
              <a:ext uri="{FF2B5EF4-FFF2-40B4-BE49-F238E27FC236}">
                <a16:creationId xmlns:a16="http://schemas.microsoft.com/office/drawing/2014/main" id="{C346F25D-ABA6-46CD-940B-7C5654E37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5160" y="2213565"/>
            <a:ext cx="4937760" cy="10972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bazitaxel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5 mg/m</a:t>
            </a:r>
            <a:r>
              <a:rPr kumimoji="0" lang="en-US" alt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Q3W </a:t>
            </a:r>
            <a:b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+ </a:t>
            </a: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dnisone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+ </a:t>
            </a: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-CSF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n = 129)</a:t>
            </a:r>
          </a:p>
        </p:txBody>
      </p:sp>
      <p:sp>
        <p:nvSpPr>
          <p:cNvPr id="19464" name="Rectangle 50">
            <a:extLst>
              <a:ext uri="{FF2B5EF4-FFF2-40B4-BE49-F238E27FC236}">
                <a16:creationId xmlns:a16="http://schemas.microsoft.com/office/drawing/2014/main" id="{FD3256D1-4424-49E5-A490-F3D2F22819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5160" y="3505400"/>
            <a:ext cx="4937760" cy="10972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zalutamide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60 mg QD </a:t>
            </a:r>
            <a:r>
              <a:rPr kumimoji="0" lang="en-US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r</a:t>
            </a:r>
            <a:b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biraterone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0 mg QD +</a:t>
            </a: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rednisone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 mg BID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n = 126)</a:t>
            </a:r>
          </a:p>
        </p:txBody>
      </p:sp>
      <p:sp>
        <p:nvSpPr>
          <p:cNvPr id="19467" name="Line 53">
            <a:extLst>
              <a:ext uri="{FF2B5EF4-FFF2-40B4-BE49-F238E27FC236}">
                <a16:creationId xmlns:a16="http://schemas.microsoft.com/office/drawing/2014/main" id="{19B47B8E-7D11-46DE-BD1E-B2309FDE5C23}"/>
              </a:ext>
            </a:extLst>
          </p:cNvPr>
          <p:cNvSpPr>
            <a:spLocks noChangeShapeType="1"/>
          </p:cNvSpPr>
          <p:nvPr/>
        </p:nvSpPr>
        <p:spPr bwMode="auto">
          <a:xfrm>
            <a:off x="3698560" y="3513338"/>
            <a:ext cx="622300" cy="350837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468" name="Line 54">
            <a:extLst>
              <a:ext uri="{FF2B5EF4-FFF2-40B4-BE49-F238E27FC236}">
                <a16:creationId xmlns:a16="http://schemas.microsoft.com/office/drawing/2014/main" id="{D1F2E6DC-39ED-43FE-A784-E6851ADCA3E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98560" y="2565990"/>
            <a:ext cx="622300" cy="347662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759AEA22-3575-4E53-B173-31569087AA43}"/>
              </a:ext>
            </a:extLst>
          </p:cNvPr>
          <p:cNvCxnSpPr/>
          <p:nvPr/>
        </p:nvCxnSpPr>
        <p:spPr bwMode="auto">
          <a:xfrm>
            <a:off x="9522065" y="3403397"/>
            <a:ext cx="457200" cy="3997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30BB3746-9F63-4BF1-BA84-DAE833FB12B5}"/>
              </a:ext>
            </a:extLst>
          </p:cNvPr>
          <p:cNvSpPr txBox="1"/>
          <p:nvPr/>
        </p:nvSpPr>
        <p:spPr bwMode="auto">
          <a:xfrm>
            <a:off x="1346575" y="1474901"/>
            <a:ext cx="513612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ratified by ECOG PS (0/1 vs 2), time to progression of prior alternative ARTA (≤ 6 mos vs &gt; 6-12 mos), timing of prior </a:t>
            </a:r>
            <a:b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R-targeted therapy (before vs after docetaxel)</a:t>
            </a:r>
          </a:p>
        </p:txBody>
      </p:sp>
      <p:sp>
        <p:nvSpPr>
          <p:cNvPr id="7" name="Text Box 11">
            <a:extLst>
              <a:ext uri="{FF2B5EF4-FFF2-40B4-BE49-F238E27FC236}">
                <a16:creationId xmlns:a16="http://schemas.microsoft.com/office/drawing/2014/main" id="{C4449AFE-0DCC-4591-A181-ACB81FC570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1631" y="6408017"/>
            <a:ext cx="8564562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ヒラギノ角ゴ Pro W3" charset="-128"/>
                <a:cs typeface="Calibri" panose="020F0502020204030204" pitchFamily="34" charset="0"/>
              </a:rPr>
              <a:t>de Wit. NEJM. 2019;381:2506.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418B7C81-F35C-4ADF-A85C-F67995BBE8E9}"/>
              </a:ext>
            </a:extLst>
          </p:cNvPr>
          <p:cNvCxnSpPr>
            <a:cxnSpLocks/>
          </p:cNvCxnSpPr>
          <p:nvPr/>
        </p:nvCxnSpPr>
        <p:spPr bwMode="auto">
          <a:xfrm>
            <a:off x="3815779" y="2213565"/>
            <a:ext cx="0" cy="526256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6" name="Title 33">
            <a:extLst>
              <a:ext uri="{FF2B5EF4-FFF2-40B4-BE49-F238E27FC236}">
                <a16:creationId xmlns:a16="http://schemas.microsoft.com/office/drawing/2014/main" id="{C6C0E4E8-C9D0-4394-B2F4-EBE23F26B44D}"/>
              </a:ext>
            </a:extLst>
          </p:cNvPr>
          <p:cNvSpPr txBox="1">
            <a:spLocks/>
          </p:cNvSpPr>
          <p:nvPr/>
        </p:nvSpPr>
        <p:spPr bwMode="auto">
          <a:xfrm>
            <a:off x="0" y="0"/>
            <a:ext cx="12192000" cy="1574686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r>
              <a:rPr kumimoji="0" lang="en-GB" sz="4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CARD Trial: </a:t>
            </a:r>
            <a:br>
              <a:rPr kumimoji="0" lang="en-GB" sz="4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</a:b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Phase IV Trial of </a:t>
            </a:r>
            <a:r>
              <a:rPr kumimoji="0" lang="en-GB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Cabazitaxel</a:t>
            </a: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 yada  Abiraterone or Enzalutamide</a:t>
            </a:r>
            <a:b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</a:br>
            <a:r>
              <a:rPr kumimoji="0" lang="en-GB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Progresif</a:t>
            </a: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 </a:t>
            </a:r>
            <a:r>
              <a:rPr kumimoji="0" lang="en-GB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mKDPK</a:t>
            </a: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 Post </a:t>
            </a:r>
            <a:r>
              <a:rPr kumimoji="0" lang="en-GB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Dosetaksel</a:t>
            </a:r>
            <a:endParaRPr lang="en-US" altLang="en-US" sz="28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F06812-1820-4D48-A41A-C72E34CE76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FS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F58698F5-9649-4AAD-BE11-072EA4B69A0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635597"/>
            <a:ext cx="5386388" cy="3029843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8DA8A1D-2C71-4D86-B993-7C60956A59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GB" dirty="0"/>
              <a:t>OS</a:t>
            </a:r>
          </a:p>
        </p:txBody>
      </p:sp>
      <p:pic>
        <p:nvPicPr>
          <p:cNvPr id="14" name="Content Placeholder 13">
            <a:extLst>
              <a:ext uri="{FF2B5EF4-FFF2-40B4-BE49-F238E27FC236}">
                <a16:creationId xmlns:a16="http://schemas.microsoft.com/office/drawing/2014/main" id="{81081073-9618-4249-AA49-D6D14A357DDE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838" y="2634705"/>
            <a:ext cx="5389562" cy="3031628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DCB1EB4-1D5D-425B-81C0-C6DB218E1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1412775"/>
          </a:xfrm>
        </p:spPr>
        <p:txBody>
          <a:bodyPr/>
          <a:lstStyle/>
          <a:p>
            <a:r>
              <a:rPr lang="en-GB" sz="4000" dirty="0"/>
              <a:t>Post </a:t>
            </a:r>
            <a:r>
              <a:rPr lang="en-GB" sz="4000" dirty="0" err="1"/>
              <a:t>Docetaksel</a:t>
            </a:r>
            <a:r>
              <a:rPr lang="en-GB" sz="4000" dirty="0"/>
              <a:t>: CARD Trial: </a:t>
            </a:r>
            <a:br>
              <a:rPr lang="en-GB" dirty="0"/>
            </a:br>
            <a:r>
              <a:rPr lang="en-GB" sz="2800" dirty="0"/>
              <a:t>Phase IV Trial of </a:t>
            </a:r>
            <a:r>
              <a:rPr lang="en-GB" sz="2800" dirty="0" err="1"/>
              <a:t>Cabazitaxel</a:t>
            </a:r>
            <a:r>
              <a:rPr lang="en-GB" sz="2800" dirty="0"/>
              <a:t> yada  Abiraterone or Enzalutamide</a:t>
            </a:r>
            <a:br>
              <a:rPr lang="en-GB" sz="2800" dirty="0"/>
            </a:br>
            <a:r>
              <a:rPr lang="en-GB" sz="2800" dirty="0" err="1"/>
              <a:t>Progresif</a:t>
            </a:r>
            <a:r>
              <a:rPr lang="en-GB" sz="2800" dirty="0"/>
              <a:t> </a:t>
            </a:r>
            <a:r>
              <a:rPr lang="en-GB" sz="2800" dirty="0" err="1"/>
              <a:t>mKDPK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33717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1"/>
          <p:cNvGrpSpPr/>
          <p:nvPr/>
        </p:nvGrpSpPr>
        <p:grpSpPr>
          <a:xfrm>
            <a:off x="3200102" y="2528492"/>
            <a:ext cx="5560194" cy="2484685"/>
            <a:chOff x="611559" y="764703"/>
            <a:chExt cx="8229600" cy="4625975"/>
          </a:xfrm>
          <a:solidFill>
            <a:schemeClr val="accent2">
              <a:lumMod val="75000"/>
            </a:schemeClr>
          </a:solidFill>
        </p:grpSpPr>
        <p:sp>
          <p:nvSpPr>
            <p:cNvPr id="3" name="Serbest Form 2"/>
            <p:cNvSpPr/>
            <p:nvPr/>
          </p:nvSpPr>
          <p:spPr>
            <a:xfrm rot="21600000">
              <a:off x="611559" y="764703"/>
              <a:ext cx="4114800" cy="2312988"/>
            </a:xfrm>
            <a:custGeom>
              <a:avLst/>
              <a:gdLst>
                <a:gd name="connsiteX0" fmla="*/ 0 w 2312987"/>
                <a:gd name="connsiteY0" fmla="*/ 385506 h 4114799"/>
                <a:gd name="connsiteX1" fmla="*/ 385506 w 2312987"/>
                <a:gd name="connsiteY1" fmla="*/ 0 h 4114799"/>
                <a:gd name="connsiteX2" fmla="*/ 1927481 w 2312987"/>
                <a:gd name="connsiteY2" fmla="*/ 0 h 4114799"/>
                <a:gd name="connsiteX3" fmla="*/ 2312987 w 2312987"/>
                <a:gd name="connsiteY3" fmla="*/ 385506 h 4114799"/>
                <a:gd name="connsiteX4" fmla="*/ 2312987 w 2312987"/>
                <a:gd name="connsiteY4" fmla="*/ 3729293 h 4114799"/>
                <a:gd name="connsiteX5" fmla="*/ 1927481 w 2312987"/>
                <a:gd name="connsiteY5" fmla="*/ 4114799 h 4114799"/>
                <a:gd name="connsiteX6" fmla="*/ 385506 w 2312987"/>
                <a:gd name="connsiteY6" fmla="*/ 4114799 h 4114799"/>
                <a:gd name="connsiteX7" fmla="*/ 0 w 2312987"/>
                <a:gd name="connsiteY7" fmla="*/ 3729293 h 4114799"/>
                <a:gd name="connsiteX8" fmla="*/ 0 w 2312987"/>
                <a:gd name="connsiteY8" fmla="*/ 385506 h 411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12987" h="4114799">
                  <a:moveTo>
                    <a:pt x="216698" y="4114798"/>
                  </a:moveTo>
                  <a:cubicBezTo>
                    <a:pt x="97019" y="4114798"/>
                    <a:pt x="0" y="3807749"/>
                    <a:pt x="0" y="3428984"/>
                  </a:cubicBezTo>
                  <a:lnTo>
                    <a:pt x="0" y="685815"/>
                  </a:lnTo>
                  <a:cubicBezTo>
                    <a:pt x="0" y="307050"/>
                    <a:pt x="97019" y="1"/>
                    <a:pt x="216698" y="1"/>
                  </a:cubicBezTo>
                  <a:lnTo>
                    <a:pt x="2096289" y="1"/>
                  </a:lnTo>
                  <a:cubicBezTo>
                    <a:pt x="2215968" y="1"/>
                    <a:pt x="2312987" y="307050"/>
                    <a:pt x="2312987" y="685815"/>
                  </a:cubicBezTo>
                  <a:lnTo>
                    <a:pt x="2312987" y="3428984"/>
                  </a:lnTo>
                  <a:cubicBezTo>
                    <a:pt x="2312987" y="3807749"/>
                    <a:pt x="2215968" y="4114798"/>
                    <a:pt x="2096289" y="4114798"/>
                  </a:cubicBezTo>
                  <a:lnTo>
                    <a:pt x="216698" y="4114798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solidFill>
                <a:srgbClr val="FF0000">
                  <a:alpha val="98000"/>
                </a:srgbClr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spcFirstLastPara="0" vert="horz" wrap="square" lIns="199136" tIns="199136" rIns="199136" bIns="777383" numCol="1" spcCol="1270" anchor="ctr" anchorCtr="0">
              <a:noAutofit/>
            </a:bodyPr>
            <a:lstStyle/>
            <a:p>
              <a:pPr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tr-TR" sz="2000" b="1" dirty="0">
                  <a:solidFill>
                    <a:prstClr val="white"/>
                  </a:solidFill>
                  <a:latin typeface="Arial"/>
                </a:rPr>
                <a:t>Klasik Ant</a:t>
              </a:r>
              <a:r>
                <a:rPr lang="en-GB" sz="2000" b="1" dirty="0" err="1">
                  <a:solidFill>
                    <a:prstClr val="white"/>
                  </a:solidFill>
                  <a:latin typeface="Arial"/>
                </a:rPr>
                <a:t>i</a:t>
              </a:r>
              <a:r>
                <a:rPr lang="tr-TR" sz="2000" b="1" dirty="0" err="1">
                  <a:solidFill>
                    <a:prstClr val="white"/>
                  </a:solidFill>
                  <a:latin typeface="Arial"/>
                </a:rPr>
                <a:t>neoplastikler</a:t>
              </a:r>
              <a:endParaRPr lang="tr-TR" sz="2000" b="1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" name="Serbest Form 4"/>
            <p:cNvSpPr/>
            <p:nvPr/>
          </p:nvSpPr>
          <p:spPr>
            <a:xfrm>
              <a:off x="4726359" y="764704"/>
              <a:ext cx="4114799" cy="2312987"/>
            </a:xfrm>
            <a:custGeom>
              <a:avLst/>
              <a:gdLst>
                <a:gd name="connsiteX0" fmla="*/ 0 w 4114799"/>
                <a:gd name="connsiteY0" fmla="*/ 385506 h 2312987"/>
                <a:gd name="connsiteX1" fmla="*/ 385506 w 4114799"/>
                <a:gd name="connsiteY1" fmla="*/ 0 h 2312987"/>
                <a:gd name="connsiteX2" fmla="*/ 3729293 w 4114799"/>
                <a:gd name="connsiteY2" fmla="*/ 0 h 2312987"/>
                <a:gd name="connsiteX3" fmla="*/ 4114799 w 4114799"/>
                <a:gd name="connsiteY3" fmla="*/ 385506 h 2312987"/>
                <a:gd name="connsiteX4" fmla="*/ 4114799 w 4114799"/>
                <a:gd name="connsiteY4" fmla="*/ 1927481 h 2312987"/>
                <a:gd name="connsiteX5" fmla="*/ 3729293 w 4114799"/>
                <a:gd name="connsiteY5" fmla="*/ 2312987 h 2312987"/>
                <a:gd name="connsiteX6" fmla="*/ 385506 w 4114799"/>
                <a:gd name="connsiteY6" fmla="*/ 2312987 h 2312987"/>
                <a:gd name="connsiteX7" fmla="*/ 0 w 4114799"/>
                <a:gd name="connsiteY7" fmla="*/ 1927481 h 2312987"/>
                <a:gd name="connsiteX8" fmla="*/ 0 w 4114799"/>
                <a:gd name="connsiteY8" fmla="*/ 385506 h 231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14799" h="2312987">
                  <a:moveTo>
                    <a:pt x="0" y="385506"/>
                  </a:moveTo>
                  <a:cubicBezTo>
                    <a:pt x="0" y="172597"/>
                    <a:pt x="172597" y="0"/>
                    <a:pt x="385506" y="0"/>
                  </a:cubicBezTo>
                  <a:lnTo>
                    <a:pt x="3729293" y="0"/>
                  </a:lnTo>
                  <a:cubicBezTo>
                    <a:pt x="3942202" y="0"/>
                    <a:pt x="4114799" y="172597"/>
                    <a:pt x="4114799" y="385506"/>
                  </a:cubicBezTo>
                  <a:lnTo>
                    <a:pt x="4114799" y="1927481"/>
                  </a:lnTo>
                  <a:cubicBezTo>
                    <a:pt x="4114799" y="2140390"/>
                    <a:pt x="3942202" y="2312987"/>
                    <a:pt x="3729293" y="2312987"/>
                  </a:cubicBezTo>
                  <a:lnTo>
                    <a:pt x="385506" y="2312987"/>
                  </a:lnTo>
                  <a:cubicBezTo>
                    <a:pt x="172597" y="2312987"/>
                    <a:pt x="0" y="2140390"/>
                    <a:pt x="0" y="1927481"/>
                  </a:cubicBezTo>
                  <a:lnTo>
                    <a:pt x="0" y="38550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solidFill>
                <a:srgbClr val="FF0000">
                  <a:alpha val="98000"/>
                </a:srgbClr>
              </a:solidFill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spcFirstLastPara="0" vert="horz" wrap="square" lIns="199136" tIns="199136" rIns="199136" bIns="777383" numCol="1" spcCol="1270" anchor="ctr" anchorCtr="0">
              <a:noAutofit/>
            </a:bodyPr>
            <a:lstStyle/>
            <a:p>
              <a:pPr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GB" sz="2000" b="1" dirty="0" err="1">
                  <a:solidFill>
                    <a:prstClr val="white"/>
                  </a:solidFill>
                  <a:latin typeface="Arial"/>
                </a:rPr>
                <a:t>Endokrin</a:t>
              </a:r>
              <a:r>
                <a:rPr lang="en-GB" sz="2000" b="1" dirty="0">
                  <a:solidFill>
                    <a:prstClr val="white"/>
                  </a:solidFill>
                  <a:latin typeface="Arial"/>
                </a:rPr>
                <a:t> </a:t>
              </a:r>
              <a:r>
                <a:rPr lang="tr-TR" sz="2000" b="1" dirty="0">
                  <a:solidFill>
                    <a:prstClr val="white"/>
                  </a:solidFill>
                  <a:latin typeface="Arial"/>
                </a:rPr>
                <a:t>Yaklaşımlar</a:t>
              </a:r>
              <a:endParaRPr lang="en-US" sz="2000" b="1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6" name="Serbest Form 5"/>
            <p:cNvSpPr/>
            <p:nvPr/>
          </p:nvSpPr>
          <p:spPr>
            <a:xfrm rot="21600000">
              <a:off x="611559" y="3077690"/>
              <a:ext cx="4114800" cy="2312988"/>
            </a:xfrm>
            <a:custGeom>
              <a:avLst/>
              <a:gdLst>
                <a:gd name="connsiteX0" fmla="*/ 0 w 4114799"/>
                <a:gd name="connsiteY0" fmla="*/ 385506 h 2312987"/>
                <a:gd name="connsiteX1" fmla="*/ 385506 w 4114799"/>
                <a:gd name="connsiteY1" fmla="*/ 0 h 2312987"/>
                <a:gd name="connsiteX2" fmla="*/ 3729293 w 4114799"/>
                <a:gd name="connsiteY2" fmla="*/ 0 h 2312987"/>
                <a:gd name="connsiteX3" fmla="*/ 4114799 w 4114799"/>
                <a:gd name="connsiteY3" fmla="*/ 385506 h 2312987"/>
                <a:gd name="connsiteX4" fmla="*/ 4114799 w 4114799"/>
                <a:gd name="connsiteY4" fmla="*/ 1927481 h 2312987"/>
                <a:gd name="connsiteX5" fmla="*/ 3729293 w 4114799"/>
                <a:gd name="connsiteY5" fmla="*/ 2312987 h 2312987"/>
                <a:gd name="connsiteX6" fmla="*/ 385506 w 4114799"/>
                <a:gd name="connsiteY6" fmla="*/ 2312987 h 2312987"/>
                <a:gd name="connsiteX7" fmla="*/ 0 w 4114799"/>
                <a:gd name="connsiteY7" fmla="*/ 1927481 h 2312987"/>
                <a:gd name="connsiteX8" fmla="*/ 0 w 4114799"/>
                <a:gd name="connsiteY8" fmla="*/ 385506 h 2312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14799" h="2312987">
                  <a:moveTo>
                    <a:pt x="4114799" y="1927481"/>
                  </a:moveTo>
                  <a:cubicBezTo>
                    <a:pt x="4114799" y="2140390"/>
                    <a:pt x="3942202" y="2312987"/>
                    <a:pt x="3729293" y="2312987"/>
                  </a:cubicBezTo>
                  <a:lnTo>
                    <a:pt x="385506" y="2312987"/>
                  </a:lnTo>
                  <a:cubicBezTo>
                    <a:pt x="172597" y="2312987"/>
                    <a:pt x="0" y="2140390"/>
                    <a:pt x="0" y="1927481"/>
                  </a:cubicBezTo>
                  <a:lnTo>
                    <a:pt x="0" y="385506"/>
                  </a:lnTo>
                  <a:cubicBezTo>
                    <a:pt x="0" y="172597"/>
                    <a:pt x="172597" y="0"/>
                    <a:pt x="385506" y="0"/>
                  </a:cubicBezTo>
                  <a:lnTo>
                    <a:pt x="3729293" y="0"/>
                  </a:lnTo>
                  <a:cubicBezTo>
                    <a:pt x="3942202" y="0"/>
                    <a:pt x="4114799" y="172597"/>
                    <a:pt x="4114799" y="385506"/>
                  </a:cubicBezTo>
                  <a:lnTo>
                    <a:pt x="4114799" y="1927481"/>
                  </a:lnTo>
                  <a:close/>
                </a:path>
              </a:pathLst>
            </a:custGeom>
            <a:grpFill/>
            <a:ln>
              <a:solidFill>
                <a:srgbClr val="FF0000">
                  <a:alpha val="98000"/>
                </a:srgbClr>
              </a:solidFill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spcFirstLastPara="0" vert="horz" wrap="square" lIns="199136" tIns="777384" rIns="199136" bIns="199136" numCol="1" spcCol="1270" anchor="ctr" anchorCtr="0">
              <a:noAutofit/>
            </a:bodyPr>
            <a:lstStyle/>
            <a:p>
              <a:pPr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tr-TR" sz="2000" b="1" dirty="0" err="1">
                  <a:solidFill>
                    <a:prstClr val="white"/>
                  </a:solidFill>
                  <a:latin typeface="Arial"/>
                </a:rPr>
                <a:t>İmmunoonkoloji</a:t>
              </a:r>
              <a:endParaRPr lang="en-US" sz="2000" b="1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7" name="Serbest Form 6"/>
            <p:cNvSpPr/>
            <p:nvPr/>
          </p:nvSpPr>
          <p:spPr>
            <a:xfrm>
              <a:off x="4726360" y="3077691"/>
              <a:ext cx="4114799" cy="2312987"/>
            </a:xfrm>
            <a:custGeom>
              <a:avLst/>
              <a:gdLst>
                <a:gd name="connsiteX0" fmla="*/ 0 w 2312987"/>
                <a:gd name="connsiteY0" fmla="*/ 385506 h 4114799"/>
                <a:gd name="connsiteX1" fmla="*/ 385506 w 2312987"/>
                <a:gd name="connsiteY1" fmla="*/ 0 h 4114799"/>
                <a:gd name="connsiteX2" fmla="*/ 1927481 w 2312987"/>
                <a:gd name="connsiteY2" fmla="*/ 0 h 4114799"/>
                <a:gd name="connsiteX3" fmla="*/ 2312987 w 2312987"/>
                <a:gd name="connsiteY3" fmla="*/ 385506 h 4114799"/>
                <a:gd name="connsiteX4" fmla="*/ 2312987 w 2312987"/>
                <a:gd name="connsiteY4" fmla="*/ 3729293 h 4114799"/>
                <a:gd name="connsiteX5" fmla="*/ 1927481 w 2312987"/>
                <a:gd name="connsiteY5" fmla="*/ 4114799 h 4114799"/>
                <a:gd name="connsiteX6" fmla="*/ 385506 w 2312987"/>
                <a:gd name="connsiteY6" fmla="*/ 4114799 h 4114799"/>
                <a:gd name="connsiteX7" fmla="*/ 0 w 2312987"/>
                <a:gd name="connsiteY7" fmla="*/ 3729293 h 4114799"/>
                <a:gd name="connsiteX8" fmla="*/ 0 w 2312987"/>
                <a:gd name="connsiteY8" fmla="*/ 385506 h 411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12987" h="4114799">
                  <a:moveTo>
                    <a:pt x="2096289" y="1"/>
                  </a:moveTo>
                  <a:cubicBezTo>
                    <a:pt x="2215968" y="1"/>
                    <a:pt x="2312987" y="307050"/>
                    <a:pt x="2312987" y="685815"/>
                  </a:cubicBezTo>
                  <a:lnTo>
                    <a:pt x="2312987" y="3428984"/>
                  </a:lnTo>
                  <a:cubicBezTo>
                    <a:pt x="2312987" y="3807749"/>
                    <a:pt x="2215968" y="4114798"/>
                    <a:pt x="2096289" y="4114798"/>
                  </a:cubicBezTo>
                  <a:lnTo>
                    <a:pt x="216698" y="4114798"/>
                  </a:lnTo>
                  <a:cubicBezTo>
                    <a:pt x="97019" y="4114798"/>
                    <a:pt x="0" y="3807749"/>
                    <a:pt x="0" y="3428984"/>
                  </a:cubicBezTo>
                  <a:lnTo>
                    <a:pt x="0" y="685815"/>
                  </a:lnTo>
                  <a:cubicBezTo>
                    <a:pt x="0" y="307050"/>
                    <a:pt x="97019" y="1"/>
                    <a:pt x="216698" y="1"/>
                  </a:cubicBezTo>
                  <a:lnTo>
                    <a:pt x="2096289" y="1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38100">
              <a:solidFill>
                <a:srgbClr val="FF0000"/>
              </a:solidFill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spcFirstLastPara="0" vert="horz" wrap="square" lIns="199136" tIns="777382" rIns="199136" bIns="199137" numCol="1" spcCol="1270" anchor="ctr" anchorCtr="0">
              <a:noAutofit/>
            </a:bodyPr>
            <a:lstStyle/>
            <a:p>
              <a:pPr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tr-TR" sz="2000" b="1" dirty="0">
                  <a:solidFill>
                    <a:prstClr val="white"/>
                  </a:solidFill>
                  <a:latin typeface="Arial"/>
                </a:rPr>
                <a:t>Biyolojik hedef</a:t>
              </a:r>
              <a:endParaRPr lang="en-US" sz="2000" b="1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8" name="Serbest Form 7"/>
            <p:cNvSpPr/>
            <p:nvPr/>
          </p:nvSpPr>
          <p:spPr>
            <a:xfrm>
              <a:off x="1806979" y="2006305"/>
              <a:ext cx="6074972" cy="2142774"/>
            </a:xfrm>
            <a:custGeom>
              <a:avLst/>
              <a:gdLst>
                <a:gd name="connsiteX0" fmla="*/ 0 w 10000"/>
                <a:gd name="connsiteY0" fmla="*/ 5000 h 10000"/>
                <a:gd name="connsiteX1" fmla="*/ 5000 w 10000"/>
                <a:gd name="connsiteY1" fmla="*/ 0 h 10000"/>
                <a:gd name="connsiteX2" fmla="*/ 10000 w 10000"/>
                <a:gd name="connsiteY2" fmla="*/ 5000 h 10000"/>
                <a:gd name="connsiteX3" fmla="*/ 5000 w 10000"/>
                <a:gd name="connsiteY3" fmla="*/ 10000 h 10000"/>
                <a:gd name="connsiteX4" fmla="*/ 0 w 10000"/>
                <a:gd name="connsiteY4" fmla="*/ 5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5000"/>
                  </a:moveTo>
                  <a:lnTo>
                    <a:pt x="5000" y="0"/>
                  </a:lnTo>
                  <a:lnTo>
                    <a:pt x="10000" y="5000"/>
                  </a:lnTo>
                  <a:lnTo>
                    <a:pt x="5000" y="10000"/>
                  </a:lnTo>
                  <a:lnTo>
                    <a:pt x="0" y="5000"/>
                  </a:lnTo>
                  <a:close/>
                </a:path>
              </a:pathLst>
            </a:custGeom>
            <a:solidFill>
              <a:srgbClr val="FFFF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89638" tIns="642374" rIns="1289637" bIns="642373" numCol="1" spcCol="1270" anchor="ctr" anchorCtr="0">
              <a:noAutofit/>
            </a:bodyPr>
            <a:lstStyle/>
            <a:p>
              <a:pPr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tr-TR" sz="2200" b="1" dirty="0">
                  <a:solidFill>
                    <a:srgbClr val="481F67"/>
                  </a:solidFill>
                  <a:latin typeface="Arial"/>
                </a:rPr>
                <a:t>Sistemik</a:t>
              </a:r>
              <a:endParaRPr lang="en-US" sz="2200" b="1" dirty="0">
                <a:solidFill>
                  <a:srgbClr val="481F67"/>
                </a:solidFill>
                <a:latin typeface="Arial"/>
              </a:endParaRPr>
            </a:p>
          </p:txBody>
        </p:sp>
      </p:grpSp>
      <p:sp>
        <p:nvSpPr>
          <p:cNvPr id="12" name="Yuvarlatılmış Dikdörtgen 11"/>
          <p:cNvSpPr/>
          <p:nvPr/>
        </p:nvSpPr>
        <p:spPr>
          <a:xfrm>
            <a:off x="8760298" y="188640"/>
            <a:ext cx="3096342" cy="2482378"/>
          </a:xfrm>
          <a:prstGeom prst="round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GB" sz="2000" b="1" dirty="0">
                <a:solidFill>
                  <a:prstClr val="white"/>
                </a:solidFill>
                <a:latin typeface="Arial"/>
              </a:rPr>
              <a:t>LHRH </a:t>
            </a:r>
            <a:r>
              <a:rPr lang="en-GB" sz="2000" b="1" dirty="0" err="1">
                <a:solidFill>
                  <a:prstClr val="white"/>
                </a:solidFill>
                <a:latin typeface="Arial"/>
              </a:rPr>
              <a:t>Analogları</a:t>
            </a:r>
            <a:endParaRPr lang="en-GB" sz="2000" b="1" dirty="0">
              <a:solidFill>
                <a:prstClr val="white"/>
              </a:solidFill>
              <a:latin typeface="Arial"/>
            </a:endParaRPr>
          </a:p>
          <a:p>
            <a:pPr>
              <a:defRPr/>
            </a:pPr>
            <a:r>
              <a:rPr lang="en-GB" sz="2000" dirty="0">
                <a:solidFill>
                  <a:prstClr val="white"/>
                </a:solidFill>
                <a:latin typeface="Arial"/>
              </a:rPr>
              <a:t>LHRH </a:t>
            </a:r>
            <a:r>
              <a:rPr lang="en-GB" sz="2000" dirty="0" err="1">
                <a:solidFill>
                  <a:prstClr val="white"/>
                </a:solidFill>
                <a:latin typeface="Arial"/>
              </a:rPr>
              <a:t>Antagonistleri</a:t>
            </a:r>
            <a:endParaRPr lang="en-GB" sz="2000" b="1" dirty="0">
              <a:solidFill>
                <a:prstClr val="white"/>
              </a:solidFill>
              <a:latin typeface="Arial"/>
            </a:endParaRPr>
          </a:p>
          <a:p>
            <a:pPr>
              <a:defRPr/>
            </a:pPr>
            <a:r>
              <a:rPr lang="en-GB" sz="2000" b="1" dirty="0" err="1">
                <a:solidFill>
                  <a:prstClr val="white"/>
                </a:solidFill>
                <a:latin typeface="Arial"/>
              </a:rPr>
              <a:t>Antiandrojen</a:t>
            </a:r>
            <a:endParaRPr lang="en-GB" sz="2000" b="1" dirty="0">
              <a:solidFill>
                <a:prstClr val="white"/>
              </a:solidFill>
              <a:latin typeface="Arial"/>
            </a:endParaRPr>
          </a:p>
          <a:p>
            <a:pPr>
              <a:defRPr/>
            </a:pPr>
            <a:r>
              <a:rPr lang="en-GB" sz="2000" b="1" dirty="0" err="1">
                <a:solidFill>
                  <a:prstClr val="white"/>
                </a:solidFill>
                <a:latin typeface="Arial"/>
              </a:rPr>
              <a:t>Abirateron</a:t>
            </a:r>
            <a:endParaRPr lang="en-GB" sz="2000" b="1" dirty="0">
              <a:solidFill>
                <a:prstClr val="white"/>
              </a:solidFill>
              <a:latin typeface="Arial"/>
            </a:endParaRPr>
          </a:p>
          <a:p>
            <a:pPr>
              <a:defRPr/>
            </a:pPr>
            <a:r>
              <a:rPr lang="en-GB" sz="2000" b="1" dirty="0" err="1">
                <a:solidFill>
                  <a:prstClr val="white"/>
                </a:solidFill>
                <a:latin typeface="Arial"/>
              </a:rPr>
              <a:t>Enzalutamid</a:t>
            </a:r>
            <a:endParaRPr lang="en-GB" sz="2000" b="1" dirty="0">
              <a:solidFill>
                <a:prstClr val="white"/>
              </a:solidFill>
              <a:latin typeface="Arial"/>
            </a:endParaRPr>
          </a:p>
          <a:p>
            <a:pPr>
              <a:defRPr/>
            </a:pPr>
            <a:r>
              <a:rPr lang="en-GB" sz="2000" b="1" dirty="0">
                <a:solidFill>
                  <a:prstClr val="white"/>
                </a:solidFill>
                <a:latin typeface="Arial"/>
              </a:rPr>
              <a:t>Apalutamide</a:t>
            </a:r>
          </a:p>
          <a:p>
            <a:pPr>
              <a:defRPr/>
            </a:pPr>
            <a:r>
              <a:rPr lang="en-GB" sz="2000" dirty="0" err="1">
                <a:solidFill>
                  <a:prstClr val="white"/>
                </a:solidFill>
                <a:latin typeface="Arial"/>
              </a:rPr>
              <a:t>Doralutamide</a:t>
            </a:r>
            <a:endParaRPr lang="tr-TR" sz="2000" b="1" dirty="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14" name="Düz Ok Bağlayıcısı 13"/>
          <p:cNvCxnSpPr>
            <a:cxnSpLocks/>
            <a:stCxn id="3" idx="0"/>
            <a:endCxn id="16" idx="2"/>
          </p:cNvCxnSpPr>
          <p:nvPr/>
        </p:nvCxnSpPr>
        <p:spPr>
          <a:xfrm flipV="1">
            <a:off x="3200102" y="1861610"/>
            <a:ext cx="15578" cy="783274"/>
          </a:xfrm>
          <a:prstGeom prst="straightConnector1">
            <a:avLst/>
          </a:prstGeom>
          <a:ln w="508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Yuvarlatılmış Dikdörtgen 15"/>
          <p:cNvSpPr/>
          <p:nvPr/>
        </p:nvSpPr>
        <p:spPr>
          <a:xfrm>
            <a:off x="1919536" y="326164"/>
            <a:ext cx="2592288" cy="1535446"/>
          </a:xfrm>
          <a:prstGeom prst="round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sz="2000" b="1" dirty="0" err="1">
                <a:solidFill>
                  <a:prstClr val="white"/>
                </a:solidFill>
                <a:latin typeface="Arial"/>
              </a:rPr>
              <a:t>Dosetaksel</a:t>
            </a:r>
            <a:endParaRPr lang="en-GB" sz="2000" b="1" dirty="0">
              <a:solidFill>
                <a:prstClr val="white"/>
              </a:solidFill>
              <a:latin typeface="Arial"/>
            </a:endParaRPr>
          </a:p>
          <a:p>
            <a:pPr algn="ctr">
              <a:defRPr/>
            </a:pPr>
            <a:r>
              <a:rPr lang="en-GB" sz="2000" b="1" dirty="0" err="1">
                <a:solidFill>
                  <a:prstClr val="white"/>
                </a:solidFill>
                <a:latin typeface="Arial"/>
              </a:rPr>
              <a:t>Kabasitaksel</a:t>
            </a:r>
            <a:r>
              <a:rPr lang="en-GB" sz="2000" b="1" dirty="0">
                <a:solidFill>
                  <a:prstClr val="white"/>
                </a:solidFill>
                <a:latin typeface="Arial"/>
              </a:rPr>
              <a:t> </a:t>
            </a:r>
          </a:p>
          <a:p>
            <a:pPr algn="ctr">
              <a:defRPr/>
            </a:pPr>
            <a:endParaRPr lang="en-US" sz="2000" b="1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7" name="Yuvarlatılmış Dikdörtgen 16"/>
          <p:cNvSpPr/>
          <p:nvPr/>
        </p:nvSpPr>
        <p:spPr>
          <a:xfrm>
            <a:off x="1855118" y="5691919"/>
            <a:ext cx="2728714" cy="839918"/>
          </a:xfrm>
          <a:prstGeom prst="round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sz="2000" b="1" dirty="0" err="1">
                <a:solidFill>
                  <a:srgbClr val="FF0000"/>
                </a:solidFill>
                <a:latin typeface="Arial"/>
              </a:rPr>
              <a:t>Spiloucel</a:t>
            </a:r>
            <a:r>
              <a:rPr lang="en-GB" sz="2000" b="1" dirty="0">
                <a:solidFill>
                  <a:srgbClr val="FF0000"/>
                </a:solidFill>
                <a:latin typeface="Arial"/>
              </a:rPr>
              <a:t> T</a:t>
            </a:r>
          </a:p>
          <a:p>
            <a:pPr algn="ctr">
              <a:defRPr/>
            </a:pPr>
            <a:r>
              <a:rPr lang="en-GB" sz="2000" dirty="0" err="1">
                <a:solidFill>
                  <a:prstClr val="white"/>
                </a:solidFill>
                <a:latin typeface="Arial"/>
              </a:rPr>
              <a:t>Pemrolizumab</a:t>
            </a:r>
            <a:endParaRPr lang="tr-TR" sz="2000" b="1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" name="Yuvarlatılmış Dikdörtgen 17"/>
          <p:cNvSpPr/>
          <p:nvPr/>
        </p:nvSpPr>
        <p:spPr>
          <a:xfrm>
            <a:off x="7320136" y="5517231"/>
            <a:ext cx="2880320" cy="1242341"/>
          </a:xfrm>
          <a:prstGeom prst="roundRect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sz="2000" b="1" dirty="0">
                <a:solidFill>
                  <a:prstClr val="white"/>
                </a:solidFill>
                <a:latin typeface="Arial"/>
              </a:rPr>
              <a:t>BRCA </a:t>
            </a:r>
            <a:r>
              <a:rPr lang="en-GB" sz="2000" b="1" dirty="0" err="1">
                <a:solidFill>
                  <a:prstClr val="white"/>
                </a:solidFill>
                <a:latin typeface="Arial"/>
              </a:rPr>
              <a:t>Hedefli</a:t>
            </a:r>
            <a:endParaRPr lang="en-GB" sz="2000" b="1" dirty="0">
              <a:solidFill>
                <a:prstClr val="white"/>
              </a:solidFill>
              <a:latin typeface="Arial"/>
            </a:endParaRPr>
          </a:p>
          <a:p>
            <a:pPr algn="ctr">
              <a:defRPr/>
            </a:pPr>
            <a:r>
              <a:rPr lang="en-GB" sz="2000" dirty="0">
                <a:solidFill>
                  <a:prstClr val="white"/>
                </a:solidFill>
                <a:latin typeface="Arial"/>
              </a:rPr>
              <a:t>Olaparib</a:t>
            </a:r>
          </a:p>
          <a:p>
            <a:pPr algn="ctr">
              <a:defRPr/>
            </a:pPr>
            <a:r>
              <a:rPr lang="en-GB" sz="2000" b="1" dirty="0">
                <a:solidFill>
                  <a:prstClr val="white"/>
                </a:solidFill>
                <a:latin typeface="Arial"/>
              </a:rPr>
              <a:t>Rucaparib</a:t>
            </a:r>
          </a:p>
        </p:txBody>
      </p:sp>
      <p:cxnSp>
        <p:nvCxnSpPr>
          <p:cNvPr id="23" name="Düz Ok Bağlayıcısı 22"/>
          <p:cNvCxnSpPr>
            <a:cxnSpLocks/>
            <a:stCxn id="7" idx="4"/>
            <a:endCxn id="18" idx="0"/>
          </p:cNvCxnSpPr>
          <p:nvPr/>
        </p:nvCxnSpPr>
        <p:spPr>
          <a:xfrm>
            <a:off x="8760296" y="4896785"/>
            <a:ext cx="0" cy="620446"/>
          </a:xfrm>
          <a:prstGeom prst="straightConnector1">
            <a:avLst/>
          </a:prstGeom>
          <a:ln w="508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Düz Ok Bağlayıcısı 23"/>
          <p:cNvCxnSpPr>
            <a:cxnSpLocks/>
            <a:stCxn id="6" idx="7"/>
            <a:endCxn id="17" idx="0"/>
          </p:cNvCxnSpPr>
          <p:nvPr/>
        </p:nvCxnSpPr>
        <p:spPr>
          <a:xfrm>
            <a:off x="3200102" y="4806115"/>
            <a:ext cx="19373" cy="885804"/>
          </a:xfrm>
          <a:prstGeom prst="straightConnector1">
            <a:avLst/>
          </a:prstGeom>
          <a:ln w="508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Düz Ok Bağlayıcısı 32"/>
          <p:cNvCxnSpPr>
            <a:cxnSpLocks/>
            <a:stCxn id="5" idx="3"/>
            <a:endCxn id="12" idx="1"/>
          </p:cNvCxnSpPr>
          <p:nvPr/>
        </p:nvCxnSpPr>
        <p:spPr>
          <a:xfrm flipV="1">
            <a:off x="8760295" y="1429829"/>
            <a:ext cx="3" cy="1305725"/>
          </a:xfrm>
          <a:prstGeom prst="straightConnector1">
            <a:avLst/>
          </a:prstGeom>
          <a:ln w="508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llout: Line with Border and Accent Bar 10">
            <a:extLst>
              <a:ext uri="{FF2B5EF4-FFF2-40B4-BE49-F238E27FC236}">
                <a16:creationId xmlns:a16="http://schemas.microsoft.com/office/drawing/2014/main" id="{01F7FDAF-D4BA-405C-8FFD-D24A4554B4B6}"/>
              </a:ext>
            </a:extLst>
          </p:cNvPr>
          <p:cNvSpPr/>
          <p:nvPr/>
        </p:nvSpPr>
        <p:spPr>
          <a:xfrm>
            <a:off x="10084654" y="3195376"/>
            <a:ext cx="1627969" cy="1242342"/>
          </a:xfrm>
          <a:prstGeom prst="accentBorderCallout1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 err="1">
                <a:solidFill>
                  <a:schemeClr val="bg1"/>
                </a:solidFill>
              </a:rPr>
              <a:t>Kemik</a:t>
            </a:r>
            <a:endParaRPr lang="en-GB" sz="2400" b="1" dirty="0">
              <a:solidFill>
                <a:schemeClr val="bg1"/>
              </a:solidFill>
            </a:endParaRPr>
          </a:p>
          <a:p>
            <a:pPr algn="ctr"/>
            <a:r>
              <a:rPr lang="en-GB" sz="2400" dirty="0">
                <a:solidFill>
                  <a:schemeClr val="bg1"/>
                </a:solidFill>
              </a:rPr>
              <a:t>Ra</a:t>
            </a:r>
            <a:r>
              <a:rPr lang="en-GB" sz="2400" b="1" dirty="0">
                <a:solidFill>
                  <a:schemeClr val="bg1"/>
                </a:solidFill>
              </a:rPr>
              <a:t> -223</a:t>
            </a:r>
            <a:endParaRPr lang="en-GB" sz="900" b="1" dirty="0">
              <a:solidFill>
                <a:schemeClr val="bg1"/>
              </a:solidFill>
            </a:endParaRPr>
          </a:p>
        </p:txBody>
      </p:sp>
      <p:sp>
        <p:nvSpPr>
          <p:cNvPr id="4" name="Callout: Line with Border and Accent Bar 3">
            <a:extLst>
              <a:ext uri="{FF2B5EF4-FFF2-40B4-BE49-F238E27FC236}">
                <a16:creationId xmlns:a16="http://schemas.microsoft.com/office/drawing/2014/main" id="{DBC505A9-80C8-4917-8301-48A04C8CA31D}"/>
              </a:ext>
            </a:extLst>
          </p:cNvPr>
          <p:cNvSpPr/>
          <p:nvPr/>
        </p:nvSpPr>
        <p:spPr>
          <a:xfrm>
            <a:off x="744039" y="3195376"/>
            <a:ext cx="1627969" cy="1242342"/>
          </a:xfrm>
          <a:prstGeom prst="accentBorderCallout1">
            <a:avLst/>
          </a:prstGeom>
          <a:solidFill>
            <a:srgbClr val="FF0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solidFill>
                  <a:schemeClr val="bg1"/>
                </a:solidFill>
              </a:rPr>
              <a:t>Lu </a:t>
            </a:r>
          </a:p>
          <a:p>
            <a:pPr algn="ctr"/>
            <a:r>
              <a:rPr lang="en-GB" sz="2400" dirty="0" err="1">
                <a:solidFill>
                  <a:schemeClr val="bg1"/>
                </a:solidFill>
              </a:rPr>
              <a:t>Tedavisi</a:t>
            </a:r>
            <a:endParaRPr lang="en-GB" sz="9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70127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FCDB78D-A671-4254-95BE-82B5542A8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imer </a:t>
            </a:r>
            <a:r>
              <a:rPr lang="en-GB" dirty="0" err="1"/>
              <a:t>Direnç</a:t>
            </a:r>
            <a:r>
              <a:rPr lang="en-GB" dirty="0"/>
              <a:t> </a:t>
            </a:r>
            <a:br>
              <a:rPr lang="en-GB" dirty="0"/>
            </a:br>
            <a:r>
              <a:rPr lang="en-GB" sz="3200" dirty="0"/>
              <a:t>Post </a:t>
            </a:r>
            <a:r>
              <a:rPr lang="en-GB" sz="3200" dirty="0" err="1"/>
              <a:t>Docetaksel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2159A42-9923-49C9-A2B1-6A0141E652F0}"/>
              </a:ext>
            </a:extLst>
          </p:cNvPr>
          <p:cNvGrpSpPr/>
          <p:nvPr/>
        </p:nvGrpSpPr>
        <p:grpSpPr>
          <a:xfrm>
            <a:off x="1919536" y="1607502"/>
            <a:ext cx="8709819" cy="4999698"/>
            <a:chOff x="330200" y="1515402"/>
            <a:chExt cx="8709819" cy="4999698"/>
          </a:xfrm>
        </p:grpSpPr>
        <p:sp>
          <p:nvSpPr>
            <p:cNvPr id="12" name="Rounded Rectangle 1">
              <a:extLst>
                <a:ext uri="{FF2B5EF4-FFF2-40B4-BE49-F238E27FC236}">
                  <a16:creationId xmlns:a16="http://schemas.microsoft.com/office/drawing/2014/main" id="{9D810E30-9D27-43FF-AE33-DD7C9BEF3FEE}"/>
                </a:ext>
              </a:extLst>
            </p:cNvPr>
            <p:cNvSpPr/>
            <p:nvPr/>
          </p:nvSpPr>
          <p:spPr>
            <a:xfrm>
              <a:off x="1930400" y="1536700"/>
              <a:ext cx="4824413" cy="444500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gresyon: PSA+klinik+radyolojik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E2F71AF-C2BD-4E14-A3C6-CC8AE13F58AA}"/>
                </a:ext>
              </a:extLst>
            </p:cNvPr>
            <p:cNvSpPr/>
            <p:nvPr/>
          </p:nvSpPr>
          <p:spPr>
            <a:xfrm>
              <a:off x="2592388" y="2932113"/>
              <a:ext cx="1881187" cy="93662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  <a:cs typeface="+mn-cs"/>
                </a:rPr>
                <a:t>Her </a:t>
              </a:r>
              <a:r>
                <a:rPr kumimoji="0" lang="tr-TR" sz="2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  <a:cs typeface="+mn-cs"/>
                </a:rPr>
                <a:t>3</a:t>
              </a:r>
              <a:r>
                <a:rPr kumimoji="0" lang="tr-TR" sz="18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  <a:cs typeface="+mn-cs"/>
                </a:rPr>
                <a:t> hastadan birinde Primer Direnç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2FD7524-562E-4411-B377-EE6EAAABC666}"/>
                </a:ext>
              </a:extLst>
            </p:cNvPr>
            <p:cNvSpPr/>
            <p:nvPr/>
          </p:nvSpPr>
          <p:spPr>
            <a:xfrm>
              <a:off x="6615113" y="2947988"/>
              <a:ext cx="2025650" cy="93662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  <a:cs typeface="+mn-cs"/>
                </a:rPr>
                <a:t>Her </a:t>
              </a:r>
              <a:r>
                <a:rPr kumimoji="0" lang="tr-TR" sz="20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  <a:cs typeface="+mn-cs"/>
                </a:rPr>
                <a:t>4 </a:t>
              </a:r>
              <a:r>
                <a:rPr kumimoji="0" lang="tr-TR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  <a:cs typeface="+mn-cs"/>
                </a:rPr>
                <a:t>hastadan birinde Primer Direnç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54D59F2-6A10-4991-97AE-1459A00B65C6}"/>
                </a:ext>
              </a:extLst>
            </p:cNvPr>
            <p:cNvCxnSpPr/>
            <p:nvPr/>
          </p:nvCxnSpPr>
          <p:spPr>
            <a:xfrm>
              <a:off x="1060450" y="2620963"/>
              <a:ext cx="0" cy="2527300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3EF08C8-B50D-4806-9F7A-AE5D6D80A6FA}"/>
                </a:ext>
              </a:extLst>
            </p:cNvPr>
            <p:cNvCxnSpPr/>
            <p:nvPr/>
          </p:nvCxnSpPr>
          <p:spPr>
            <a:xfrm flipH="1">
              <a:off x="989013" y="5076825"/>
              <a:ext cx="3262312" cy="7938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D5EA852-2621-42B2-8878-7312AF37FE77}"/>
                </a:ext>
              </a:extLst>
            </p:cNvPr>
            <p:cNvCxnSpPr/>
            <p:nvPr/>
          </p:nvCxnSpPr>
          <p:spPr>
            <a:xfrm flipH="1">
              <a:off x="989013" y="4097338"/>
              <a:ext cx="71437" cy="0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7FBEBCCF-7E01-4B63-9185-0ABECC4EDB6A}"/>
                </a:ext>
              </a:extLst>
            </p:cNvPr>
            <p:cNvCxnSpPr/>
            <p:nvPr/>
          </p:nvCxnSpPr>
          <p:spPr>
            <a:xfrm flipH="1">
              <a:off x="989013" y="4605338"/>
              <a:ext cx="71437" cy="0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B8B96CC-F10A-477D-8563-2CBB43F03734}"/>
                </a:ext>
              </a:extLst>
            </p:cNvPr>
            <p:cNvCxnSpPr/>
            <p:nvPr/>
          </p:nvCxnSpPr>
          <p:spPr>
            <a:xfrm flipH="1">
              <a:off x="989013" y="3608388"/>
              <a:ext cx="71437" cy="0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CF8B639-3B5E-4412-895A-89A4171DBB72}"/>
                </a:ext>
              </a:extLst>
            </p:cNvPr>
            <p:cNvCxnSpPr/>
            <p:nvPr/>
          </p:nvCxnSpPr>
          <p:spPr>
            <a:xfrm flipH="1">
              <a:off x="989013" y="3103563"/>
              <a:ext cx="71437" cy="0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60E3F929-7011-473F-A43B-046B196F8C10}"/>
                </a:ext>
              </a:extLst>
            </p:cNvPr>
            <p:cNvCxnSpPr/>
            <p:nvPr/>
          </p:nvCxnSpPr>
          <p:spPr>
            <a:xfrm flipH="1">
              <a:off x="989013" y="2617788"/>
              <a:ext cx="71437" cy="0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538EEBE-4420-4CDC-BA15-65896FF97A98}"/>
                </a:ext>
              </a:extLst>
            </p:cNvPr>
            <p:cNvCxnSpPr/>
            <p:nvPr/>
          </p:nvCxnSpPr>
          <p:spPr>
            <a:xfrm>
              <a:off x="1681163" y="5086350"/>
              <a:ext cx="0" cy="65088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DCE66A9-F1B7-479C-9F86-3481C4AEBFBE}"/>
                </a:ext>
              </a:extLst>
            </p:cNvPr>
            <p:cNvCxnSpPr/>
            <p:nvPr/>
          </p:nvCxnSpPr>
          <p:spPr>
            <a:xfrm>
              <a:off x="2312988" y="5086350"/>
              <a:ext cx="0" cy="65088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11516F71-75F6-420C-BEC3-17CBD9B5A2FB}"/>
                </a:ext>
              </a:extLst>
            </p:cNvPr>
            <p:cNvCxnSpPr/>
            <p:nvPr/>
          </p:nvCxnSpPr>
          <p:spPr>
            <a:xfrm>
              <a:off x="2944813" y="5086350"/>
              <a:ext cx="0" cy="65088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B3137B98-3B71-4FC7-A40B-0BBC920CFFFC}"/>
                </a:ext>
              </a:extLst>
            </p:cNvPr>
            <p:cNvCxnSpPr/>
            <p:nvPr/>
          </p:nvCxnSpPr>
          <p:spPr>
            <a:xfrm>
              <a:off x="3573463" y="5086350"/>
              <a:ext cx="0" cy="65088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C2C5D0F-6352-4EF8-8C3A-B189CB72FC8D}"/>
                </a:ext>
              </a:extLst>
            </p:cNvPr>
            <p:cNvCxnSpPr/>
            <p:nvPr/>
          </p:nvCxnSpPr>
          <p:spPr>
            <a:xfrm>
              <a:off x="4198938" y="5086350"/>
              <a:ext cx="0" cy="65088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sp>
          <p:nvSpPr>
            <p:cNvPr id="27" name="Freeform 27">
              <a:extLst>
                <a:ext uri="{FF2B5EF4-FFF2-40B4-BE49-F238E27FC236}">
                  <a16:creationId xmlns:a16="http://schemas.microsoft.com/office/drawing/2014/main" id="{7FA90DE3-F82E-4AA9-AC90-82E7FFD918B2}"/>
                </a:ext>
              </a:extLst>
            </p:cNvPr>
            <p:cNvSpPr/>
            <p:nvPr/>
          </p:nvSpPr>
          <p:spPr>
            <a:xfrm>
              <a:off x="1082675" y="2616200"/>
              <a:ext cx="3152775" cy="2203450"/>
            </a:xfrm>
            <a:custGeom>
              <a:avLst/>
              <a:gdLst>
                <a:gd name="connsiteX0" fmla="*/ 0 w 3152775"/>
                <a:gd name="connsiteY0" fmla="*/ 0 h 2203450"/>
                <a:gd name="connsiteX1" fmla="*/ 149225 w 3152775"/>
                <a:gd name="connsiteY1" fmla="*/ 0 h 2203450"/>
                <a:gd name="connsiteX2" fmla="*/ 250825 w 3152775"/>
                <a:gd name="connsiteY2" fmla="*/ 69850 h 2203450"/>
                <a:gd name="connsiteX3" fmla="*/ 400050 w 3152775"/>
                <a:gd name="connsiteY3" fmla="*/ 168275 h 2203450"/>
                <a:gd name="connsiteX4" fmla="*/ 400050 w 3152775"/>
                <a:gd name="connsiteY4" fmla="*/ 196850 h 2203450"/>
                <a:gd name="connsiteX5" fmla="*/ 460375 w 3152775"/>
                <a:gd name="connsiteY5" fmla="*/ 238125 h 2203450"/>
                <a:gd name="connsiteX6" fmla="*/ 460375 w 3152775"/>
                <a:gd name="connsiteY6" fmla="*/ 282575 h 2203450"/>
                <a:gd name="connsiteX7" fmla="*/ 552450 w 3152775"/>
                <a:gd name="connsiteY7" fmla="*/ 327025 h 2203450"/>
                <a:gd name="connsiteX8" fmla="*/ 561975 w 3152775"/>
                <a:gd name="connsiteY8" fmla="*/ 781050 h 2203450"/>
                <a:gd name="connsiteX9" fmla="*/ 577850 w 3152775"/>
                <a:gd name="connsiteY9" fmla="*/ 815975 h 2203450"/>
                <a:gd name="connsiteX10" fmla="*/ 584200 w 3152775"/>
                <a:gd name="connsiteY10" fmla="*/ 866775 h 2203450"/>
                <a:gd name="connsiteX11" fmla="*/ 663575 w 3152775"/>
                <a:gd name="connsiteY11" fmla="*/ 933450 h 2203450"/>
                <a:gd name="connsiteX12" fmla="*/ 796925 w 3152775"/>
                <a:gd name="connsiteY12" fmla="*/ 968375 h 2203450"/>
                <a:gd name="connsiteX13" fmla="*/ 946150 w 3152775"/>
                <a:gd name="connsiteY13" fmla="*/ 1003300 h 2203450"/>
                <a:gd name="connsiteX14" fmla="*/ 1076325 w 3152775"/>
                <a:gd name="connsiteY14" fmla="*/ 1031875 h 2203450"/>
                <a:gd name="connsiteX15" fmla="*/ 1117600 w 3152775"/>
                <a:gd name="connsiteY15" fmla="*/ 1050925 h 2203450"/>
                <a:gd name="connsiteX16" fmla="*/ 1136650 w 3152775"/>
                <a:gd name="connsiteY16" fmla="*/ 1104900 h 2203450"/>
                <a:gd name="connsiteX17" fmla="*/ 1149350 w 3152775"/>
                <a:gd name="connsiteY17" fmla="*/ 1200150 h 2203450"/>
                <a:gd name="connsiteX18" fmla="*/ 1152525 w 3152775"/>
                <a:gd name="connsiteY18" fmla="*/ 1250950 h 2203450"/>
                <a:gd name="connsiteX19" fmla="*/ 1190625 w 3152775"/>
                <a:gd name="connsiteY19" fmla="*/ 1276350 h 2203450"/>
                <a:gd name="connsiteX20" fmla="*/ 1298575 w 3152775"/>
                <a:gd name="connsiteY20" fmla="*/ 1317625 h 2203450"/>
                <a:gd name="connsiteX21" fmla="*/ 1362075 w 3152775"/>
                <a:gd name="connsiteY21" fmla="*/ 1346200 h 2203450"/>
                <a:gd name="connsiteX22" fmla="*/ 1431925 w 3152775"/>
                <a:gd name="connsiteY22" fmla="*/ 1365250 h 2203450"/>
                <a:gd name="connsiteX23" fmla="*/ 1476375 w 3152775"/>
                <a:gd name="connsiteY23" fmla="*/ 1371600 h 2203450"/>
                <a:gd name="connsiteX24" fmla="*/ 1568450 w 3152775"/>
                <a:gd name="connsiteY24" fmla="*/ 1400175 h 2203450"/>
                <a:gd name="connsiteX25" fmla="*/ 1628775 w 3152775"/>
                <a:gd name="connsiteY25" fmla="*/ 1412875 h 2203450"/>
                <a:gd name="connsiteX26" fmla="*/ 1673225 w 3152775"/>
                <a:gd name="connsiteY26" fmla="*/ 1419225 h 2203450"/>
                <a:gd name="connsiteX27" fmla="*/ 1698625 w 3152775"/>
                <a:gd name="connsiteY27" fmla="*/ 1435100 h 2203450"/>
                <a:gd name="connsiteX28" fmla="*/ 1711325 w 3152775"/>
                <a:gd name="connsiteY28" fmla="*/ 1466850 h 2203450"/>
                <a:gd name="connsiteX29" fmla="*/ 1717675 w 3152775"/>
                <a:gd name="connsiteY29" fmla="*/ 1492250 h 2203450"/>
                <a:gd name="connsiteX30" fmla="*/ 1730375 w 3152775"/>
                <a:gd name="connsiteY30" fmla="*/ 1536700 h 2203450"/>
                <a:gd name="connsiteX31" fmla="*/ 1749425 w 3152775"/>
                <a:gd name="connsiteY31" fmla="*/ 1571625 h 2203450"/>
                <a:gd name="connsiteX32" fmla="*/ 1774825 w 3152775"/>
                <a:gd name="connsiteY32" fmla="*/ 1597025 h 2203450"/>
                <a:gd name="connsiteX33" fmla="*/ 1851025 w 3152775"/>
                <a:gd name="connsiteY33" fmla="*/ 1619250 h 2203450"/>
                <a:gd name="connsiteX34" fmla="*/ 1908175 w 3152775"/>
                <a:gd name="connsiteY34" fmla="*/ 1622425 h 2203450"/>
                <a:gd name="connsiteX35" fmla="*/ 1984375 w 3152775"/>
                <a:gd name="connsiteY35" fmla="*/ 1635125 h 2203450"/>
                <a:gd name="connsiteX36" fmla="*/ 2038350 w 3152775"/>
                <a:gd name="connsiteY36" fmla="*/ 1647825 h 2203450"/>
                <a:gd name="connsiteX37" fmla="*/ 2066925 w 3152775"/>
                <a:gd name="connsiteY37" fmla="*/ 1654175 h 2203450"/>
                <a:gd name="connsiteX38" fmla="*/ 2098675 w 3152775"/>
                <a:gd name="connsiteY38" fmla="*/ 1657350 h 2203450"/>
                <a:gd name="connsiteX39" fmla="*/ 2143125 w 3152775"/>
                <a:gd name="connsiteY39" fmla="*/ 1670050 h 2203450"/>
                <a:gd name="connsiteX40" fmla="*/ 2190750 w 3152775"/>
                <a:gd name="connsiteY40" fmla="*/ 1676400 h 2203450"/>
                <a:gd name="connsiteX41" fmla="*/ 2241550 w 3152775"/>
                <a:gd name="connsiteY41" fmla="*/ 1698625 h 2203450"/>
                <a:gd name="connsiteX42" fmla="*/ 2273300 w 3152775"/>
                <a:gd name="connsiteY42" fmla="*/ 1717675 h 2203450"/>
                <a:gd name="connsiteX43" fmla="*/ 2289175 w 3152775"/>
                <a:gd name="connsiteY43" fmla="*/ 1746250 h 2203450"/>
                <a:gd name="connsiteX44" fmla="*/ 2298700 w 3152775"/>
                <a:gd name="connsiteY44" fmla="*/ 1771650 h 2203450"/>
                <a:gd name="connsiteX45" fmla="*/ 2317750 w 3152775"/>
                <a:gd name="connsiteY45" fmla="*/ 1831975 h 2203450"/>
                <a:gd name="connsiteX46" fmla="*/ 2333625 w 3152775"/>
                <a:gd name="connsiteY46" fmla="*/ 1854200 h 2203450"/>
                <a:gd name="connsiteX47" fmla="*/ 2352675 w 3152775"/>
                <a:gd name="connsiteY47" fmla="*/ 1885950 h 2203450"/>
                <a:gd name="connsiteX48" fmla="*/ 2381250 w 3152775"/>
                <a:gd name="connsiteY48" fmla="*/ 1911350 h 2203450"/>
                <a:gd name="connsiteX49" fmla="*/ 2441575 w 3152775"/>
                <a:gd name="connsiteY49" fmla="*/ 1936750 h 2203450"/>
                <a:gd name="connsiteX50" fmla="*/ 2527300 w 3152775"/>
                <a:gd name="connsiteY50" fmla="*/ 1949450 h 2203450"/>
                <a:gd name="connsiteX51" fmla="*/ 2590800 w 3152775"/>
                <a:gd name="connsiteY51" fmla="*/ 1958975 h 2203450"/>
                <a:gd name="connsiteX52" fmla="*/ 2714625 w 3152775"/>
                <a:gd name="connsiteY52" fmla="*/ 1981200 h 2203450"/>
                <a:gd name="connsiteX53" fmla="*/ 2768600 w 3152775"/>
                <a:gd name="connsiteY53" fmla="*/ 1984375 h 2203450"/>
                <a:gd name="connsiteX54" fmla="*/ 2809875 w 3152775"/>
                <a:gd name="connsiteY54" fmla="*/ 1987550 h 2203450"/>
                <a:gd name="connsiteX55" fmla="*/ 2854325 w 3152775"/>
                <a:gd name="connsiteY55" fmla="*/ 1987550 h 2203450"/>
                <a:gd name="connsiteX56" fmla="*/ 2886075 w 3152775"/>
                <a:gd name="connsiteY56" fmla="*/ 2003425 h 2203450"/>
                <a:gd name="connsiteX57" fmla="*/ 2905125 w 3152775"/>
                <a:gd name="connsiteY57" fmla="*/ 2035175 h 2203450"/>
                <a:gd name="connsiteX58" fmla="*/ 2908300 w 3152775"/>
                <a:gd name="connsiteY58" fmla="*/ 2060575 h 2203450"/>
                <a:gd name="connsiteX59" fmla="*/ 2917825 w 3152775"/>
                <a:gd name="connsiteY59" fmla="*/ 2089150 h 2203450"/>
                <a:gd name="connsiteX60" fmla="*/ 2940050 w 3152775"/>
                <a:gd name="connsiteY60" fmla="*/ 2108200 h 2203450"/>
                <a:gd name="connsiteX61" fmla="*/ 2962275 w 3152775"/>
                <a:gd name="connsiteY61" fmla="*/ 2130425 h 2203450"/>
                <a:gd name="connsiteX62" fmla="*/ 2987675 w 3152775"/>
                <a:gd name="connsiteY62" fmla="*/ 2139950 h 2203450"/>
                <a:gd name="connsiteX63" fmla="*/ 3013075 w 3152775"/>
                <a:gd name="connsiteY63" fmla="*/ 2143125 h 2203450"/>
                <a:gd name="connsiteX64" fmla="*/ 3048000 w 3152775"/>
                <a:gd name="connsiteY64" fmla="*/ 2146300 h 2203450"/>
                <a:gd name="connsiteX65" fmla="*/ 3101975 w 3152775"/>
                <a:gd name="connsiteY65" fmla="*/ 2162175 h 2203450"/>
                <a:gd name="connsiteX66" fmla="*/ 3124200 w 3152775"/>
                <a:gd name="connsiteY66" fmla="*/ 2174875 h 2203450"/>
                <a:gd name="connsiteX67" fmla="*/ 3152775 w 3152775"/>
                <a:gd name="connsiteY67" fmla="*/ 2203450 h 2203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152775" h="2203450">
                  <a:moveTo>
                    <a:pt x="0" y="0"/>
                  </a:moveTo>
                  <a:lnTo>
                    <a:pt x="149225" y="0"/>
                  </a:lnTo>
                  <a:lnTo>
                    <a:pt x="250825" y="69850"/>
                  </a:lnTo>
                  <a:lnTo>
                    <a:pt x="400050" y="168275"/>
                  </a:lnTo>
                  <a:lnTo>
                    <a:pt x="400050" y="196850"/>
                  </a:lnTo>
                  <a:lnTo>
                    <a:pt x="460375" y="238125"/>
                  </a:lnTo>
                  <a:lnTo>
                    <a:pt x="460375" y="282575"/>
                  </a:lnTo>
                  <a:lnTo>
                    <a:pt x="552450" y="327025"/>
                  </a:lnTo>
                  <a:lnTo>
                    <a:pt x="561975" y="781050"/>
                  </a:lnTo>
                  <a:lnTo>
                    <a:pt x="577850" y="815975"/>
                  </a:lnTo>
                  <a:lnTo>
                    <a:pt x="584200" y="866775"/>
                  </a:lnTo>
                  <a:lnTo>
                    <a:pt x="663575" y="933450"/>
                  </a:lnTo>
                  <a:lnTo>
                    <a:pt x="796925" y="968375"/>
                  </a:lnTo>
                  <a:lnTo>
                    <a:pt x="946150" y="1003300"/>
                  </a:lnTo>
                  <a:lnTo>
                    <a:pt x="1076325" y="1031875"/>
                  </a:lnTo>
                  <a:lnTo>
                    <a:pt x="1117600" y="1050925"/>
                  </a:lnTo>
                  <a:lnTo>
                    <a:pt x="1136650" y="1104900"/>
                  </a:lnTo>
                  <a:lnTo>
                    <a:pt x="1149350" y="1200150"/>
                  </a:lnTo>
                  <a:lnTo>
                    <a:pt x="1152525" y="1250950"/>
                  </a:lnTo>
                  <a:lnTo>
                    <a:pt x="1190625" y="1276350"/>
                  </a:lnTo>
                  <a:lnTo>
                    <a:pt x="1298575" y="1317625"/>
                  </a:lnTo>
                  <a:lnTo>
                    <a:pt x="1362075" y="1346200"/>
                  </a:lnTo>
                  <a:lnTo>
                    <a:pt x="1431925" y="1365250"/>
                  </a:lnTo>
                  <a:lnTo>
                    <a:pt x="1476375" y="1371600"/>
                  </a:lnTo>
                  <a:lnTo>
                    <a:pt x="1568450" y="1400175"/>
                  </a:lnTo>
                  <a:lnTo>
                    <a:pt x="1628775" y="1412875"/>
                  </a:lnTo>
                  <a:lnTo>
                    <a:pt x="1673225" y="1419225"/>
                  </a:lnTo>
                  <a:lnTo>
                    <a:pt x="1698625" y="1435100"/>
                  </a:lnTo>
                  <a:lnTo>
                    <a:pt x="1711325" y="1466850"/>
                  </a:lnTo>
                  <a:lnTo>
                    <a:pt x="1717675" y="1492250"/>
                  </a:lnTo>
                  <a:lnTo>
                    <a:pt x="1730375" y="1536700"/>
                  </a:lnTo>
                  <a:lnTo>
                    <a:pt x="1749425" y="1571625"/>
                  </a:lnTo>
                  <a:lnTo>
                    <a:pt x="1774825" y="1597025"/>
                  </a:lnTo>
                  <a:lnTo>
                    <a:pt x="1851025" y="1619250"/>
                  </a:lnTo>
                  <a:lnTo>
                    <a:pt x="1908175" y="1622425"/>
                  </a:lnTo>
                  <a:lnTo>
                    <a:pt x="1984375" y="1635125"/>
                  </a:lnTo>
                  <a:lnTo>
                    <a:pt x="2038350" y="1647825"/>
                  </a:lnTo>
                  <a:lnTo>
                    <a:pt x="2066925" y="1654175"/>
                  </a:lnTo>
                  <a:lnTo>
                    <a:pt x="2098675" y="1657350"/>
                  </a:lnTo>
                  <a:lnTo>
                    <a:pt x="2143125" y="1670050"/>
                  </a:lnTo>
                  <a:lnTo>
                    <a:pt x="2190750" y="1676400"/>
                  </a:lnTo>
                  <a:lnTo>
                    <a:pt x="2241550" y="1698625"/>
                  </a:lnTo>
                  <a:lnTo>
                    <a:pt x="2273300" y="1717675"/>
                  </a:lnTo>
                  <a:lnTo>
                    <a:pt x="2289175" y="1746250"/>
                  </a:lnTo>
                  <a:lnTo>
                    <a:pt x="2298700" y="1771650"/>
                  </a:lnTo>
                  <a:lnTo>
                    <a:pt x="2317750" y="1831975"/>
                  </a:lnTo>
                  <a:lnTo>
                    <a:pt x="2333625" y="1854200"/>
                  </a:lnTo>
                  <a:lnTo>
                    <a:pt x="2352675" y="1885950"/>
                  </a:lnTo>
                  <a:lnTo>
                    <a:pt x="2381250" y="1911350"/>
                  </a:lnTo>
                  <a:lnTo>
                    <a:pt x="2441575" y="1936750"/>
                  </a:lnTo>
                  <a:lnTo>
                    <a:pt x="2527300" y="1949450"/>
                  </a:lnTo>
                  <a:lnTo>
                    <a:pt x="2590800" y="1958975"/>
                  </a:lnTo>
                  <a:lnTo>
                    <a:pt x="2714625" y="1981200"/>
                  </a:lnTo>
                  <a:lnTo>
                    <a:pt x="2768600" y="1984375"/>
                  </a:lnTo>
                  <a:lnTo>
                    <a:pt x="2809875" y="1987550"/>
                  </a:lnTo>
                  <a:lnTo>
                    <a:pt x="2854325" y="1987550"/>
                  </a:lnTo>
                  <a:lnTo>
                    <a:pt x="2886075" y="2003425"/>
                  </a:lnTo>
                  <a:lnTo>
                    <a:pt x="2905125" y="2035175"/>
                  </a:lnTo>
                  <a:lnTo>
                    <a:pt x="2908300" y="2060575"/>
                  </a:lnTo>
                  <a:lnTo>
                    <a:pt x="2917825" y="2089150"/>
                  </a:lnTo>
                  <a:lnTo>
                    <a:pt x="2940050" y="2108200"/>
                  </a:lnTo>
                  <a:cubicBezTo>
                    <a:pt x="2959789" y="2131229"/>
                    <a:pt x="2949343" y="2130425"/>
                    <a:pt x="2962275" y="2130425"/>
                  </a:cubicBezTo>
                  <a:lnTo>
                    <a:pt x="2987675" y="2139950"/>
                  </a:lnTo>
                  <a:lnTo>
                    <a:pt x="3013075" y="2143125"/>
                  </a:lnTo>
                  <a:lnTo>
                    <a:pt x="3048000" y="2146300"/>
                  </a:lnTo>
                  <a:lnTo>
                    <a:pt x="3101975" y="2162175"/>
                  </a:lnTo>
                  <a:lnTo>
                    <a:pt x="3124200" y="2174875"/>
                  </a:lnTo>
                  <a:lnTo>
                    <a:pt x="3152775" y="2203450"/>
                  </a:lnTo>
                </a:path>
              </a:pathLst>
            </a:custGeom>
            <a:noFill/>
            <a:ln w="25400" cap="flat" cmpd="sng" algn="ctr">
              <a:solidFill>
                <a:srgbClr val="5199C5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:a16="http://schemas.microsoft.com/office/drawing/2014/main" id="{2B422634-5ABB-402E-BACC-3935AB4B3ECB}"/>
                </a:ext>
              </a:extLst>
            </p:cNvPr>
            <p:cNvSpPr/>
            <p:nvPr/>
          </p:nvSpPr>
          <p:spPr>
            <a:xfrm>
              <a:off x="1057275" y="2616200"/>
              <a:ext cx="3171825" cy="2324100"/>
            </a:xfrm>
            <a:custGeom>
              <a:avLst/>
              <a:gdLst>
                <a:gd name="connsiteX0" fmla="*/ 0 w 3171825"/>
                <a:gd name="connsiteY0" fmla="*/ 0 h 2324100"/>
                <a:gd name="connsiteX1" fmla="*/ 171450 w 3171825"/>
                <a:gd name="connsiteY1" fmla="*/ 6350 h 2324100"/>
                <a:gd name="connsiteX2" fmla="*/ 254000 w 3171825"/>
                <a:gd name="connsiteY2" fmla="*/ 53975 h 2324100"/>
                <a:gd name="connsiteX3" fmla="*/ 339725 w 3171825"/>
                <a:gd name="connsiteY3" fmla="*/ 66675 h 2324100"/>
                <a:gd name="connsiteX4" fmla="*/ 415925 w 3171825"/>
                <a:gd name="connsiteY4" fmla="*/ 95250 h 2324100"/>
                <a:gd name="connsiteX5" fmla="*/ 447675 w 3171825"/>
                <a:gd name="connsiteY5" fmla="*/ 142875 h 2324100"/>
                <a:gd name="connsiteX6" fmla="*/ 492125 w 3171825"/>
                <a:gd name="connsiteY6" fmla="*/ 155575 h 2324100"/>
                <a:gd name="connsiteX7" fmla="*/ 520700 w 3171825"/>
                <a:gd name="connsiteY7" fmla="*/ 158750 h 2324100"/>
                <a:gd name="connsiteX8" fmla="*/ 577850 w 3171825"/>
                <a:gd name="connsiteY8" fmla="*/ 228600 h 2324100"/>
                <a:gd name="connsiteX9" fmla="*/ 603250 w 3171825"/>
                <a:gd name="connsiteY9" fmla="*/ 968375 h 2324100"/>
                <a:gd name="connsiteX10" fmla="*/ 609600 w 3171825"/>
                <a:gd name="connsiteY10" fmla="*/ 1130300 h 2324100"/>
                <a:gd name="connsiteX11" fmla="*/ 619125 w 3171825"/>
                <a:gd name="connsiteY11" fmla="*/ 1184275 h 2324100"/>
                <a:gd name="connsiteX12" fmla="*/ 647700 w 3171825"/>
                <a:gd name="connsiteY12" fmla="*/ 1200150 h 2324100"/>
                <a:gd name="connsiteX13" fmla="*/ 717550 w 3171825"/>
                <a:gd name="connsiteY13" fmla="*/ 1203325 h 2324100"/>
                <a:gd name="connsiteX14" fmla="*/ 790575 w 3171825"/>
                <a:gd name="connsiteY14" fmla="*/ 1263650 h 2324100"/>
                <a:gd name="connsiteX15" fmla="*/ 838200 w 3171825"/>
                <a:gd name="connsiteY15" fmla="*/ 1289050 h 2324100"/>
                <a:gd name="connsiteX16" fmla="*/ 927100 w 3171825"/>
                <a:gd name="connsiteY16" fmla="*/ 1311275 h 2324100"/>
                <a:gd name="connsiteX17" fmla="*/ 1089025 w 3171825"/>
                <a:gd name="connsiteY17" fmla="*/ 1327150 h 2324100"/>
                <a:gd name="connsiteX18" fmla="*/ 1143000 w 3171825"/>
                <a:gd name="connsiteY18" fmla="*/ 1339850 h 2324100"/>
                <a:gd name="connsiteX19" fmla="*/ 1165225 w 3171825"/>
                <a:gd name="connsiteY19" fmla="*/ 1381125 h 2324100"/>
                <a:gd name="connsiteX20" fmla="*/ 1177925 w 3171825"/>
                <a:gd name="connsiteY20" fmla="*/ 1492250 h 2324100"/>
                <a:gd name="connsiteX21" fmla="*/ 1228725 w 3171825"/>
                <a:gd name="connsiteY21" fmla="*/ 1536700 h 2324100"/>
                <a:gd name="connsiteX22" fmla="*/ 1279525 w 3171825"/>
                <a:gd name="connsiteY22" fmla="*/ 1562100 h 2324100"/>
                <a:gd name="connsiteX23" fmla="*/ 1454150 w 3171825"/>
                <a:gd name="connsiteY23" fmla="*/ 1622425 h 2324100"/>
                <a:gd name="connsiteX24" fmla="*/ 1498600 w 3171825"/>
                <a:gd name="connsiteY24" fmla="*/ 1641475 h 2324100"/>
                <a:gd name="connsiteX25" fmla="*/ 1549400 w 3171825"/>
                <a:gd name="connsiteY25" fmla="*/ 1670050 h 2324100"/>
                <a:gd name="connsiteX26" fmla="*/ 1565275 w 3171825"/>
                <a:gd name="connsiteY26" fmla="*/ 1676400 h 2324100"/>
                <a:gd name="connsiteX27" fmla="*/ 1616075 w 3171825"/>
                <a:gd name="connsiteY27" fmla="*/ 1698625 h 2324100"/>
                <a:gd name="connsiteX28" fmla="*/ 1654175 w 3171825"/>
                <a:gd name="connsiteY28" fmla="*/ 1730375 h 2324100"/>
                <a:gd name="connsiteX29" fmla="*/ 1679575 w 3171825"/>
                <a:gd name="connsiteY29" fmla="*/ 1768475 h 2324100"/>
                <a:gd name="connsiteX30" fmla="*/ 1717675 w 3171825"/>
                <a:gd name="connsiteY30" fmla="*/ 1784350 h 2324100"/>
                <a:gd name="connsiteX31" fmla="*/ 1746250 w 3171825"/>
                <a:gd name="connsiteY31" fmla="*/ 1790700 h 2324100"/>
                <a:gd name="connsiteX32" fmla="*/ 1752600 w 3171825"/>
                <a:gd name="connsiteY32" fmla="*/ 1825625 h 2324100"/>
                <a:gd name="connsiteX33" fmla="*/ 1752600 w 3171825"/>
                <a:gd name="connsiteY33" fmla="*/ 1844675 h 2324100"/>
                <a:gd name="connsiteX34" fmla="*/ 1844675 w 3171825"/>
                <a:gd name="connsiteY34" fmla="*/ 1939925 h 2324100"/>
                <a:gd name="connsiteX35" fmla="*/ 1879600 w 3171825"/>
                <a:gd name="connsiteY35" fmla="*/ 1955800 h 2324100"/>
                <a:gd name="connsiteX36" fmla="*/ 1920875 w 3171825"/>
                <a:gd name="connsiteY36" fmla="*/ 1952625 h 2324100"/>
                <a:gd name="connsiteX37" fmla="*/ 1955800 w 3171825"/>
                <a:gd name="connsiteY37" fmla="*/ 1952625 h 2324100"/>
                <a:gd name="connsiteX38" fmla="*/ 1978025 w 3171825"/>
                <a:gd name="connsiteY38" fmla="*/ 1987550 h 2324100"/>
                <a:gd name="connsiteX39" fmla="*/ 2047875 w 3171825"/>
                <a:gd name="connsiteY39" fmla="*/ 2003425 h 2324100"/>
                <a:gd name="connsiteX40" fmla="*/ 2092325 w 3171825"/>
                <a:gd name="connsiteY40" fmla="*/ 2012950 h 2324100"/>
                <a:gd name="connsiteX41" fmla="*/ 2149475 w 3171825"/>
                <a:gd name="connsiteY41" fmla="*/ 2016125 h 2324100"/>
                <a:gd name="connsiteX42" fmla="*/ 2193925 w 3171825"/>
                <a:gd name="connsiteY42" fmla="*/ 2035175 h 2324100"/>
                <a:gd name="connsiteX43" fmla="*/ 2228850 w 3171825"/>
                <a:gd name="connsiteY43" fmla="*/ 2051050 h 2324100"/>
                <a:gd name="connsiteX44" fmla="*/ 2289175 w 3171825"/>
                <a:gd name="connsiteY44" fmla="*/ 2076450 h 2324100"/>
                <a:gd name="connsiteX45" fmla="*/ 2311400 w 3171825"/>
                <a:gd name="connsiteY45" fmla="*/ 2098675 h 2324100"/>
                <a:gd name="connsiteX46" fmla="*/ 2339975 w 3171825"/>
                <a:gd name="connsiteY46" fmla="*/ 2127250 h 2324100"/>
                <a:gd name="connsiteX47" fmla="*/ 2378075 w 3171825"/>
                <a:gd name="connsiteY47" fmla="*/ 2165350 h 2324100"/>
                <a:gd name="connsiteX48" fmla="*/ 2422525 w 3171825"/>
                <a:gd name="connsiteY48" fmla="*/ 2155825 h 2324100"/>
                <a:gd name="connsiteX49" fmla="*/ 2460625 w 3171825"/>
                <a:gd name="connsiteY49" fmla="*/ 2174875 h 2324100"/>
                <a:gd name="connsiteX50" fmla="*/ 2460625 w 3171825"/>
                <a:gd name="connsiteY50" fmla="*/ 2174875 h 2324100"/>
                <a:gd name="connsiteX51" fmla="*/ 2555875 w 3171825"/>
                <a:gd name="connsiteY51" fmla="*/ 2200275 h 2324100"/>
                <a:gd name="connsiteX52" fmla="*/ 2670175 w 3171825"/>
                <a:gd name="connsiteY52" fmla="*/ 2219325 h 2324100"/>
                <a:gd name="connsiteX53" fmla="*/ 2749550 w 3171825"/>
                <a:gd name="connsiteY53" fmla="*/ 2238375 h 2324100"/>
                <a:gd name="connsiteX54" fmla="*/ 2847975 w 3171825"/>
                <a:gd name="connsiteY54" fmla="*/ 2254250 h 2324100"/>
                <a:gd name="connsiteX55" fmla="*/ 2892425 w 3171825"/>
                <a:gd name="connsiteY55" fmla="*/ 2257425 h 2324100"/>
                <a:gd name="connsiteX56" fmla="*/ 2921000 w 3171825"/>
                <a:gd name="connsiteY56" fmla="*/ 2301875 h 2324100"/>
                <a:gd name="connsiteX57" fmla="*/ 2943225 w 3171825"/>
                <a:gd name="connsiteY57" fmla="*/ 2314575 h 2324100"/>
                <a:gd name="connsiteX58" fmla="*/ 2952750 w 3171825"/>
                <a:gd name="connsiteY58" fmla="*/ 2314575 h 2324100"/>
                <a:gd name="connsiteX59" fmla="*/ 3025775 w 3171825"/>
                <a:gd name="connsiteY59" fmla="*/ 2317750 h 2324100"/>
                <a:gd name="connsiteX60" fmla="*/ 3054350 w 3171825"/>
                <a:gd name="connsiteY60" fmla="*/ 2320925 h 2324100"/>
                <a:gd name="connsiteX61" fmla="*/ 3076575 w 3171825"/>
                <a:gd name="connsiteY61" fmla="*/ 2324100 h 2324100"/>
                <a:gd name="connsiteX62" fmla="*/ 3054350 w 3171825"/>
                <a:gd name="connsiteY62" fmla="*/ 2320925 h 2324100"/>
                <a:gd name="connsiteX63" fmla="*/ 3124200 w 3171825"/>
                <a:gd name="connsiteY63" fmla="*/ 2324100 h 2324100"/>
                <a:gd name="connsiteX64" fmla="*/ 3171825 w 3171825"/>
                <a:gd name="connsiteY64" fmla="*/ 2314575 h 2324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3171825" h="2324100">
                  <a:moveTo>
                    <a:pt x="0" y="0"/>
                  </a:moveTo>
                  <a:lnTo>
                    <a:pt x="171450" y="6350"/>
                  </a:lnTo>
                  <a:lnTo>
                    <a:pt x="254000" y="53975"/>
                  </a:lnTo>
                  <a:lnTo>
                    <a:pt x="339725" y="66675"/>
                  </a:lnTo>
                  <a:lnTo>
                    <a:pt x="415925" y="95250"/>
                  </a:lnTo>
                  <a:lnTo>
                    <a:pt x="447675" y="142875"/>
                  </a:lnTo>
                  <a:lnTo>
                    <a:pt x="492125" y="155575"/>
                  </a:lnTo>
                  <a:lnTo>
                    <a:pt x="520700" y="158750"/>
                  </a:lnTo>
                  <a:lnTo>
                    <a:pt x="577850" y="228600"/>
                  </a:lnTo>
                  <a:lnTo>
                    <a:pt x="603250" y="968375"/>
                  </a:lnTo>
                  <a:lnTo>
                    <a:pt x="609600" y="1130300"/>
                  </a:lnTo>
                  <a:lnTo>
                    <a:pt x="619125" y="1184275"/>
                  </a:lnTo>
                  <a:lnTo>
                    <a:pt x="647700" y="1200150"/>
                  </a:lnTo>
                  <a:lnTo>
                    <a:pt x="717550" y="1203325"/>
                  </a:lnTo>
                  <a:lnTo>
                    <a:pt x="790575" y="1263650"/>
                  </a:lnTo>
                  <a:lnTo>
                    <a:pt x="838200" y="1289050"/>
                  </a:lnTo>
                  <a:lnTo>
                    <a:pt x="927100" y="1311275"/>
                  </a:lnTo>
                  <a:lnTo>
                    <a:pt x="1089025" y="1327150"/>
                  </a:lnTo>
                  <a:lnTo>
                    <a:pt x="1143000" y="1339850"/>
                  </a:lnTo>
                  <a:lnTo>
                    <a:pt x="1165225" y="1381125"/>
                  </a:lnTo>
                  <a:lnTo>
                    <a:pt x="1177925" y="1492250"/>
                  </a:lnTo>
                  <a:lnTo>
                    <a:pt x="1228725" y="1536700"/>
                  </a:lnTo>
                  <a:lnTo>
                    <a:pt x="1279525" y="1562100"/>
                  </a:lnTo>
                  <a:lnTo>
                    <a:pt x="1454150" y="1622425"/>
                  </a:lnTo>
                  <a:lnTo>
                    <a:pt x="1498600" y="1641475"/>
                  </a:lnTo>
                  <a:lnTo>
                    <a:pt x="1549400" y="1670050"/>
                  </a:lnTo>
                  <a:cubicBezTo>
                    <a:pt x="1582300" y="1684672"/>
                    <a:pt x="1587298" y="1687411"/>
                    <a:pt x="1565275" y="1676400"/>
                  </a:cubicBezTo>
                  <a:lnTo>
                    <a:pt x="1616075" y="1698625"/>
                  </a:lnTo>
                  <a:lnTo>
                    <a:pt x="1654175" y="1730375"/>
                  </a:lnTo>
                  <a:lnTo>
                    <a:pt x="1679575" y="1768475"/>
                  </a:lnTo>
                  <a:lnTo>
                    <a:pt x="1717675" y="1784350"/>
                  </a:lnTo>
                  <a:lnTo>
                    <a:pt x="1746250" y="1790700"/>
                  </a:lnTo>
                  <a:lnTo>
                    <a:pt x="1752600" y="1825625"/>
                  </a:lnTo>
                  <a:lnTo>
                    <a:pt x="1752600" y="1844675"/>
                  </a:lnTo>
                  <a:lnTo>
                    <a:pt x="1844675" y="1939925"/>
                  </a:lnTo>
                  <a:lnTo>
                    <a:pt x="1879600" y="1955800"/>
                  </a:lnTo>
                  <a:lnTo>
                    <a:pt x="1920875" y="1952625"/>
                  </a:lnTo>
                  <a:lnTo>
                    <a:pt x="1955800" y="1952625"/>
                  </a:lnTo>
                  <a:lnTo>
                    <a:pt x="1978025" y="1987550"/>
                  </a:lnTo>
                  <a:lnTo>
                    <a:pt x="2047875" y="2003425"/>
                  </a:lnTo>
                  <a:lnTo>
                    <a:pt x="2092325" y="2012950"/>
                  </a:lnTo>
                  <a:lnTo>
                    <a:pt x="2149475" y="2016125"/>
                  </a:lnTo>
                  <a:lnTo>
                    <a:pt x="2193925" y="2035175"/>
                  </a:lnTo>
                  <a:lnTo>
                    <a:pt x="2228850" y="2051050"/>
                  </a:lnTo>
                  <a:lnTo>
                    <a:pt x="2289175" y="2076450"/>
                  </a:lnTo>
                  <a:lnTo>
                    <a:pt x="2311400" y="2098675"/>
                  </a:lnTo>
                  <a:lnTo>
                    <a:pt x="2339975" y="2127250"/>
                  </a:lnTo>
                  <a:lnTo>
                    <a:pt x="2378075" y="2165350"/>
                  </a:lnTo>
                  <a:lnTo>
                    <a:pt x="2422525" y="2155825"/>
                  </a:lnTo>
                  <a:lnTo>
                    <a:pt x="2460625" y="2174875"/>
                  </a:lnTo>
                  <a:lnTo>
                    <a:pt x="2460625" y="2174875"/>
                  </a:lnTo>
                  <a:lnTo>
                    <a:pt x="2555875" y="2200275"/>
                  </a:lnTo>
                  <a:lnTo>
                    <a:pt x="2670175" y="2219325"/>
                  </a:lnTo>
                  <a:lnTo>
                    <a:pt x="2749550" y="2238375"/>
                  </a:lnTo>
                  <a:lnTo>
                    <a:pt x="2847975" y="2254250"/>
                  </a:lnTo>
                  <a:lnTo>
                    <a:pt x="2892425" y="2257425"/>
                  </a:lnTo>
                  <a:lnTo>
                    <a:pt x="2921000" y="2301875"/>
                  </a:lnTo>
                  <a:lnTo>
                    <a:pt x="2943225" y="2314575"/>
                  </a:lnTo>
                  <a:cubicBezTo>
                    <a:pt x="2978198" y="2318461"/>
                    <a:pt x="2981253" y="2319326"/>
                    <a:pt x="2952750" y="2314575"/>
                  </a:cubicBezTo>
                  <a:lnTo>
                    <a:pt x="3025775" y="2317750"/>
                  </a:lnTo>
                  <a:lnTo>
                    <a:pt x="3054350" y="2320925"/>
                  </a:lnTo>
                  <a:cubicBezTo>
                    <a:pt x="3061776" y="2321853"/>
                    <a:pt x="3076575" y="2324100"/>
                    <a:pt x="3076575" y="2324100"/>
                  </a:cubicBezTo>
                  <a:lnTo>
                    <a:pt x="3054350" y="2320925"/>
                  </a:lnTo>
                  <a:lnTo>
                    <a:pt x="3124200" y="2324100"/>
                  </a:lnTo>
                  <a:lnTo>
                    <a:pt x="3171825" y="2314575"/>
                  </a:lnTo>
                </a:path>
              </a:pathLst>
            </a:custGeom>
            <a:noFill/>
            <a:ln w="25400" cap="flat" cmpd="sng" algn="ctr">
              <a:solidFill>
                <a:srgbClr val="5199C5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9215">
              <a:extLst>
                <a:ext uri="{FF2B5EF4-FFF2-40B4-BE49-F238E27FC236}">
                  <a16:creationId xmlns:a16="http://schemas.microsoft.com/office/drawing/2014/main" id="{4BD0B234-9EE4-4CB5-AC76-F5DBA1ACB918}"/>
                </a:ext>
              </a:extLst>
            </p:cNvPr>
            <p:cNvSpPr/>
            <p:nvPr/>
          </p:nvSpPr>
          <p:spPr>
            <a:xfrm>
              <a:off x="5041900" y="2730500"/>
              <a:ext cx="3495675" cy="2120900"/>
            </a:xfrm>
            <a:custGeom>
              <a:avLst/>
              <a:gdLst>
                <a:gd name="connsiteX0" fmla="*/ 0 w 3495675"/>
                <a:gd name="connsiteY0" fmla="*/ 0 h 2120900"/>
                <a:gd name="connsiteX1" fmla="*/ 219075 w 3495675"/>
                <a:gd name="connsiteY1" fmla="*/ 6350 h 2120900"/>
                <a:gd name="connsiteX2" fmla="*/ 307975 w 3495675"/>
                <a:gd name="connsiteY2" fmla="*/ 25400 h 2120900"/>
                <a:gd name="connsiteX3" fmla="*/ 374650 w 3495675"/>
                <a:gd name="connsiteY3" fmla="*/ 50800 h 2120900"/>
                <a:gd name="connsiteX4" fmla="*/ 400050 w 3495675"/>
                <a:gd name="connsiteY4" fmla="*/ 149225 h 2120900"/>
                <a:gd name="connsiteX5" fmla="*/ 425450 w 3495675"/>
                <a:gd name="connsiteY5" fmla="*/ 301625 h 2120900"/>
                <a:gd name="connsiteX6" fmla="*/ 428625 w 3495675"/>
                <a:gd name="connsiteY6" fmla="*/ 406400 h 2120900"/>
                <a:gd name="connsiteX7" fmla="*/ 441325 w 3495675"/>
                <a:gd name="connsiteY7" fmla="*/ 549275 h 2120900"/>
                <a:gd name="connsiteX8" fmla="*/ 476250 w 3495675"/>
                <a:gd name="connsiteY8" fmla="*/ 574675 h 2120900"/>
                <a:gd name="connsiteX9" fmla="*/ 508000 w 3495675"/>
                <a:gd name="connsiteY9" fmla="*/ 587375 h 2120900"/>
                <a:gd name="connsiteX10" fmla="*/ 590550 w 3495675"/>
                <a:gd name="connsiteY10" fmla="*/ 606425 h 2120900"/>
                <a:gd name="connsiteX11" fmla="*/ 654050 w 3495675"/>
                <a:gd name="connsiteY11" fmla="*/ 628650 h 2120900"/>
                <a:gd name="connsiteX12" fmla="*/ 736600 w 3495675"/>
                <a:gd name="connsiteY12" fmla="*/ 657225 h 2120900"/>
                <a:gd name="connsiteX13" fmla="*/ 803275 w 3495675"/>
                <a:gd name="connsiteY13" fmla="*/ 695325 h 2120900"/>
                <a:gd name="connsiteX14" fmla="*/ 828675 w 3495675"/>
                <a:gd name="connsiteY14" fmla="*/ 755650 h 2120900"/>
                <a:gd name="connsiteX15" fmla="*/ 850900 w 3495675"/>
                <a:gd name="connsiteY15" fmla="*/ 828675 h 2120900"/>
                <a:gd name="connsiteX16" fmla="*/ 889000 w 3495675"/>
                <a:gd name="connsiteY16" fmla="*/ 901700 h 2120900"/>
                <a:gd name="connsiteX17" fmla="*/ 1003300 w 3495675"/>
                <a:gd name="connsiteY17" fmla="*/ 946150 h 2120900"/>
                <a:gd name="connsiteX18" fmla="*/ 1044575 w 3495675"/>
                <a:gd name="connsiteY18" fmla="*/ 958850 h 2120900"/>
                <a:gd name="connsiteX19" fmla="*/ 1104900 w 3495675"/>
                <a:gd name="connsiteY19" fmla="*/ 946150 h 2120900"/>
                <a:gd name="connsiteX20" fmla="*/ 1174750 w 3495675"/>
                <a:gd name="connsiteY20" fmla="*/ 965200 h 2120900"/>
                <a:gd name="connsiteX21" fmla="*/ 1216025 w 3495675"/>
                <a:gd name="connsiteY21" fmla="*/ 996950 h 2120900"/>
                <a:gd name="connsiteX22" fmla="*/ 1254125 w 3495675"/>
                <a:gd name="connsiteY22" fmla="*/ 1085850 h 2120900"/>
                <a:gd name="connsiteX23" fmla="*/ 1279525 w 3495675"/>
                <a:gd name="connsiteY23" fmla="*/ 1143000 h 2120900"/>
                <a:gd name="connsiteX24" fmla="*/ 1295400 w 3495675"/>
                <a:gd name="connsiteY24" fmla="*/ 1203325 h 2120900"/>
                <a:gd name="connsiteX25" fmla="*/ 1317625 w 3495675"/>
                <a:gd name="connsiteY25" fmla="*/ 1222375 h 2120900"/>
                <a:gd name="connsiteX26" fmla="*/ 1381125 w 3495675"/>
                <a:gd name="connsiteY26" fmla="*/ 1244600 h 2120900"/>
                <a:gd name="connsiteX27" fmla="*/ 1431925 w 3495675"/>
                <a:gd name="connsiteY27" fmla="*/ 1257300 h 2120900"/>
                <a:gd name="connsiteX28" fmla="*/ 1479550 w 3495675"/>
                <a:gd name="connsiteY28" fmla="*/ 1270000 h 2120900"/>
                <a:gd name="connsiteX29" fmla="*/ 1533525 w 3495675"/>
                <a:gd name="connsiteY29" fmla="*/ 1285875 h 2120900"/>
                <a:gd name="connsiteX30" fmla="*/ 1568450 w 3495675"/>
                <a:gd name="connsiteY30" fmla="*/ 1311275 h 2120900"/>
                <a:gd name="connsiteX31" fmla="*/ 1600200 w 3495675"/>
                <a:gd name="connsiteY31" fmla="*/ 1320800 h 2120900"/>
                <a:gd name="connsiteX32" fmla="*/ 1647825 w 3495675"/>
                <a:gd name="connsiteY32" fmla="*/ 1346200 h 2120900"/>
                <a:gd name="connsiteX33" fmla="*/ 1673225 w 3495675"/>
                <a:gd name="connsiteY33" fmla="*/ 1403350 h 2120900"/>
                <a:gd name="connsiteX34" fmla="*/ 1698625 w 3495675"/>
                <a:gd name="connsiteY34" fmla="*/ 1470025 h 2120900"/>
                <a:gd name="connsiteX35" fmla="*/ 1720850 w 3495675"/>
                <a:gd name="connsiteY35" fmla="*/ 1520825 h 2120900"/>
                <a:gd name="connsiteX36" fmla="*/ 1736725 w 3495675"/>
                <a:gd name="connsiteY36" fmla="*/ 1536700 h 2120900"/>
                <a:gd name="connsiteX37" fmla="*/ 1765300 w 3495675"/>
                <a:gd name="connsiteY37" fmla="*/ 1549400 h 2120900"/>
                <a:gd name="connsiteX38" fmla="*/ 1828800 w 3495675"/>
                <a:gd name="connsiteY38" fmla="*/ 1571625 h 2120900"/>
                <a:gd name="connsiteX39" fmla="*/ 1876425 w 3495675"/>
                <a:gd name="connsiteY39" fmla="*/ 1584325 h 2120900"/>
                <a:gd name="connsiteX40" fmla="*/ 1943100 w 3495675"/>
                <a:gd name="connsiteY40" fmla="*/ 1590675 h 2120900"/>
                <a:gd name="connsiteX41" fmla="*/ 1968500 w 3495675"/>
                <a:gd name="connsiteY41" fmla="*/ 1590675 h 2120900"/>
                <a:gd name="connsiteX42" fmla="*/ 2047875 w 3495675"/>
                <a:gd name="connsiteY42" fmla="*/ 1600200 h 2120900"/>
                <a:gd name="connsiteX43" fmla="*/ 2079625 w 3495675"/>
                <a:gd name="connsiteY43" fmla="*/ 1635125 h 2120900"/>
                <a:gd name="connsiteX44" fmla="*/ 2114550 w 3495675"/>
                <a:gd name="connsiteY44" fmla="*/ 1692275 h 2120900"/>
                <a:gd name="connsiteX45" fmla="*/ 2143125 w 3495675"/>
                <a:gd name="connsiteY45" fmla="*/ 1752600 h 2120900"/>
                <a:gd name="connsiteX46" fmla="*/ 2190750 w 3495675"/>
                <a:gd name="connsiteY46" fmla="*/ 1755775 h 2120900"/>
                <a:gd name="connsiteX47" fmla="*/ 2263775 w 3495675"/>
                <a:gd name="connsiteY47" fmla="*/ 1755775 h 2120900"/>
                <a:gd name="connsiteX48" fmla="*/ 2298700 w 3495675"/>
                <a:gd name="connsiteY48" fmla="*/ 1771650 h 2120900"/>
                <a:gd name="connsiteX49" fmla="*/ 2352675 w 3495675"/>
                <a:gd name="connsiteY49" fmla="*/ 1793875 h 2120900"/>
                <a:gd name="connsiteX50" fmla="*/ 2416175 w 3495675"/>
                <a:gd name="connsiteY50" fmla="*/ 1809750 h 2120900"/>
                <a:gd name="connsiteX51" fmla="*/ 2457450 w 3495675"/>
                <a:gd name="connsiteY51" fmla="*/ 1819275 h 2120900"/>
                <a:gd name="connsiteX52" fmla="*/ 2501900 w 3495675"/>
                <a:gd name="connsiteY52" fmla="*/ 1825625 h 2120900"/>
                <a:gd name="connsiteX53" fmla="*/ 2543175 w 3495675"/>
                <a:gd name="connsiteY53" fmla="*/ 1914525 h 2120900"/>
                <a:gd name="connsiteX54" fmla="*/ 2606675 w 3495675"/>
                <a:gd name="connsiteY54" fmla="*/ 1949450 h 2120900"/>
                <a:gd name="connsiteX55" fmla="*/ 2667000 w 3495675"/>
                <a:gd name="connsiteY55" fmla="*/ 1958975 h 2120900"/>
                <a:gd name="connsiteX56" fmla="*/ 2720975 w 3495675"/>
                <a:gd name="connsiteY56" fmla="*/ 1958975 h 2120900"/>
                <a:gd name="connsiteX57" fmla="*/ 2752725 w 3495675"/>
                <a:gd name="connsiteY57" fmla="*/ 1958975 h 2120900"/>
                <a:gd name="connsiteX58" fmla="*/ 2794000 w 3495675"/>
                <a:gd name="connsiteY58" fmla="*/ 2009775 h 2120900"/>
                <a:gd name="connsiteX59" fmla="*/ 2857500 w 3495675"/>
                <a:gd name="connsiteY59" fmla="*/ 2003425 h 2120900"/>
                <a:gd name="connsiteX60" fmla="*/ 2873375 w 3495675"/>
                <a:gd name="connsiteY60" fmla="*/ 2047875 h 2120900"/>
                <a:gd name="connsiteX61" fmla="*/ 2908300 w 3495675"/>
                <a:gd name="connsiteY61" fmla="*/ 2041525 h 2120900"/>
                <a:gd name="connsiteX62" fmla="*/ 2974975 w 3495675"/>
                <a:gd name="connsiteY62" fmla="*/ 2120900 h 2120900"/>
                <a:gd name="connsiteX63" fmla="*/ 3495675 w 3495675"/>
                <a:gd name="connsiteY63" fmla="*/ 2117725 h 2120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495675" h="2120900">
                  <a:moveTo>
                    <a:pt x="0" y="0"/>
                  </a:moveTo>
                  <a:lnTo>
                    <a:pt x="219075" y="6350"/>
                  </a:lnTo>
                  <a:lnTo>
                    <a:pt x="307975" y="25400"/>
                  </a:lnTo>
                  <a:lnTo>
                    <a:pt x="374650" y="50800"/>
                  </a:lnTo>
                  <a:lnTo>
                    <a:pt x="400050" y="149225"/>
                  </a:lnTo>
                  <a:lnTo>
                    <a:pt x="425450" y="301625"/>
                  </a:lnTo>
                  <a:cubicBezTo>
                    <a:pt x="426508" y="336550"/>
                    <a:pt x="427567" y="371475"/>
                    <a:pt x="428625" y="406400"/>
                  </a:cubicBezTo>
                  <a:lnTo>
                    <a:pt x="441325" y="549275"/>
                  </a:lnTo>
                  <a:lnTo>
                    <a:pt x="476250" y="574675"/>
                  </a:lnTo>
                  <a:cubicBezTo>
                    <a:pt x="528995" y="592257"/>
                    <a:pt x="540284" y="593832"/>
                    <a:pt x="508000" y="587375"/>
                  </a:cubicBezTo>
                  <a:lnTo>
                    <a:pt x="590550" y="606425"/>
                  </a:lnTo>
                  <a:lnTo>
                    <a:pt x="654050" y="628650"/>
                  </a:lnTo>
                  <a:lnTo>
                    <a:pt x="736600" y="657225"/>
                  </a:lnTo>
                  <a:lnTo>
                    <a:pt x="803275" y="695325"/>
                  </a:lnTo>
                  <a:lnTo>
                    <a:pt x="828675" y="755650"/>
                  </a:lnTo>
                  <a:lnTo>
                    <a:pt x="850900" y="828675"/>
                  </a:lnTo>
                  <a:lnTo>
                    <a:pt x="889000" y="901700"/>
                  </a:lnTo>
                  <a:lnTo>
                    <a:pt x="1003300" y="946150"/>
                  </a:lnTo>
                  <a:lnTo>
                    <a:pt x="1044575" y="958850"/>
                  </a:lnTo>
                  <a:lnTo>
                    <a:pt x="1104900" y="946150"/>
                  </a:lnTo>
                  <a:lnTo>
                    <a:pt x="1174750" y="965200"/>
                  </a:lnTo>
                  <a:lnTo>
                    <a:pt x="1216025" y="996950"/>
                  </a:lnTo>
                  <a:lnTo>
                    <a:pt x="1254125" y="1085850"/>
                  </a:lnTo>
                  <a:lnTo>
                    <a:pt x="1279525" y="1143000"/>
                  </a:lnTo>
                  <a:lnTo>
                    <a:pt x="1295400" y="1203325"/>
                  </a:lnTo>
                  <a:lnTo>
                    <a:pt x="1317625" y="1222375"/>
                  </a:lnTo>
                  <a:lnTo>
                    <a:pt x="1381125" y="1244600"/>
                  </a:lnTo>
                  <a:lnTo>
                    <a:pt x="1431925" y="1257300"/>
                  </a:lnTo>
                  <a:lnTo>
                    <a:pt x="1479550" y="1270000"/>
                  </a:lnTo>
                  <a:lnTo>
                    <a:pt x="1533525" y="1285875"/>
                  </a:lnTo>
                  <a:lnTo>
                    <a:pt x="1568450" y="1311275"/>
                  </a:lnTo>
                  <a:lnTo>
                    <a:pt x="1600200" y="1320800"/>
                  </a:lnTo>
                  <a:lnTo>
                    <a:pt x="1647825" y="1346200"/>
                  </a:lnTo>
                  <a:lnTo>
                    <a:pt x="1673225" y="1403350"/>
                  </a:lnTo>
                  <a:lnTo>
                    <a:pt x="1698625" y="1470025"/>
                  </a:lnTo>
                  <a:lnTo>
                    <a:pt x="1720850" y="1520825"/>
                  </a:lnTo>
                  <a:cubicBezTo>
                    <a:pt x="1753056" y="1542296"/>
                    <a:pt x="1760531" y="1542651"/>
                    <a:pt x="1736725" y="1536700"/>
                  </a:cubicBezTo>
                  <a:lnTo>
                    <a:pt x="1765300" y="1549400"/>
                  </a:lnTo>
                  <a:lnTo>
                    <a:pt x="1828800" y="1571625"/>
                  </a:lnTo>
                  <a:lnTo>
                    <a:pt x="1876425" y="1584325"/>
                  </a:lnTo>
                  <a:lnTo>
                    <a:pt x="1943100" y="1590675"/>
                  </a:lnTo>
                  <a:lnTo>
                    <a:pt x="1968500" y="1590675"/>
                  </a:lnTo>
                  <a:lnTo>
                    <a:pt x="2047875" y="1600200"/>
                  </a:lnTo>
                  <a:lnTo>
                    <a:pt x="2079625" y="1635125"/>
                  </a:lnTo>
                  <a:lnTo>
                    <a:pt x="2114550" y="1692275"/>
                  </a:lnTo>
                  <a:lnTo>
                    <a:pt x="2143125" y="1752600"/>
                  </a:lnTo>
                  <a:lnTo>
                    <a:pt x="2190750" y="1755775"/>
                  </a:lnTo>
                  <a:lnTo>
                    <a:pt x="2263775" y="1755775"/>
                  </a:lnTo>
                  <a:lnTo>
                    <a:pt x="2298700" y="1771650"/>
                  </a:lnTo>
                  <a:lnTo>
                    <a:pt x="2352675" y="1793875"/>
                  </a:lnTo>
                  <a:lnTo>
                    <a:pt x="2416175" y="1809750"/>
                  </a:lnTo>
                  <a:lnTo>
                    <a:pt x="2457450" y="1819275"/>
                  </a:lnTo>
                  <a:lnTo>
                    <a:pt x="2501900" y="1825625"/>
                  </a:lnTo>
                  <a:lnTo>
                    <a:pt x="2543175" y="1914525"/>
                  </a:lnTo>
                  <a:lnTo>
                    <a:pt x="2606675" y="1949450"/>
                  </a:lnTo>
                  <a:lnTo>
                    <a:pt x="2667000" y="1958975"/>
                  </a:lnTo>
                  <a:lnTo>
                    <a:pt x="2720975" y="1958975"/>
                  </a:lnTo>
                  <a:lnTo>
                    <a:pt x="2752725" y="1958975"/>
                  </a:lnTo>
                  <a:lnTo>
                    <a:pt x="2794000" y="2009775"/>
                  </a:lnTo>
                  <a:lnTo>
                    <a:pt x="2857500" y="2003425"/>
                  </a:lnTo>
                  <a:lnTo>
                    <a:pt x="2873375" y="2047875"/>
                  </a:lnTo>
                  <a:lnTo>
                    <a:pt x="2908300" y="2041525"/>
                  </a:lnTo>
                  <a:lnTo>
                    <a:pt x="2974975" y="2120900"/>
                  </a:lnTo>
                  <a:lnTo>
                    <a:pt x="3495675" y="2117725"/>
                  </a:lnTo>
                </a:path>
              </a:pathLst>
            </a:custGeom>
            <a:noFill/>
            <a:ln w="25400" cap="flat" cmpd="sng" algn="ctr">
              <a:solidFill>
                <a:srgbClr val="5199C5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9218">
              <a:extLst>
                <a:ext uri="{FF2B5EF4-FFF2-40B4-BE49-F238E27FC236}">
                  <a16:creationId xmlns:a16="http://schemas.microsoft.com/office/drawing/2014/main" id="{785AB5B5-1705-4C54-9F6D-A1F318310352}"/>
                </a:ext>
              </a:extLst>
            </p:cNvPr>
            <p:cNvSpPr/>
            <p:nvPr/>
          </p:nvSpPr>
          <p:spPr>
            <a:xfrm>
              <a:off x="5057775" y="2740025"/>
              <a:ext cx="3482975" cy="2270125"/>
            </a:xfrm>
            <a:custGeom>
              <a:avLst/>
              <a:gdLst>
                <a:gd name="connsiteX0" fmla="*/ 0 w 3482975"/>
                <a:gd name="connsiteY0" fmla="*/ 0 h 2270125"/>
                <a:gd name="connsiteX1" fmla="*/ 196850 w 3482975"/>
                <a:gd name="connsiteY1" fmla="*/ 6350 h 2270125"/>
                <a:gd name="connsiteX2" fmla="*/ 317500 w 3482975"/>
                <a:gd name="connsiteY2" fmla="*/ 34925 h 2270125"/>
                <a:gd name="connsiteX3" fmla="*/ 381000 w 3482975"/>
                <a:gd name="connsiteY3" fmla="*/ 168275 h 2270125"/>
                <a:gd name="connsiteX4" fmla="*/ 406400 w 3482975"/>
                <a:gd name="connsiteY4" fmla="*/ 317500 h 2270125"/>
                <a:gd name="connsiteX5" fmla="*/ 396875 w 3482975"/>
                <a:gd name="connsiteY5" fmla="*/ 609600 h 2270125"/>
                <a:gd name="connsiteX6" fmla="*/ 406400 w 3482975"/>
                <a:gd name="connsiteY6" fmla="*/ 765175 h 2270125"/>
                <a:gd name="connsiteX7" fmla="*/ 406400 w 3482975"/>
                <a:gd name="connsiteY7" fmla="*/ 1076325 h 2270125"/>
                <a:gd name="connsiteX8" fmla="*/ 428625 w 3482975"/>
                <a:gd name="connsiteY8" fmla="*/ 1152525 h 2270125"/>
                <a:gd name="connsiteX9" fmla="*/ 460375 w 3482975"/>
                <a:gd name="connsiteY9" fmla="*/ 1235075 h 2270125"/>
                <a:gd name="connsiteX10" fmla="*/ 514350 w 3482975"/>
                <a:gd name="connsiteY10" fmla="*/ 1279525 h 2270125"/>
                <a:gd name="connsiteX11" fmla="*/ 581025 w 3482975"/>
                <a:gd name="connsiteY11" fmla="*/ 1314450 h 2270125"/>
                <a:gd name="connsiteX12" fmla="*/ 638175 w 3482975"/>
                <a:gd name="connsiteY12" fmla="*/ 1336675 h 2270125"/>
                <a:gd name="connsiteX13" fmla="*/ 698500 w 3482975"/>
                <a:gd name="connsiteY13" fmla="*/ 1343025 h 2270125"/>
                <a:gd name="connsiteX14" fmla="*/ 717550 w 3482975"/>
                <a:gd name="connsiteY14" fmla="*/ 1406525 h 2270125"/>
                <a:gd name="connsiteX15" fmla="*/ 784225 w 3482975"/>
                <a:gd name="connsiteY15" fmla="*/ 1400175 h 2270125"/>
                <a:gd name="connsiteX16" fmla="*/ 822325 w 3482975"/>
                <a:gd name="connsiteY16" fmla="*/ 1520825 h 2270125"/>
                <a:gd name="connsiteX17" fmla="*/ 838200 w 3482975"/>
                <a:gd name="connsiteY17" fmla="*/ 1647825 h 2270125"/>
                <a:gd name="connsiteX18" fmla="*/ 914400 w 3482975"/>
                <a:gd name="connsiteY18" fmla="*/ 1743075 h 2270125"/>
                <a:gd name="connsiteX19" fmla="*/ 955675 w 3482975"/>
                <a:gd name="connsiteY19" fmla="*/ 1787525 h 2270125"/>
                <a:gd name="connsiteX20" fmla="*/ 1016000 w 3482975"/>
                <a:gd name="connsiteY20" fmla="*/ 1787525 h 2270125"/>
                <a:gd name="connsiteX21" fmla="*/ 1025525 w 3482975"/>
                <a:gd name="connsiteY21" fmla="*/ 1838325 h 2270125"/>
                <a:gd name="connsiteX22" fmla="*/ 1168400 w 3482975"/>
                <a:gd name="connsiteY22" fmla="*/ 1851025 h 2270125"/>
                <a:gd name="connsiteX23" fmla="*/ 1257300 w 3482975"/>
                <a:gd name="connsiteY23" fmla="*/ 1870075 h 2270125"/>
                <a:gd name="connsiteX24" fmla="*/ 1279525 w 3482975"/>
                <a:gd name="connsiteY24" fmla="*/ 1939925 h 2270125"/>
                <a:gd name="connsiteX25" fmla="*/ 1400175 w 3482975"/>
                <a:gd name="connsiteY25" fmla="*/ 1968500 h 2270125"/>
                <a:gd name="connsiteX26" fmla="*/ 1460500 w 3482975"/>
                <a:gd name="connsiteY26" fmla="*/ 2006600 h 2270125"/>
                <a:gd name="connsiteX27" fmla="*/ 1543050 w 3482975"/>
                <a:gd name="connsiteY27" fmla="*/ 2016125 h 2270125"/>
                <a:gd name="connsiteX28" fmla="*/ 1597025 w 3482975"/>
                <a:gd name="connsiteY28" fmla="*/ 2066925 h 2270125"/>
                <a:gd name="connsiteX29" fmla="*/ 1660525 w 3482975"/>
                <a:gd name="connsiteY29" fmla="*/ 2079625 h 2270125"/>
                <a:gd name="connsiteX30" fmla="*/ 1670050 w 3482975"/>
                <a:gd name="connsiteY30" fmla="*/ 2111375 h 2270125"/>
                <a:gd name="connsiteX31" fmla="*/ 1784350 w 3482975"/>
                <a:gd name="connsiteY31" fmla="*/ 2108200 h 2270125"/>
                <a:gd name="connsiteX32" fmla="*/ 1866900 w 3482975"/>
                <a:gd name="connsiteY32" fmla="*/ 2117725 h 2270125"/>
                <a:gd name="connsiteX33" fmla="*/ 1905000 w 3482975"/>
                <a:gd name="connsiteY33" fmla="*/ 2139950 h 2270125"/>
                <a:gd name="connsiteX34" fmla="*/ 2041525 w 3482975"/>
                <a:gd name="connsiteY34" fmla="*/ 2143125 h 2270125"/>
                <a:gd name="connsiteX35" fmla="*/ 2085975 w 3482975"/>
                <a:gd name="connsiteY35" fmla="*/ 2184400 h 2270125"/>
                <a:gd name="connsiteX36" fmla="*/ 2209800 w 3482975"/>
                <a:gd name="connsiteY36" fmla="*/ 2181225 h 2270125"/>
                <a:gd name="connsiteX37" fmla="*/ 2235200 w 3482975"/>
                <a:gd name="connsiteY37" fmla="*/ 2228850 h 2270125"/>
                <a:gd name="connsiteX38" fmla="*/ 2343150 w 3482975"/>
                <a:gd name="connsiteY38" fmla="*/ 2219325 h 2270125"/>
                <a:gd name="connsiteX39" fmla="*/ 2355850 w 3482975"/>
                <a:gd name="connsiteY39" fmla="*/ 2254250 h 2270125"/>
                <a:gd name="connsiteX40" fmla="*/ 2838450 w 3482975"/>
                <a:gd name="connsiteY40" fmla="*/ 2235200 h 2270125"/>
                <a:gd name="connsiteX41" fmla="*/ 2844800 w 3482975"/>
                <a:gd name="connsiteY41" fmla="*/ 2266950 h 2270125"/>
                <a:gd name="connsiteX42" fmla="*/ 3482975 w 3482975"/>
                <a:gd name="connsiteY42" fmla="*/ 2270125 h 227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482975" h="2270125">
                  <a:moveTo>
                    <a:pt x="0" y="0"/>
                  </a:moveTo>
                  <a:lnTo>
                    <a:pt x="196850" y="6350"/>
                  </a:lnTo>
                  <a:lnTo>
                    <a:pt x="317500" y="34925"/>
                  </a:lnTo>
                  <a:lnTo>
                    <a:pt x="381000" y="168275"/>
                  </a:lnTo>
                  <a:lnTo>
                    <a:pt x="406400" y="317500"/>
                  </a:lnTo>
                  <a:lnTo>
                    <a:pt x="396875" y="609600"/>
                  </a:lnTo>
                  <a:lnTo>
                    <a:pt x="406400" y="765175"/>
                  </a:lnTo>
                  <a:lnTo>
                    <a:pt x="406400" y="1076325"/>
                  </a:lnTo>
                  <a:lnTo>
                    <a:pt x="428625" y="1152525"/>
                  </a:lnTo>
                  <a:lnTo>
                    <a:pt x="460375" y="1235075"/>
                  </a:lnTo>
                  <a:lnTo>
                    <a:pt x="514350" y="1279525"/>
                  </a:lnTo>
                  <a:lnTo>
                    <a:pt x="581025" y="1314450"/>
                  </a:lnTo>
                  <a:lnTo>
                    <a:pt x="638175" y="1336675"/>
                  </a:lnTo>
                  <a:lnTo>
                    <a:pt x="698500" y="1343025"/>
                  </a:lnTo>
                  <a:lnTo>
                    <a:pt x="717550" y="1406525"/>
                  </a:lnTo>
                  <a:lnTo>
                    <a:pt x="784225" y="1400175"/>
                  </a:lnTo>
                  <a:lnTo>
                    <a:pt x="822325" y="1520825"/>
                  </a:lnTo>
                  <a:lnTo>
                    <a:pt x="838200" y="1647825"/>
                  </a:lnTo>
                  <a:lnTo>
                    <a:pt x="914400" y="1743075"/>
                  </a:lnTo>
                  <a:lnTo>
                    <a:pt x="955675" y="1787525"/>
                  </a:lnTo>
                  <a:lnTo>
                    <a:pt x="1016000" y="1787525"/>
                  </a:lnTo>
                  <a:lnTo>
                    <a:pt x="1025525" y="1838325"/>
                  </a:lnTo>
                  <a:lnTo>
                    <a:pt x="1168400" y="1851025"/>
                  </a:lnTo>
                  <a:lnTo>
                    <a:pt x="1257300" y="1870075"/>
                  </a:lnTo>
                  <a:lnTo>
                    <a:pt x="1279525" y="1939925"/>
                  </a:lnTo>
                  <a:lnTo>
                    <a:pt x="1400175" y="1968500"/>
                  </a:lnTo>
                  <a:lnTo>
                    <a:pt x="1460500" y="2006600"/>
                  </a:lnTo>
                  <a:lnTo>
                    <a:pt x="1543050" y="2016125"/>
                  </a:lnTo>
                  <a:lnTo>
                    <a:pt x="1597025" y="2066925"/>
                  </a:lnTo>
                  <a:lnTo>
                    <a:pt x="1660525" y="2079625"/>
                  </a:lnTo>
                  <a:lnTo>
                    <a:pt x="1670050" y="2111375"/>
                  </a:lnTo>
                  <a:lnTo>
                    <a:pt x="1784350" y="2108200"/>
                  </a:lnTo>
                  <a:lnTo>
                    <a:pt x="1866900" y="2117725"/>
                  </a:lnTo>
                  <a:lnTo>
                    <a:pt x="1905000" y="2139950"/>
                  </a:lnTo>
                  <a:lnTo>
                    <a:pt x="2041525" y="2143125"/>
                  </a:lnTo>
                  <a:lnTo>
                    <a:pt x="2085975" y="2184400"/>
                  </a:lnTo>
                  <a:lnTo>
                    <a:pt x="2209800" y="2181225"/>
                  </a:lnTo>
                  <a:lnTo>
                    <a:pt x="2235200" y="2228850"/>
                  </a:lnTo>
                  <a:lnTo>
                    <a:pt x="2343150" y="2219325"/>
                  </a:lnTo>
                  <a:lnTo>
                    <a:pt x="2355850" y="2254250"/>
                  </a:lnTo>
                  <a:lnTo>
                    <a:pt x="2838450" y="2235200"/>
                  </a:lnTo>
                  <a:lnTo>
                    <a:pt x="2844800" y="2266950"/>
                  </a:lnTo>
                  <a:lnTo>
                    <a:pt x="3482975" y="2270125"/>
                  </a:lnTo>
                </a:path>
              </a:pathLst>
            </a:custGeom>
            <a:noFill/>
            <a:ln w="25400" cap="flat" cmpd="sng" algn="ctr">
              <a:solidFill>
                <a:srgbClr val="5199C5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4261BD1-0F7A-4566-8167-97EDBE6241D3}"/>
                </a:ext>
              </a:extLst>
            </p:cNvPr>
            <p:cNvSpPr txBox="1"/>
            <p:nvPr/>
          </p:nvSpPr>
          <p:spPr>
            <a:xfrm>
              <a:off x="592138" y="2500313"/>
              <a:ext cx="449262" cy="272573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10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9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8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7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6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5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4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3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2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1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0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0833D75-1ADA-4C1A-A971-76A7DDAF5AF4}"/>
                </a:ext>
              </a:extLst>
            </p:cNvPr>
            <p:cNvSpPr txBox="1"/>
            <p:nvPr/>
          </p:nvSpPr>
          <p:spPr>
            <a:xfrm>
              <a:off x="1651000" y="2216150"/>
              <a:ext cx="2776538" cy="33813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Abirateron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 (Cou-AA-301)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6A97466-8D50-4BF9-9B7E-6624C8CF9580}"/>
                </a:ext>
              </a:extLst>
            </p:cNvPr>
            <p:cNvSpPr txBox="1"/>
            <p:nvPr/>
          </p:nvSpPr>
          <p:spPr>
            <a:xfrm>
              <a:off x="5638800" y="2241550"/>
              <a:ext cx="3079750" cy="33813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Enz</a:t>
              </a:r>
              <a:r>
                <a:rPr kumimoji="0" lang="tr-TR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a</a:t>
              </a:r>
              <a:r>
                <a:rPr kumimoji="0" lang="en-US" sz="16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lutamid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 (AFFIRM)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434624A-B4EC-4081-9E49-673FD6561279}"/>
                </a:ext>
              </a:extLst>
            </p:cNvPr>
            <p:cNvSpPr txBox="1"/>
            <p:nvPr/>
          </p:nvSpPr>
          <p:spPr>
            <a:xfrm rot="16200000">
              <a:off x="-330200" y="3740150"/>
              <a:ext cx="1841500" cy="24765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Progression-free</a:t>
              </a:r>
              <a:r>
                <a:rPr kumimoji="0" lang="tr-TR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 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 Survival (%)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9714E59-6641-4CF3-9E49-5891471966E5}"/>
                </a:ext>
              </a:extLst>
            </p:cNvPr>
            <p:cNvSpPr txBox="1"/>
            <p:nvPr/>
          </p:nvSpPr>
          <p:spPr>
            <a:xfrm>
              <a:off x="1949450" y="4400550"/>
              <a:ext cx="692150" cy="26193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Pla</a:t>
              </a:r>
              <a:r>
                <a:rPr kumimoji="0" lang="tr-TR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s</a:t>
              </a:r>
              <a:r>
                <a:rPr kumimoji="0" lang="en-US" sz="11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ebo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ヒラギノ角ゴ Pro W3" pitchFamily="127" charset="-128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5CD5034A-A528-47B4-9484-605A14084514}"/>
                </a:ext>
              </a:extLst>
            </p:cNvPr>
            <p:cNvSpPr txBox="1"/>
            <p:nvPr/>
          </p:nvSpPr>
          <p:spPr>
            <a:xfrm>
              <a:off x="3346450" y="3981450"/>
              <a:ext cx="819150" cy="26193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Abirateron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ヒラギノ角ゴ Pro W3" pitchFamily="127" charset="-128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683C13A-40A7-4F3D-9679-FDCD5AA998E8}"/>
                </a:ext>
              </a:extLst>
            </p:cNvPr>
            <p:cNvSpPr txBox="1"/>
            <p:nvPr/>
          </p:nvSpPr>
          <p:spPr>
            <a:xfrm>
              <a:off x="2274888" y="5346700"/>
              <a:ext cx="974725" cy="26193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Zaman (ay)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ヒラギノ角ゴ Pro W3" pitchFamily="127" charset="-128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9693781-3D06-4E50-8723-D56AFE92644E}"/>
                </a:ext>
              </a:extLst>
            </p:cNvPr>
            <p:cNvSpPr txBox="1"/>
            <p:nvPr/>
          </p:nvSpPr>
          <p:spPr>
            <a:xfrm>
              <a:off x="6488113" y="5353050"/>
              <a:ext cx="995362" cy="26193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Zaman (ay)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ヒラギノ角ゴ Pro W3" pitchFamily="127" charset="-128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617ABF1-A5A6-4C35-A063-F83867E4445A}"/>
                </a:ext>
              </a:extLst>
            </p:cNvPr>
            <p:cNvSpPr txBox="1"/>
            <p:nvPr/>
          </p:nvSpPr>
          <p:spPr>
            <a:xfrm>
              <a:off x="5524500" y="4673600"/>
              <a:ext cx="692150" cy="26193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Pla</a:t>
              </a:r>
              <a:r>
                <a:rPr kumimoji="0" lang="tr-TR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s</a:t>
              </a:r>
              <a:r>
                <a:rPr kumimoji="0" lang="en-US" sz="11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ebo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ヒラギノ角ゴ Pro W3" pitchFamily="127" charset="-128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52062A00-45AB-4F3D-B569-53BE1AA1BCB8}"/>
                </a:ext>
              </a:extLst>
            </p:cNvPr>
            <p:cNvSpPr txBox="1"/>
            <p:nvPr/>
          </p:nvSpPr>
          <p:spPr>
            <a:xfrm>
              <a:off x="7670800" y="4375150"/>
              <a:ext cx="996950" cy="26193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Enzalu</a:t>
              </a:r>
              <a:r>
                <a:rPr kumimoji="0" lang="tr-TR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amid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7C790635-B53B-4971-9C51-F14EDD08593F}"/>
                </a:ext>
              </a:extLst>
            </p:cNvPr>
            <p:cNvSpPr txBox="1"/>
            <p:nvPr/>
          </p:nvSpPr>
          <p:spPr>
            <a:xfrm>
              <a:off x="927100" y="5129213"/>
              <a:ext cx="260350" cy="238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0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8D6B2131-4C7D-4DED-BBE4-E4A20870AFD3}"/>
                </a:ext>
              </a:extLst>
            </p:cNvPr>
            <p:cNvSpPr txBox="1"/>
            <p:nvPr/>
          </p:nvSpPr>
          <p:spPr>
            <a:xfrm>
              <a:off x="1555750" y="5129213"/>
              <a:ext cx="260350" cy="238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3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C4B9847-FD36-4DC9-9D7A-16299D13AB8E}"/>
                </a:ext>
              </a:extLst>
            </p:cNvPr>
            <p:cNvSpPr txBox="1"/>
            <p:nvPr/>
          </p:nvSpPr>
          <p:spPr>
            <a:xfrm>
              <a:off x="2184400" y="5129213"/>
              <a:ext cx="260350" cy="238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6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7CED066-E3A2-4037-9106-1AE72FDBD673}"/>
                </a:ext>
              </a:extLst>
            </p:cNvPr>
            <p:cNvSpPr txBox="1"/>
            <p:nvPr/>
          </p:nvSpPr>
          <p:spPr>
            <a:xfrm>
              <a:off x="2806700" y="5129213"/>
              <a:ext cx="260350" cy="238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9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AF39F762-B0D4-49E2-8674-5172D79E804B}"/>
                </a:ext>
              </a:extLst>
            </p:cNvPr>
            <p:cNvSpPr txBox="1"/>
            <p:nvPr/>
          </p:nvSpPr>
          <p:spPr>
            <a:xfrm>
              <a:off x="3403600" y="5129213"/>
              <a:ext cx="336550" cy="238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12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A7A5AF5-A7E6-4E6B-8E05-304C7D10BE68}"/>
                </a:ext>
              </a:extLst>
            </p:cNvPr>
            <p:cNvSpPr txBox="1"/>
            <p:nvPr/>
          </p:nvSpPr>
          <p:spPr>
            <a:xfrm>
              <a:off x="4032250" y="5129213"/>
              <a:ext cx="336550" cy="238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15</a:t>
              </a: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E7B85C9D-536C-488C-A465-2DD3DA156848}"/>
                </a:ext>
              </a:extLst>
            </p:cNvPr>
            <p:cNvCxnSpPr/>
            <p:nvPr/>
          </p:nvCxnSpPr>
          <p:spPr>
            <a:xfrm>
              <a:off x="5054600" y="2620963"/>
              <a:ext cx="0" cy="2527300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15CCBCBE-AEF8-4D49-93AB-FB7EB13AF781}"/>
                </a:ext>
              </a:extLst>
            </p:cNvPr>
            <p:cNvCxnSpPr/>
            <p:nvPr/>
          </p:nvCxnSpPr>
          <p:spPr>
            <a:xfrm flipH="1">
              <a:off x="4983163" y="5084763"/>
              <a:ext cx="3700462" cy="0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BC10EAC4-2FA8-4A27-8AF3-C73A7CC62A30}"/>
                </a:ext>
              </a:extLst>
            </p:cNvPr>
            <p:cNvCxnSpPr/>
            <p:nvPr/>
          </p:nvCxnSpPr>
          <p:spPr>
            <a:xfrm flipH="1">
              <a:off x="4983163" y="4097338"/>
              <a:ext cx="71437" cy="0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6E51CEE8-92A2-4469-8C2E-E5C8C9861AFA}"/>
                </a:ext>
              </a:extLst>
            </p:cNvPr>
            <p:cNvCxnSpPr/>
            <p:nvPr/>
          </p:nvCxnSpPr>
          <p:spPr>
            <a:xfrm flipH="1">
              <a:off x="4983163" y="4605338"/>
              <a:ext cx="71437" cy="0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E8A63CA-1B4D-46F8-A3D4-E22AC8ACECAC}"/>
                </a:ext>
              </a:extLst>
            </p:cNvPr>
            <p:cNvCxnSpPr/>
            <p:nvPr/>
          </p:nvCxnSpPr>
          <p:spPr>
            <a:xfrm flipH="1">
              <a:off x="4983163" y="3608388"/>
              <a:ext cx="71437" cy="0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981C0CF-2BF1-4EBC-B15E-44BB50221169}"/>
                </a:ext>
              </a:extLst>
            </p:cNvPr>
            <p:cNvCxnSpPr/>
            <p:nvPr/>
          </p:nvCxnSpPr>
          <p:spPr>
            <a:xfrm flipH="1">
              <a:off x="4983163" y="3103563"/>
              <a:ext cx="71437" cy="0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257D26C8-6B7B-4C67-98A1-5B1A54BD8ED7}"/>
                </a:ext>
              </a:extLst>
            </p:cNvPr>
            <p:cNvCxnSpPr/>
            <p:nvPr/>
          </p:nvCxnSpPr>
          <p:spPr>
            <a:xfrm flipH="1">
              <a:off x="4983163" y="2617788"/>
              <a:ext cx="71437" cy="0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F4DE9E29-4726-437B-8907-8B2CFBFA43C1}"/>
                </a:ext>
              </a:extLst>
            </p:cNvPr>
            <p:cNvCxnSpPr/>
            <p:nvPr/>
          </p:nvCxnSpPr>
          <p:spPr>
            <a:xfrm>
              <a:off x="5491163" y="5086350"/>
              <a:ext cx="0" cy="65088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27EC9FA7-DC56-4A29-8C2C-EA043A6AB4BF}"/>
                </a:ext>
              </a:extLst>
            </p:cNvPr>
            <p:cNvSpPr txBox="1"/>
            <p:nvPr/>
          </p:nvSpPr>
          <p:spPr>
            <a:xfrm>
              <a:off x="4586288" y="2500313"/>
              <a:ext cx="449262" cy="272573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10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9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8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7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6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5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4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3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2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10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0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C5AFA2CC-8173-49BF-88C7-DCC7D6B9D8BE}"/>
                </a:ext>
              </a:extLst>
            </p:cNvPr>
            <p:cNvSpPr txBox="1"/>
            <p:nvPr/>
          </p:nvSpPr>
          <p:spPr>
            <a:xfrm>
              <a:off x="4921250" y="5129213"/>
              <a:ext cx="260350" cy="238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0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2C9D9A2F-EF1C-4544-B66D-7195B0ABF27E}"/>
                </a:ext>
              </a:extLst>
            </p:cNvPr>
            <p:cNvSpPr txBox="1"/>
            <p:nvPr/>
          </p:nvSpPr>
          <p:spPr>
            <a:xfrm>
              <a:off x="5359400" y="5129213"/>
              <a:ext cx="260350" cy="238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3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E7E017B8-4434-4E47-BD7A-2FFE373B12AB}"/>
                </a:ext>
              </a:extLst>
            </p:cNvPr>
            <p:cNvSpPr txBox="1"/>
            <p:nvPr/>
          </p:nvSpPr>
          <p:spPr>
            <a:xfrm>
              <a:off x="5819775" y="5129213"/>
              <a:ext cx="260350" cy="238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6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375E9031-1685-483E-AA21-C3EBA309DA40}"/>
                </a:ext>
              </a:extLst>
            </p:cNvPr>
            <p:cNvSpPr txBox="1"/>
            <p:nvPr/>
          </p:nvSpPr>
          <p:spPr>
            <a:xfrm>
              <a:off x="6276975" y="5129213"/>
              <a:ext cx="260350" cy="238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9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5B741ECD-8197-441A-A337-81B173BB79EE}"/>
                </a:ext>
              </a:extLst>
            </p:cNvPr>
            <p:cNvSpPr txBox="1"/>
            <p:nvPr/>
          </p:nvSpPr>
          <p:spPr>
            <a:xfrm>
              <a:off x="6683375" y="5129213"/>
              <a:ext cx="361950" cy="238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12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410AC63C-61F4-4797-88C6-4B1DA203655D}"/>
                </a:ext>
              </a:extLst>
            </p:cNvPr>
            <p:cNvSpPr txBox="1"/>
            <p:nvPr/>
          </p:nvSpPr>
          <p:spPr>
            <a:xfrm>
              <a:off x="7146925" y="5129213"/>
              <a:ext cx="336550" cy="238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15</a:t>
              </a:r>
            </a:p>
          </p:txBody>
        </p: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632837B6-24A9-4934-8103-30D9CAE454E3}"/>
                </a:ext>
              </a:extLst>
            </p:cNvPr>
            <p:cNvCxnSpPr/>
            <p:nvPr/>
          </p:nvCxnSpPr>
          <p:spPr>
            <a:xfrm>
              <a:off x="5951538" y="5086350"/>
              <a:ext cx="0" cy="65088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0B01ACB7-8783-4D1C-8C96-3FB0C9E9FE56}"/>
                </a:ext>
              </a:extLst>
            </p:cNvPr>
            <p:cNvCxnSpPr/>
            <p:nvPr/>
          </p:nvCxnSpPr>
          <p:spPr>
            <a:xfrm>
              <a:off x="6402388" y="5086350"/>
              <a:ext cx="0" cy="65088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712E9F1-2E64-4E16-A818-A22B47F5E3B3}"/>
                </a:ext>
              </a:extLst>
            </p:cNvPr>
            <p:cNvCxnSpPr/>
            <p:nvPr/>
          </p:nvCxnSpPr>
          <p:spPr>
            <a:xfrm>
              <a:off x="6862763" y="5086350"/>
              <a:ext cx="0" cy="65088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44850830-9F37-4984-99F1-8FF47809E59D}"/>
                </a:ext>
              </a:extLst>
            </p:cNvPr>
            <p:cNvCxnSpPr/>
            <p:nvPr/>
          </p:nvCxnSpPr>
          <p:spPr>
            <a:xfrm>
              <a:off x="7316788" y="5086350"/>
              <a:ext cx="0" cy="65088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65D3BF86-FE84-42A6-AB1F-1BC5F7103A5B}"/>
                </a:ext>
              </a:extLst>
            </p:cNvPr>
            <p:cNvCxnSpPr/>
            <p:nvPr/>
          </p:nvCxnSpPr>
          <p:spPr>
            <a:xfrm>
              <a:off x="7773988" y="5086350"/>
              <a:ext cx="0" cy="65088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21BFB002-F9F6-4072-99DA-BA6420F73DF4}"/>
                </a:ext>
              </a:extLst>
            </p:cNvPr>
            <p:cNvCxnSpPr/>
            <p:nvPr/>
          </p:nvCxnSpPr>
          <p:spPr>
            <a:xfrm>
              <a:off x="8228013" y="5086350"/>
              <a:ext cx="0" cy="65088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71FA744-D3F5-48D0-8880-2A1F130425C7}"/>
                </a:ext>
              </a:extLst>
            </p:cNvPr>
            <p:cNvCxnSpPr/>
            <p:nvPr/>
          </p:nvCxnSpPr>
          <p:spPr>
            <a:xfrm>
              <a:off x="8678863" y="5086350"/>
              <a:ext cx="0" cy="65088"/>
            </a:xfrm>
            <a:prstGeom prst="line">
              <a:avLst/>
            </a:prstGeom>
            <a:noFill/>
            <a:ln w="9525" cap="flat" cmpd="sng" algn="ctr">
              <a:solidFill>
                <a:srgbClr val="7F7F7F"/>
              </a:solidFill>
              <a:prstDash val="solid"/>
            </a:ln>
            <a:effectLst/>
          </p:spPr>
        </p:cxn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013C5BC3-51D3-4FCE-8952-630AC93EB1A0}"/>
                </a:ext>
              </a:extLst>
            </p:cNvPr>
            <p:cNvSpPr txBox="1"/>
            <p:nvPr/>
          </p:nvSpPr>
          <p:spPr>
            <a:xfrm>
              <a:off x="7610475" y="5129213"/>
              <a:ext cx="336550" cy="238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18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78146FF1-F6F8-4641-AD9D-79E27B043668}"/>
                </a:ext>
              </a:extLst>
            </p:cNvPr>
            <p:cNvSpPr txBox="1"/>
            <p:nvPr/>
          </p:nvSpPr>
          <p:spPr>
            <a:xfrm>
              <a:off x="8048625" y="5129213"/>
              <a:ext cx="336550" cy="238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21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CC961117-3559-4E31-ABE7-E85A7A4531E9}"/>
                </a:ext>
              </a:extLst>
            </p:cNvPr>
            <p:cNvSpPr txBox="1"/>
            <p:nvPr/>
          </p:nvSpPr>
          <p:spPr>
            <a:xfrm>
              <a:off x="8515350" y="5129213"/>
              <a:ext cx="336550" cy="2381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24</a:t>
              </a:r>
            </a:p>
          </p:txBody>
        </p:sp>
        <p:sp>
          <p:nvSpPr>
            <p:cNvPr id="72" name="TextBox 9225">
              <a:extLst>
                <a:ext uri="{FF2B5EF4-FFF2-40B4-BE49-F238E27FC236}">
                  <a16:creationId xmlns:a16="http://schemas.microsoft.com/office/drawing/2014/main" id="{9AAB5A85-6663-4E26-A111-DC594093087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0200" y="6007100"/>
              <a:ext cx="8653463" cy="508000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charset="0"/>
                  <a:ea typeface="ヒラギノ角ゴ Pro W3" charset="0"/>
                </a:rPr>
                <a:t>De Bono et al. N </a:t>
              </a:r>
              <a:r>
                <a:rPr kumimoji="0" lang="en-US" sz="9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Calibri" charset="0"/>
                  <a:ea typeface="ヒラギノ角ゴ Pro W3" charset="0"/>
                </a:rPr>
                <a:t>Engl</a:t>
              </a: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charset="0"/>
                  <a:ea typeface="ヒラギノ角ゴ Pro W3" charset="0"/>
                </a:rPr>
                <a:t> J Med 2011; 364: 1995-2005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Calibri" charset="0"/>
                  <a:ea typeface="ヒラギノ角ゴ Pro W3" charset="0"/>
                </a:rPr>
                <a:t>Soher</a:t>
              </a: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charset="0"/>
                  <a:ea typeface="ヒラギノ角ゴ Pro W3" charset="0"/>
                </a:rPr>
                <a:t> H et al. N </a:t>
              </a:r>
              <a:r>
                <a:rPr kumimoji="0" lang="en-US" sz="9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Calibri" charset="0"/>
                  <a:ea typeface="ヒラギノ角ゴ Pro W3" charset="0"/>
                </a:rPr>
                <a:t>Engl</a:t>
              </a: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charset="0"/>
                  <a:ea typeface="ヒラギノ角ゴ Pro W3" charset="0"/>
                </a:rPr>
                <a:t> J Med 2012 (</a:t>
              </a:r>
              <a:r>
                <a:rPr kumimoji="0" lang="en-US" sz="900" b="0" i="0" u="none" strike="noStrike" kern="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Calibri" charset="0"/>
                  <a:ea typeface="ヒラギノ角ゴ Pro W3" charset="0"/>
                </a:rPr>
                <a:t>epub</a:t>
              </a: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charset="0"/>
                  <a:ea typeface="ヒラギノ角ゴ Pro W3" charset="0"/>
                </a:rPr>
                <a:t> ahead of print)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charset="0"/>
                <a:ea typeface="ヒラギノ角ゴ Pro W3" charset="0"/>
              </a:endParaRPr>
            </a:p>
          </p:txBody>
        </p:sp>
        <p:sp>
          <p:nvSpPr>
            <p:cNvPr id="73" name="Rounded Rectangle 78">
              <a:extLst>
                <a:ext uri="{FF2B5EF4-FFF2-40B4-BE49-F238E27FC236}">
                  <a16:creationId xmlns:a16="http://schemas.microsoft.com/office/drawing/2014/main" id="{9C055285-AF5B-40FF-BFE9-3F0749264BD8}"/>
                </a:ext>
              </a:extLst>
            </p:cNvPr>
            <p:cNvSpPr/>
            <p:nvPr/>
          </p:nvSpPr>
          <p:spPr>
            <a:xfrm>
              <a:off x="492919" y="1515402"/>
              <a:ext cx="8547100" cy="4241800"/>
            </a:xfrm>
            <a:prstGeom prst="roundRect">
              <a:avLst>
                <a:gd name="adj" fmla="val 3312"/>
              </a:avLst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2120822C-440E-4574-B620-C74E8F835515}"/>
                </a:ext>
              </a:extLst>
            </p:cNvPr>
            <p:cNvCxnSpPr/>
            <p:nvPr/>
          </p:nvCxnSpPr>
          <p:spPr>
            <a:xfrm flipH="1" flipV="1">
              <a:off x="355600" y="2012950"/>
              <a:ext cx="8547100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3DC7155B-F9DB-4A7F-8998-C6B9AB8BB808}"/>
                </a:ext>
              </a:extLst>
            </p:cNvPr>
            <p:cNvCxnSpPr>
              <a:stCxn id="73" idx="2"/>
            </p:cNvCxnSpPr>
            <p:nvPr/>
          </p:nvCxnSpPr>
          <p:spPr>
            <a:xfrm flipH="1" flipV="1">
              <a:off x="4753769" y="1972602"/>
              <a:ext cx="12700" cy="378460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6016691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AA920E-BBF4-4C97-8C56-AF607F91F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-V7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9ABE533-5B00-447D-8606-7605197819D1}"/>
              </a:ext>
            </a:extLst>
          </p:cNvPr>
          <p:cNvGrpSpPr/>
          <p:nvPr/>
        </p:nvGrpSpPr>
        <p:grpSpPr>
          <a:xfrm>
            <a:off x="2351584" y="1772816"/>
            <a:ext cx="8174038" cy="4587875"/>
            <a:chOff x="558800" y="1654175"/>
            <a:chExt cx="8174038" cy="4587875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1E469EF0-266B-4F67-9736-031D62FDF981}"/>
                </a:ext>
              </a:extLst>
            </p:cNvPr>
            <p:cNvSpPr txBox="1"/>
            <p:nvPr/>
          </p:nvSpPr>
          <p:spPr>
            <a:xfrm>
              <a:off x="755650" y="1771650"/>
              <a:ext cx="7488238" cy="36988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AR-V7 pozitif hastalarda hormonal tedavilere cevap verme oranı </a:t>
              </a:r>
              <a:r>
                <a:rPr kumimoji="0" lang="tr-TR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%0</a:t>
              </a:r>
              <a:r>
                <a:rPr kumimoji="0" lang="tr-TR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ヒラギノ角ゴ Pro W3" pitchFamily="127" charset="-128"/>
                </a:rPr>
                <a:t>’dır.</a:t>
              </a:r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CE02F597-B351-4E0A-B790-94B43D48D3C4}"/>
                </a:ext>
              </a:extLst>
            </p:cNvPr>
            <p:cNvSpPr/>
            <p:nvPr/>
          </p:nvSpPr>
          <p:spPr>
            <a:xfrm>
              <a:off x="4767263" y="2298700"/>
              <a:ext cx="1443037" cy="252413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birateron   n:31</a:t>
              </a:r>
            </a:p>
          </p:txBody>
        </p:sp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F3AB4913-930D-4744-9D87-8E7A24C5571C}"/>
                </a:ext>
              </a:extLst>
            </p:cNvPr>
            <p:cNvSpPr/>
            <p:nvPr/>
          </p:nvSpPr>
          <p:spPr>
            <a:xfrm>
              <a:off x="860425" y="2400300"/>
              <a:ext cx="1444625" cy="250825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zalutamid   n:31</a:t>
              </a:r>
            </a:p>
          </p:txBody>
        </p:sp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60B74B44-1E34-4B5F-A091-2CC805BC5404}"/>
                </a:ext>
              </a:extLst>
            </p:cNvPr>
            <p:cNvSpPr/>
            <p:nvPr/>
          </p:nvSpPr>
          <p:spPr>
            <a:xfrm>
              <a:off x="588726" y="3152916"/>
              <a:ext cx="376697" cy="160431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vert="vert27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SA % değişimi</a:t>
              </a:r>
            </a:p>
          </p:txBody>
        </p:sp>
        <p:sp>
          <p:nvSpPr>
            <p:cNvPr id="8" name="Rounded Rectangle 9">
              <a:extLst>
                <a:ext uri="{FF2B5EF4-FFF2-40B4-BE49-F238E27FC236}">
                  <a16:creationId xmlns:a16="http://schemas.microsoft.com/office/drawing/2014/main" id="{4BE0B110-456F-460B-BA13-DF7C834AA2B8}"/>
                </a:ext>
              </a:extLst>
            </p:cNvPr>
            <p:cNvSpPr/>
            <p:nvPr/>
          </p:nvSpPr>
          <p:spPr>
            <a:xfrm>
              <a:off x="4679807" y="3311192"/>
              <a:ext cx="376697" cy="160431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vert="vert27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SA % değişimi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2953ECB-34BD-471D-9070-93A3A7E2929A}"/>
                </a:ext>
              </a:extLst>
            </p:cNvPr>
            <p:cNvSpPr/>
            <p:nvPr/>
          </p:nvSpPr>
          <p:spPr>
            <a:xfrm>
              <a:off x="1265238" y="2911475"/>
              <a:ext cx="47625" cy="1130300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C0E07EF-BE00-4796-BE83-9C7B4F92EBB7}"/>
                </a:ext>
              </a:extLst>
            </p:cNvPr>
            <p:cNvSpPr/>
            <p:nvPr/>
          </p:nvSpPr>
          <p:spPr>
            <a:xfrm>
              <a:off x="1366838" y="2911475"/>
              <a:ext cx="47625" cy="1130300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424B436-2790-4518-BF6A-FF9F4B4D438A}"/>
                </a:ext>
              </a:extLst>
            </p:cNvPr>
            <p:cNvSpPr/>
            <p:nvPr/>
          </p:nvSpPr>
          <p:spPr>
            <a:xfrm>
              <a:off x="1465263" y="2911475"/>
              <a:ext cx="47625" cy="1130300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3CDCB71-2F24-495B-87A9-0407B26DCA49}"/>
                </a:ext>
              </a:extLst>
            </p:cNvPr>
            <p:cNvSpPr/>
            <p:nvPr/>
          </p:nvSpPr>
          <p:spPr>
            <a:xfrm>
              <a:off x="1563688" y="2927350"/>
              <a:ext cx="46037" cy="1114425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FCCD815-1BBF-4C7A-80B1-63F3C56CE646}"/>
                </a:ext>
              </a:extLst>
            </p:cNvPr>
            <p:cNvSpPr/>
            <p:nvPr/>
          </p:nvSpPr>
          <p:spPr>
            <a:xfrm>
              <a:off x="1665288" y="3073400"/>
              <a:ext cx="50800" cy="968375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F36AC29-B080-4C87-90ED-0B767E0454B2}"/>
                </a:ext>
              </a:extLst>
            </p:cNvPr>
            <p:cNvSpPr/>
            <p:nvPr/>
          </p:nvSpPr>
          <p:spPr>
            <a:xfrm>
              <a:off x="1763713" y="3257550"/>
              <a:ext cx="50800" cy="784225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B60C13D-ADCD-4515-8C74-3D76BF343EA9}"/>
                </a:ext>
              </a:extLst>
            </p:cNvPr>
            <p:cNvSpPr/>
            <p:nvPr/>
          </p:nvSpPr>
          <p:spPr>
            <a:xfrm>
              <a:off x="1855788" y="3289300"/>
              <a:ext cx="53975" cy="75247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8EB0CEB-EC71-4666-8204-335A2EF85EA4}"/>
                </a:ext>
              </a:extLst>
            </p:cNvPr>
            <p:cNvSpPr/>
            <p:nvPr/>
          </p:nvSpPr>
          <p:spPr>
            <a:xfrm>
              <a:off x="1963738" y="3457575"/>
              <a:ext cx="50800" cy="584200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B66E1D7-9D2D-43B0-9F56-543B3A55718D}"/>
                </a:ext>
              </a:extLst>
            </p:cNvPr>
            <p:cNvSpPr/>
            <p:nvPr/>
          </p:nvSpPr>
          <p:spPr>
            <a:xfrm>
              <a:off x="2065338" y="3603625"/>
              <a:ext cx="47625" cy="43815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217FFD5-B4E6-4D0B-80C6-04D1B96944C9}"/>
                </a:ext>
              </a:extLst>
            </p:cNvPr>
            <p:cNvSpPr/>
            <p:nvPr/>
          </p:nvSpPr>
          <p:spPr>
            <a:xfrm>
              <a:off x="2160588" y="3698875"/>
              <a:ext cx="57150" cy="342900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9AD5613-7FFF-4FBA-A04D-3EB617FC83E8}"/>
                </a:ext>
              </a:extLst>
            </p:cNvPr>
            <p:cNvSpPr/>
            <p:nvPr/>
          </p:nvSpPr>
          <p:spPr>
            <a:xfrm>
              <a:off x="2262188" y="3708400"/>
              <a:ext cx="53975" cy="333375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B505232-73E8-42AF-B230-D2CEFE2858A2}"/>
                </a:ext>
              </a:extLst>
            </p:cNvPr>
            <p:cNvSpPr/>
            <p:nvPr/>
          </p:nvSpPr>
          <p:spPr>
            <a:xfrm>
              <a:off x="2360613" y="3721100"/>
              <a:ext cx="57150" cy="320675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1B62A47-733C-4514-8416-BE754AC2BFC6}"/>
                </a:ext>
              </a:extLst>
            </p:cNvPr>
            <p:cNvSpPr/>
            <p:nvPr/>
          </p:nvSpPr>
          <p:spPr>
            <a:xfrm>
              <a:off x="2465388" y="3813175"/>
              <a:ext cx="46037" cy="22860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3580005-CD76-4784-ACD1-3DB6A4D028F4}"/>
                </a:ext>
              </a:extLst>
            </p:cNvPr>
            <p:cNvSpPr/>
            <p:nvPr/>
          </p:nvSpPr>
          <p:spPr>
            <a:xfrm>
              <a:off x="2563813" y="3975100"/>
              <a:ext cx="57150" cy="66675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537A3A5-F3DB-4412-9A42-8955E171CE85}"/>
                </a:ext>
              </a:extLst>
            </p:cNvPr>
            <p:cNvSpPr/>
            <p:nvPr/>
          </p:nvSpPr>
          <p:spPr>
            <a:xfrm>
              <a:off x="2668588" y="4041775"/>
              <a:ext cx="57150" cy="4762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9E7BFF5-E5B6-472B-8FCE-5B82330F34EF}"/>
                </a:ext>
              </a:extLst>
            </p:cNvPr>
            <p:cNvSpPr/>
            <p:nvPr/>
          </p:nvSpPr>
          <p:spPr>
            <a:xfrm>
              <a:off x="2760663" y="4041775"/>
              <a:ext cx="57150" cy="15240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4FD46E1-9F7E-4650-89EC-A2C1C70A31CD}"/>
                </a:ext>
              </a:extLst>
            </p:cNvPr>
            <p:cNvSpPr/>
            <p:nvPr/>
          </p:nvSpPr>
          <p:spPr>
            <a:xfrm>
              <a:off x="2862263" y="4041775"/>
              <a:ext cx="60325" cy="17462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022269A-EEB2-4CA1-B377-76B1F0192AD7}"/>
                </a:ext>
              </a:extLst>
            </p:cNvPr>
            <p:cNvSpPr/>
            <p:nvPr/>
          </p:nvSpPr>
          <p:spPr>
            <a:xfrm>
              <a:off x="2957513" y="4041775"/>
              <a:ext cx="63500" cy="23812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E56F24B-55F3-47A1-B24E-52FFDF0C1885}"/>
                </a:ext>
              </a:extLst>
            </p:cNvPr>
            <p:cNvSpPr/>
            <p:nvPr/>
          </p:nvSpPr>
          <p:spPr>
            <a:xfrm>
              <a:off x="3059113" y="4041775"/>
              <a:ext cx="60325" cy="406400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3B46C0E-98CB-403E-8285-ADC999D6B25D}"/>
                </a:ext>
              </a:extLst>
            </p:cNvPr>
            <p:cNvSpPr/>
            <p:nvPr/>
          </p:nvSpPr>
          <p:spPr>
            <a:xfrm>
              <a:off x="3160713" y="4041775"/>
              <a:ext cx="60325" cy="40640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2CB93AC-92E4-44AE-9944-62D9CE356978}"/>
                </a:ext>
              </a:extLst>
            </p:cNvPr>
            <p:cNvSpPr/>
            <p:nvPr/>
          </p:nvSpPr>
          <p:spPr>
            <a:xfrm>
              <a:off x="3255963" y="4041775"/>
              <a:ext cx="60325" cy="41910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F6D7C79-00EC-47DE-BD9F-BFE663CECE65}"/>
                </a:ext>
              </a:extLst>
            </p:cNvPr>
            <p:cNvSpPr/>
            <p:nvPr/>
          </p:nvSpPr>
          <p:spPr>
            <a:xfrm>
              <a:off x="3360738" y="4038600"/>
              <a:ext cx="57150" cy="60642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5A61E83-4787-4DC3-B2D1-1F857B24C962}"/>
                </a:ext>
              </a:extLst>
            </p:cNvPr>
            <p:cNvSpPr/>
            <p:nvPr/>
          </p:nvSpPr>
          <p:spPr>
            <a:xfrm>
              <a:off x="3459163" y="4038600"/>
              <a:ext cx="60325" cy="80962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A75C7D4-B97B-404C-A1EA-F2DEE1E480B1}"/>
                </a:ext>
              </a:extLst>
            </p:cNvPr>
            <p:cNvSpPr/>
            <p:nvPr/>
          </p:nvSpPr>
          <p:spPr>
            <a:xfrm>
              <a:off x="3560763" y="4038600"/>
              <a:ext cx="57150" cy="94297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2A9125A-CF50-47EF-8A16-53904744B9B4}"/>
                </a:ext>
              </a:extLst>
            </p:cNvPr>
            <p:cNvSpPr/>
            <p:nvPr/>
          </p:nvSpPr>
          <p:spPr>
            <a:xfrm>
              <a:off x="3665538" y="4038600"/>
              <a:ext cx="53975" cy="97790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ED513B2-969F-4ACC-9C80-0EB204473768}"/>
                </a:ext>
              </a:extLst>
            </p:cNvPr>
            <p:cNvSpPr/>
            <p:nvPr/>
          </p:nvSpPr>
          <p:spPr>
            <a:xfrm>
              <a:off x="3763963" y="4038600"/>
              <a:ext cx="53975" cy="99695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9FA7F0F-5000-4643-AFCC-16CE092721C9}"/>
                </a:ext>
              </a:extLst>
            </p:cNvPr>
            <p:cNvSpPr/>
            <p:nvPr/>
          </p:nvSpPr>
          <p:spPr>
            <a:xfrm>
              <a:off x="3865563" y="4038600"/>
              <a:ext cx="53975" cy="102235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8FA1D897-EA2D-45D2-B523-B0CF807C3A00}"/>
                </a:ext>
              </a:extLst>
            </p:cNvPr>
            <p:cNvSpPr/>
            <p:nvPr/>
          </p:nvSpPr>
          <p:spPr>
            <a:xfrm>
              <a:off x="3963988" y="4038600"/>
              <a:ext cx="53975" cy="102235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2200A2F0-ECEF-40DB-BBA7-454AB235207E}"/>
                </a:ext>
              </a:extLst>
            </p:cNvPr>
            <p:cNvSpPr/>
            <p:nvPr/>
          </p:nvSpPr>
          <p:spPr>
            <a:xfrm>
              <a:off x="4062413" y="4038600"/>
              <a:ext cx="57150" cy="106997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11021648-8C68-44BA-A2D0-A0F20F32786F}"/>
                </a:ext>
              </a:extLst>
            </p:cNvPr>
            <p:cNvSpPr/>
            <p:nvPr/>
          </p:nvSpPr>
          <p:spPr>
            <a:xfrm>
              <a:off x="4164013" y="4038600"/>
              <a:ext cx="60325" cy="109537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3DA61164-7107-418A-BB62-C414FDE257A1}"/>
                </a:ext>
              </a:extLst>
            </p:cNvPr>
            <p:cNvSpPr/>
            <p:nvPr/>
          </p:nvSpPr>
          <p:spPr>
            <a:xfrm>
              <a:off x="4262438" y="4038600"/>
              <a:ext cx="63500" cy="112077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27A6464-D1B1-420B-92AB-3A6EA5E9A6C6}"/>
                </a:ext>
              </a:extLst>
            </p:cNvPr>
            <p:cNvSpPr/>
            <p:nvPr/>
          </p:nvSpPr>
          <p:spPr>
            <a:xfrm>
              <a:off x="5303838" y="2860675"/>
              <a:ext cx="57150" cy="1206500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E7C40E5-E518-44F1-912C-48E617A5EFD4}"/>
                </a:ext>
              </a:extLst>
            </p:cNvPr>
            <p:cNvSpPr/>
            <p:nvPr/>
          </p:nvSpPr>
          <p:spPr>
            <a:xfrm>
              <a:off x="5402263" y="2860675"/>
              <a:ext cx="57150" cy="1206500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D0DFDFC-6A16-474C-8B41-DD643CB9646F}"/>
                </a:ext>
              </a:extLst>
            </p:cNvPr>
            <p:cNvSpPr/>
            <p:nvPr/>
          </p:nvSpPr>
          <p:spPr>
            <a:xfrm>
              <a:off x="5500688" y="2860675"/>
              <a:ext cx="57150" cy="120650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6DE7BA3A-6426-4E68-A128-0D9AD4097284}"/>
                </a:ext>
              </a:extLst>
            </p:cNvPr>
            <p:cNvSpPr/>
            <p:nvPr/>
          </p:nvSpPr>
          <p:spPr>
            <a:xfrm>
              <a:off x="5605463" y="2860675"/>
              <a:ext cx="57150" cy="120650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E53EBFF9-87D3-4F09-9AD3-3AA0E7E1E2E1}"/>
                </a:ext>
              </a:extLst>
            </p:cNvPr>
            <p:cNvSpPr/>
            <p:nvPr/>
          </p:nvSpPr>
          <p:spPr>
            <a:xfrm>
              <a:off x="5700713" y="3025775"/>
              <a:ext cx="60325" cy="1041400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8D6463A8-A45F-4B8C-93B1-24D8EAEC24D5}"/>
                </a:ext>
              </a:extLst>
            </p:cNvPr>
            <p:cNvSpPr/>
            <p:nvPr/>
          </p:nvSpPr>
          <p:spPr>
            <a:xfrm>
              <a:off x="5802313" y="3165475"/>
              <a:ext cx="60325" cy="901700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50CB7EAE-CC7A-4CAB-B9B3-3D1506119776}"/>
                </a:ext>
              </a:extLst>
            </p:cNvPr>
            <p:cNvSpPr/>
            <p:nvPr/>
          </p:nvSpPr>
          <p:spPr>
            <a:xfrm>
              <a:off x="5903913" y="3479800"/>
              <a:ext cx="53975" cy="587375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120568EC-85CD-4512-8796-573CD7D76A0E}"/>
                </a:ext>
              </a:extLst>
            </p:cNvPr>
            <p:cNvSpPr/>
            <p:nvPr/>
          </p:nvSpPr>
          <p:spPr>
            <a:xfrm>
              <a:off x="6002338" y="3756025"/>
              <a:ext cx="63500" cy="311150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4FA93EC-F81F-4CD6-9D77-F9AF8E804683}"/>
                </a:ext>
              </a:extLst>
            </p:cNvPr>
            <p:cNvSpPr/>
            <p:nvPr/>
          </p:nvSpPr>
          <p:spPr>
            <a:xfrm>
              <a:off x="6100763" y="3956050"/>
              <a:ext cx="63500" cy="11112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B7DC05D0-E8B3-4588-95BC-9E2773CC3938}"/>
                </a:ext>
              </a:extLst>
            </p:cNvPr>
            <p:cNvSpPr/>
            <p:nvPr/>
          </p:nvSpPr>
          <p:spPr>
            <a:xfrm>
              <a:off x="6202363" y="4067175"/>
              <a:ext cx="60325" cy="18732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C7F21470-C3CB-4446-993C-113385B99FFB}"/>
                </a:ext>
              </a:extLst>
            </p:cNvPr>
            <p:cNvSpPr/>
            <p:nvPr/>
          </p:nvSpPr>
          <p:spPr>
            <a:xfrm>
              <a:off x="6300788" y="4067175"/>
              <a:ext cx="60325" cy="21590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F6EAC22-6FCD-4293-970D-4BA26D665A47}"/>
                </a:ext>
              </a:extLst>
            </p:cNvPr>
            <p:cNvSpPr/>
            <p:nvPr/>
          </p:nvSpPr>
          <p:spPr>
            <a:xfrm>
              <a:off x="6399213" y="4067175"/>
              <a:ext cx="60325" cy="44132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2A40046-5EC7-467B-B942-C52A0C15002B}"/>
                </a:ext>
              </a:extLst>
            </p:cNvPr>
            <p:cNvSpPr/>
            <p:nvPr/>
          </p:nvSpPr>
          <p:spPr>
            <a:xfrm>
              <a:off x="6497638" y="4067175"/>
              <a:ext cx="60325" cy="46355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43BB9843-F3F3-41F5-A2EA-B0FAF6EDBC43}"/>
                </a:ext>
              </a:extLst>
            </p:cNvPr>
            <p:cNvSpPr/>
            <p:nvPr/>
          </p:nvSpPr>
          <p:spPr>
            <a:xfrm>
              <a:off x="6599238" y="4067175"/>
              <a:ext cx="66675" cy="56515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02A3EE4A-9136-4F5B-B8D5-9DCEC9A84BED}"/>
                </a:ext>
              </a:extLst>
            </p:cNvPr>
            <p:cNvSpPr/>
            <p:nvPr/>
          </p:nvSpPr>
          <p:spPr>
            <a:xfrm>
              <a:off x="6697663" y="4067175"/>
              <a:ext cx="57150" cy="60642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2B37C72-EF4B-4117-9891-886D23349C35}"/>
                </a:ext>
              </a:extLst>
            </p:cNvPr>
            <p:cNvSpPr/>
            <p:nvPr/>
          </p:nvSpPr>
          <p:spPr>
            <a:xfrm>
              <a:off x="6796088" y="4067175"/>
              <a:ext cx="60325" cy="63182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C105A15B-E0EF-4988-959A-630231AC3FE0}"/>
                </a:ext>
              </a:extLst>
            </p:cNvPr>
            <p:cNvSpPr/>
            <p:nvPr/>
          </p:nvSpPr>
          <p:spPr>
            <a:xfrm>
              <a:off x="6900863" y="4067175"/>
              <a:ext cx="60325" cy="63182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5677A4F-2399-4AE1-8028-680961692030}"/>
                </a:ext>
              </a:extLst>
            </p:cNvPr>
            <p:cNvSpPr/>
            <p:nvPr/>
          </p:nvSpPr>
          <p:spPr>
            <a:xfrm>
              <a:off x="6999288" y="4067175"/>
              <a:ext cx="57150" cy="71437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6FE273E1-4166-4EDD-B897-7DF6FBB19723}"/>
                </a:ext>
              </a:extLst>
            </p:cNvPr>
            <p:cNvSpPr/>
            <p:nvPr/>
          </p:nvSpPr>
          <p:spPr>
            <a:xfrm>
              <a:off x="7097713" y="4067175"/>
              <a:ext cx="57150" cy="75565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55FB4240-0B5F-480E-A70E-7F95B0E002A2}"/>
                </a:ext>
              </a:extLst>
            </p:cNvPr>
            <p:cNvSpPr/>
            <p:nvPr/>
          </p:nvSpPr>
          <p:spPr>
            <a:xfrm>
              <a:off x="7202488" y="4067175"/>
              <a:ext cx="60325" cy="78422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3C29AD6A-E89D-446E-954A-2546D5A649E2}"/>
                </a:ext>
              </a:extLst>
            </p:cNvPr>
            <p:cNvSpPr/>
            <p:nvPr/>
          </p:nvSpPr>
          <p:spPr>
            <a:xfrm>
              <a:off x="7300913" y="4067175"/>
              <a:ext cx="60325" cy="105092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5B605052-CCF1-44F0-91A9-BE04094B5128}"/>
                </a:ext>
              </a:extLst>
            </p:cNvPr>
            <p:cNvSpPr/>
            <p:nvPr/>
          </p:nvSpPr>
          <p:spPr>
            <a:xfrm>
              <a:off x="7399338" y="4067175"/>
              <a:ext cx="63500" cy="1095375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4B06E580-DD29-45C2-A47D-F43454A6C7B7}"/>
                </a:ext>
              </a:extLst>
            </p:cNvPr>
            <p:cNvSpPr/>
            <p:nvPr/>
          </p:nvSpPr>
          <p:spPr>
            <a:xfrm>
              <a:off x="7500938" y="4067175"/>
              <a:ext cx="57150" cy="111125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36568876-532B-4E53-A19A-1A41C7710DCE}"/>
                </a:ext>
              </a:extLst>
            </p:cNvPr>
            <p:cNvSpPr/>
            <p:nvPr/>
          </p:nvSpPr>
          <p:spPr>
            <a:xfrm>
              <a:off x="7602538" y="4067175"/>
              <a:ext cx="57150" cy="111125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50F65FD7-9C04-48E6-8AE4-357DE8951F19}"/>
                </a:ext>
              </a:extLst>
            </p:cNvPr>
            <p:cNvSpPr/>
            <p:nvPr/>
          </p:nvSpPr>
          <p:spPr>
            <a:xfrm>
              <a:off x="7700963" y="4067175"/>
              <a:ext cx="63500" cy="113030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EE7DD4AA-B692-4970-BE22-687BD5383D3F}"/>
                </a:ext>
              </a:extLst>
            </p:cNvPr>
            <p:cNvSpPr/>
            <p:nvPr/>
          </p:nvSpPr>
          <p:spPr>
            <a:xfrm>
              <a:off x="7796213" y="4067175"/>
              <a:ext cx="63500" cy="113030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6DCD1D93-5463-4482-A79B-7BB840903B3C}"/>
                </a:ext>
              </a:extLst>
            </p:cNvPr>
            <p:cNvSpPr/>
            <p:nvPr/>
          </p:nvSpPr>
          <p:spPr>
            <a:xfrm>
              <a:off x="7897813" y="4067175"/>
              <a:ext cx="66675" cy="116840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2D4D4C6F-2C17-41F0-A4E6-9086F2E72529}"/>
                </a:ext>
              </a:extLst>
            </p:cNvPr>
            <p:cNvSpPr/>
            <p:nvPr/>
          </p:nvSpPr>
          <p:spPr>
            <a:xfrm>
              <a:off x="7989888" y="4067175"/>
              <a:ext cx="66675" cy="116840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F0B29E3B-65C1-4B6E-B425-391C6473023B}"/>
                </a:ext>
              </a:extLst>
            </p:cNvPr>
            <p:cNvSpPr/>
            <p:nvPr/>
          </p:nvSpPr>
          <p:spPr>
            <a:xfrm>
              <a:off x="8097838" y="4067175"/>
              <a:ext cx="60325" cy="118110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C1FCCA16-18C8-47E8-847E-6C1785C18CAA}"/>
                </a:ext>
              </a:extLst>
            </p:cNvPr>
            <p:cNvSpPr/>
            <p:nvPr/>
          </p:nvSpPr>
          <p:spPr>
            <a:xfrm>
              <a:off x="8196263" y="4067175"/>
              <a:ext cx="60325" cy="118110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2255B895-FE6F-4BB0-8AA7-CD4E7215C736}"/>
                </a:ext>
              </a:extLst>
            </p:cNvPr>
            <p:cNvSpPr/>
            <p:nvPr/>
          </p:nvSpPr>
          <p:spPr>
            <a:xfrm>
              <a:off x="8297863" y="4067175"/>
              <a:ext cx="60325" cy="120015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D97DA68-3A3C-415B-833F-A5668A0B12BB}"/>
                </a:ext>
              </a:extLst>
            </p:cNvPr>
            <p:cNvCxnSpPr/>
            <p:nvPr/>
          </p:nvCxnSpPr>
          <p:spPr>
            <a:xfrm flipH="1">
              <a:off x="1147763" y="4046538"/>
              <a:ext cx="3209925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C175B2C9-FD25-46B8-A314-BADE9B62B175}"/>
                </a:ext>
              </a:extLst>
            </p:cNvPr>
            <p:cNvCxnSpPr/>
            <p:nvPr/>
          </p:nvCxnSpPr>
          <p:spPr>
            <a:xfrm>
              <a:off x="1219200" y="2705100"/>
              <a:ext cx="0" cy="256540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98B1F7B4-EFD8-45D4-B6EA-A849408EA5F8}"/>
                </a:ext>
              </a:extLst>
            </p:cNvPr>
            <p:cNvCxnSpPr/>
            <p:nvPr/>
          </p:nvCxnSpPr>
          <p:spPr>
            <a:xfrm flipH="1">
              <a:off x="1147763" y="4598988"/>
              <a:ext cx="3209925" cy="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ysDash"/>
            </a:ln>
            <a:effectLst/>
          </p:spPr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2EA291A6-4FBF-43F1-9AE6-114F96C50FA9}"/>
                </a:ext>
              </a:extLst>
            </p:cNvPr>
            <p:cNvCxnSpPr/>
            <p:nvPr/>
          </p:nvCxnSpPr>
          <p:spPr>
            <a:xfrm flipH="1">
              <a:off x="1147763" y="2919413"/>
              <a:ext cx="66675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4A7E1FFB-370E-4039-B183-864985344B64}"/>
                </a:ext>
              </a:extLst>
            </p:cNvPr>
            <p:cNvCxnSpPr/>
            <p:nvPr/>
          </p:nvCxnSpPr>
          <p:spPr>
            <a:xfrm flipH="1">
              <a:off x="1147763" y="3481388"/>
              <a:ext cx="66675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424E4AF8-9687-401B-A40E-C500F4294CDB}"/>
                </a:ext>
              </a:extLst>
            </p:cNvPr>
            <p:cNvCxnSpPr/>
            <p:nvPr/>
          </p:nvCxnSpPr>
          <p:spPr>
            <a:xfrm flipH="1">
              <a:off x="1147763" y="5151438"/>
              <a:ext cx="66675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77" name="TextBox 91">
              <a:extLst>
                <a:ext uri="{FF2B5EF4-FFF2-40B4-BE49-F238E27FC236}">
                  <a16:creationId xmlns:a16="http://schemas.microsoft.com/office/drawing/2014/main" id="{E4BCE3DF-A033-4B0C-AE3E-761B05FF025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9788" y="2894013"/>
              <a:ext cx="320675" cy="73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100</a:t>
              </a:r>
            </a:p>
          </p:txBody>
        </p:sp>
        <p:sp>
          <p:nvSpPr>
            <p:cNvPr id="78" name="TextBox 92">
              <a:extLst>
                <a:ext uri="{FF2B5EF4-FFF2-40B4-BE49-F238E27FC236}">
                  <a16:creationId xmlns:a16="http://schemas.microsoft.com/office/drawing/2014/main" id="{707D19DB-8853-4DCD-8C95-C8B6D74D0A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9788" y="3455988"/>
              <a:ext cx="320675" cy="73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50</a:t>
              </a:r>
            </a:p>
          </p:txBody>
        </p:sp>
        <p:sp>
          <p:nvSpPr>
            <p:cNvPr id="79" name="TextBox 93">
              <a:extLst>
                <a:ext uri="{FF2B5EF4-FFF2-40B4-BE49-F238E27FC236}">
                  <a16:creationId xmlns:a16="http://schemas.microsoft.com/office/drawing/2014/main" id="{C847F164-7801-4D4C-B70B-D60BF7717D7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9788" y="4024313"/>
              <a:ext cx="320675" cy="73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0</a:t>
              </a:r>
            </a:p>
          </p:txBody>
        </p:sp>
        <p:sp>
          <p:nvSpPr>
            <p:cNvPr id="80" name="TextBox 94">
              <a:extLst>
                <a:ext uri="{FF2B5EF4-FFF2-40B4-BE49-F238E27FC236}">
                  <a16:creationId xmlns:a16="http://schemas.microsoft.com/office/drawing/2014/main" id="{E859C588-9696-4D8D-B1A5-8F17012630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9788" y="4570413"/>
              <a:ext cx="320675" cy="73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-50</a:t>
              </a:r>
            </a:p>
          </p:txBody>
        </p:sp>
        <p:sp>
          <p:nvSpPr>
            <p:cNvPr id="81" name="TextBox 95">
              <a:extLst>
                <a:ext uri="{FF2B5EF4-FFF2-40B4-BE49-F238E27FC236}">
                  <a16:creationId xmlns:a16="http://schemas.microsoft.com/office/drawing/2014/main" id="{B570A66A-7EED-4DE4-B311-DB59607E947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9788" y="5132388"/>
              <a:ext cx="320675" cy="73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-</a:t>
              </a: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100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98DCF297-7F7F-4782-B2A1-1DCE05F3D19E}"/>
                </a:ext>
              </a:extLst>
            </p:cNvPr>
            <p:cNvSpPr/>
            <p:nvPr/>
          </p:nvSpPr>
          <p:spPr>
            <a:xfrm>
              <a:off x="1982788" y="2705100"/>
              <a:ext cx="85725" cy="82550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CD6B1D06-001A-46C3-9E5A-9EBAF66EC229}"/>
                </a:ext>
              </a:extLst>
            </p:cNvPr>
            <p:cNvSpPr/>
            <p:nvPr/>
          </p:nvSpPr>
          <p:spPr>
            <a:xfrm>
              <a:off x="2836863" y="2705100"/>
              <a:ext cx="85725" cy="8255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TextBox 98">
              <a:extLst>
                <a:ext uri="{FF2B5EF4-FFF2-40B4-BE49-F238E27FC236}">
                  <a16:creationId xmlns:a16="http://schemas.microsoft.com/office/drawing/2014/main" id="{D09C6782-7BD3-4D4B-B485-5FE874B4515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71688" y="2728913"/>
              <a:ext cx="669925" cy="161925"/>
            </a:xfrm>
            <a:prstGeom prst="rect">
              <a:avLst/>
            </a:prstGeom>
            <a:noFill/>
            <a:ln>
              <a:noFill/>
            </a:ln>
          </p:spPr>
          <p:txBody>
            <a:bodyPr lIns="36000" tIns="0" rIns="3600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</a:rPr>
                <a:t>AR-V7 positive</a:t>
              </a:r>
            </a:p>
          </p:txBody>
        </p:sp>
        <p:sp>
          <p:nvSpPr>
            <p:cNvPr id="85" name="TextBox 99">
              <a:extLst>
                <a:ext uri="{FF2B5EF4-FFF2-40B4-BE49-F238E27FC236}">
                  <a16:creationId xmlns:a16="http://schemas.microsoft.com/office/drawing/2014/main" id="{1F3541E2-2655-443F-AFBD-C60A63235EA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32113" y="2728913"/>
              <a:ext cx="669925" cy="176212"/>
            </a:xfrm>
            <a:prstGeom prst="rect">
              <a:avLst/>
            </a:prstGeom>
            <a:noFill/>
            <a:ln>
              <a:noFill/>
            </a:ln>
          </p:spPr>
          <p:txBody>
            <a:bodyPr lIns="36000" tIns="0" rIns="3600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</a:rPr>
                <a:t>AR-V7 </a:t>
              </a:r>
              <a:r>
                <a:rPr kumimoji="0" lang="tr-TR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</a:rPr>
                <a:t>negati</a:t>
              </a:r>
              <a:r>
                <a:rPr kumimoji="0" lang="tr-TR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</a:rPr>
                <a:t>f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ヒラギノ角ゴ Pro W3" pitchFamily="127" charset="-128"/>
              </a:endParaRPr>
            </a:p>
          </p:txBody>
        </p:sp>
        <p:sp>
          <p:nvSpPr>
            <p:cNvPr id="86" name="TextBox 100">
              <a:extLst>
                <a:ext uri="{FF2B5EF4-FFF2-40B4-BE49-F238E27FC236}">
                  <a16:creationId xmlns:a16="http://schemas.microsoft.com/office/drawing/2014/main" id="{2093CA17-4E8B-4B19-9D98-AC5B8841F6A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30313" y="2881313"/>
              <a:ext cx="793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*</a:t>
              </a:r>
            </a:p>
          </p:txBody>
        </p:sp>
        <p:sp>
          <p:nvSpPr>
            <p:cNvPr id="87" name="TextBox 101">
              <a:extLst>
                <a:ext uri="{FF2B5EF4-FFF2-40B4-BE49-F238E27FC236}">
                  <a16:creationId xmlns:a16="http://schemas.microsoft.com/office/drawing/2014/main" id="{78199B69-33C0-4AFD-8363-023300E0BDD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35088" y="2881313"/>
              <a:ext cx="793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*</a:t>
              </a:r>
            </a:p>
          </p:txBody>
        </p:sp>
        <p:sp>
          <p:nvSpPr>
            <p:cNvPr id="88" name="TextBox 102">
              <a:extLst>
                <a:ext uri="{FF2B5EF4-FFF2-40B4-BE49-F238E27FC236}">
                  <a16:creationId xmlns:a16="http://schemas.microsoft.com/office/drawing/2014/main" id="{FF828F1E-A815-4E70-8D86-40400737A1D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3513" y="2881313"/>
              <a:ext cx="793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*</a:t>
              </a:r>
            </a:p>
          </p:txBody>
        </p:sp>
        <p:sp>
          <p:nvSpPr>
            <p:cNvPr id="89" name="TextBox 103">
              <a:extLst>
                <a:ext uri="{FF2B5EF4-FFF2-40B4-BE49-F238E27FC236}">
                  <a16:creationId xmlns:a16="http://schemas.microsoft.com/office/drawing/2014/main" id="{DC41D310-C528-4DCA-8EE3-70711815E4C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78438" y="2827338"/>
              <a:ext cx="793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*</a:t>
              </a:r>
            </a:p>
          </p:txBody>
        </p:sp>
        <p:sp>
          <p:nvSpPr>
            <p:cNvPr id="90" name="TextBox 104">
              <a:extLst>
                <a:ext uri="{FF2B5EF4-FFF2-40B4-BE49-F238E27FC236}">
                  <a16:creationId xmlns:a16="http://schemas.microsoft.com/office/drawing/2014/main" id="{E647C5C6-B411-43C9-8842-AE6FF69FE2E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70513" y="2827338"/>
              <a:ext cx="793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*</a:t>
              </a:r>
            </a:p>
          </p:txBody>
        </p:sp>
        <p:sp>
          <p:nvSpPr>
            <p:cNvPr id="91" name="TextBox 106">
              <a:extLst>
                <a:ext uri="{FF2B5EF4-FFF2-40B4-BE49-F238E27FC236}">
                  <a16:creationId xmlns:a16="http://schemas.microsoft.com/office/drawing/2014/main" id="{4110C797-FDAD-4B9C-A29C-FEECF1553C5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72113" y="2827338"/>
              <a:ext cx="793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*</a:t>
              </a:r>
            </a:p>
          </p:txBody>
        </p:sp>
        <p:sp>
          <p:nvSpPr>
            <p:cNvPr id="92" name="TextBox 107">
              <a:extLst>
                <a:ext uri="{FF2B5EF4-FFF2-40B4-BE49-F238E27FC236}">
                  <a16:creationId xmlns:a16="http://schemas.microsoft.com/office/drawing/2014/main" id="{C1C63634-1549-4210-B76B-38AE1885501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73713" y="2827338"/>
              <a:ext cx="793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*</a:t>
              </a:r>
            </a:p>
          </p:txBody>
        </p:sp>
        <p:sp>
          <p:nvSpPr>
            <p:cNvPr id="93" name="TextBox 108">
              <a:extLst>
                <a:ext uri="{FF2B5EF4-FFF2-40B4-BE49-F238E27FC236}">
                  <a16:creationId xmlns:a16="http://schemas.microsoft.com/office/drawing/2014/main" id="{A501A162-EC4E-4637-AF1B-9024AAFDD87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27138" y="2751138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94" name="TextBox 109">
              <a:extLst>
                <a:ext uri="{FF2B5EF4-FFF2-40B4-BE49-F238E27FC236}">
                  <a16:creationId xmlns:a16="http://schemas.microsoft.com/office/drawing/2014/main" id="{58502555-6974-4A4A-9AC0-4AA4FD990F9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38263" y="2751138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95" name="TextBox 110">
              <a:extLst>
                <a:ext uri="{FF2B5EF4-FFF2-40B4-BE49-F238E27FC236}">
                  <a16:creationId xmlns:a16="http://schemas.microsoft.com/office/drawing/2014/main" id="{3E081549-37A6-4671-8F20-471DDAC0CE5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3513" y="2751138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96" name="TextBox 111">
              <a:extLst>
                <a:ext uri="{FF2B5EF4-FFF2-40B4-BE49-F238E27FC236}">
                  <a16:creationId xmlns:a16="http://schemas.microsoft.com/office/drawing/2014/main" id="{069D4F43-9870-4653-BDF9-A3EBA0C437D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8288" y="2811463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97" name="TextBox 112">
              <a:extLst>
                <a:ext uri="{FF2B5EF4-FFF2-40B4-BE49-F238E27FC236}">
                  <a16:creationId xmlns:a16="http://schemas.microsoft.com/office/drawing/2014/main" id="{F5DB54EF-C89D-4080-95E3-C844C581D9A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35138" y="3141663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98" name="TextBox 113">
              <a:extLst>
                <a:ext uri="{FF2B5EF4-FFF2-40B4-BE49-F238E27FC236}">
                  <a16:creationId xmlns:a16="http://schemas.microsoft.com/office/drawing/2014/main" id="{7B8F8689-473C-49A5-8ED5-F7406DD1123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30388" y="3186113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99" name="TextBox 114">
              <a:extLst>
                <a:ext uri="{FF2B5EF4-FFF2-40B4-BE49-F238E27FC236}">
                  <a16:creationId xmlns:a16="http://schemas.microsoft.com/office/drawing/2014/main" id="{EF1C40B4-DBE1-4F6B-B567-A35CFAF071C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28813" y="3357563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00" name="TextBox 115">
              <a:extLst>
                <a:ext uri="{FF2B5EF4-FFF2-40B4-BE49-F238E27FC236}">
                  <a16:creationId xmlns:a16="http://schemas.microsoft.com/office/drawing/2014/main" id="{F69AE0BD-CC69-4694-A242-F888D8733E5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33588" y="3506788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01" name="TextBox 116">
              <a:extLst>
                <a:ext uri="{FF2B5EF4-FFF2-40B4-BE49-F238E27FC236}">
                  <a16:creationId xmlns:a16="http://schemas.microsoft.com/office/drawing/2014/main" id="{339B58BA-1162-470F-A47E-31C8DA9706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28838" y="3608388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02" name="TextBox 117">
              <a:extLst>
                <a:ext uri="{FF2B5EF4-FFF2-40B4-BE49-F238E27FC236}">
                  <a16:creationId xmlns:a16="http://schemas.microsoft.com/office/drawing/2014/main" id="{7F2F55C8-2E8C-4BA9-85F1-E3AFD03E9F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30438" y="3611563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03" name="TextBox 118">
              <a:extLst>
                <a:ext uri="{FF2B5EF4-FFF2-40B4-BE49-F238E27FC236}">
                  <a16:creationId xmlns:a16="http://schemas.microsoft.com/office/drawing/2014/main" id="{C2A1B80F-1DDF-44A6-B8A9-7A0630ED124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28863" y="3630613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04" name="TextBox 119">
              <a:extLst>
                <a:ext uri="{FF2B5EF4-FFF2-40B4-BE49-F238E27FC236}">
                  <a16:creationId xmlns:a16="http://schemas.microsoft.com/office/drawing/2014/main" id="{98473D9F-946E-42C9-81BE-70AC2E1CD89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30463" y="3732213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05" name="TextBox 120">
              <a:extLst>
                <a:ext uri="{FF2B5EF4-FFF2-40B4-BE49-F238E27FC236}">
                  <a16:creationId xmlns:a16="http://schemas.microsoft.com/office/drawing/2014/main" id="{3DFEBA62-F4D2-44C5-8351-6C60D56E682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32063" y="3875088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06" name="TextBox 121">
              <a:extLst>
                <a:ext uri="{FF2B5EF4-FFF2-40B4-BE49-F238E27FC236}">
                  <a16:creationId xmlns:a16="http://schemas.microsoft.com/office/drawing/2014/main" id="{8EFB48E2-DBFC-4CD8-BE26-80B76DDB417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30488" y="4138613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07" name="TextBox 122">
              <a:extLst>
                <a:ext uri="{FF2B5EF4-FFF2-40B4-BE49-F238E27FC236}">
                  <a16:creationId xmlns:a16="http://schemas.microsoft.com/office/drawing/2014/main" id="{5842EC76-008B-4D8E-B77D-D7F52FB1497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33688" y="4271963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08" name="TextBox 123">
              <a:extLst>
                <a:ext uri="{FF2B5EF4-FFF2-40B4-BE49-F238E27FC236}">
                  <a16:creationId xmlns:a16="http://schemas.microsoft.com/office/drawing/2014/main" id="{D1DE99C9-18B6-40F7-9318-70DB709BCD0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27363" y="4497388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09" name="TextBox 124">
              <a:extLst>
                <a:ext uri="{FF2B5EF4-FFF2-40B4-BE49-F238E27FC236}">
                  <a16:creationId xmlns:a16="http://schemas.microsoft.com/office/drawing/2014/main" id="{AB47F71D-CF88-4B67-AA67-60CF545B996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28963" y="4506913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10" name="TextBox 125">
              <a:extLst>
                <a:ext uri="{FF2B5EF4-FFF2-40B4-BE49-F238E27FC236}">
                  <a16:creationId xmlns:a16="http://schemas.microsoft.com/office/drawing/2014/main" id="{2CD36961-C16B-4B49-B157-F5534292A8E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33738" y="4513263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11" name="TextBox 126">
              <a:extLst>
                <a:ext uri="{FF2B5EF4-FFF2-40B4-BE49-F238E27FC236}">
                  <a16:creationId xmlns:a16="http://schemas.microsoft.com/office/drawing/2014/main" id="{920C552B-F7D5-45EB-8B9F-1B3DB62395E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27438" y="5062538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12" name="TextBox 127">
              <a:extLst>
                <a:ext uri="{FF2B5EF4-FFF2-40B4-BE49-F238E27FC236}">
                  <a16:creationId xmlns:a16="http://schemas.microsoft.com/office/drawing/2014/main" id="{1B8C00EA-20B7-45F5-94D1-EEAAA3C9F75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25863" y="5084763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13" name="TextBox 128">
              <a:extLst>
                <a:ext uri="{FF2B5EF4-FFF2-40B4-BE49-F238E27FC236}">
                  <a16:creationId xmlns:a16="http://schemas.microsoft.com/office/drawing/2014/main" id="{FDBCC428-C89C-4C55-ADC3-4B9F01B092E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70563" y="3055938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14" name="TextBox 129">
              <a:extLst>
                <a:ext uri="{FF2B5EF4-FFF2-40B4-BE49-F238E27FC236}">
                  <a16:creationId xmlns:a16="http://schemas.microsoft.com/office/drawing/2014/main" id="{E261C91B-AF60-4899-B76E-23478E2DE2B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67413" y="3656013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15" name="TextBox 130">
              <a:extLst>
                <a:ext uri="{FF2B5EF4-FFF2-40B4-BE49-F238E27FC236}">
                  <a16:creationId xmlns:a16="http://schemas.microsoft.com/office/drawing/2014/main" id="{474695D7-857E-4200-ABCB-F92AD8AA4D0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75363" y="3856038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16" name="TextBox 131">
              <a:extLst>
                <a:ext uri="{FF2B5EF4-FFF2-40B4-BE49-F238E27FC236}">
                  <a16:creationId xmlns:a16="http://schemas.microsoft.com/office/drawing/2014/main" id="{F08C59C2-9812-4959-A9DA-9D3339CBCA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67463" y="4567238"/>
              <a:ext cx="92075" cy="71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†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7B4FF35B-25B3-4E73-9C40-1829FF01F617}"/>
                </a:ext>
              </a:extLst>
            </p:cNvPr>
            <p:cNvSpPr/>
            <p:nvPr/>
          </p:nvSpPr>
          <p:spPr>
            <a:xfrm>
              <a:off x="6030913" y="2625725"/>
              <a:ext cx="85725" cy="82550"/>
            </a:xfrm>
            <a:prstGeom prst="rect">
              <a:avLst/>
            </a:prstGeom>
            <a:solidFill>
              <a:srgbClr val="C4D05A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DD8A67DF-A66B-481A-BB43-B2AA205303E2}"/>
                </a:ext>
              </a:extLst>
            </p:cNvPr>
            <p:cNvSpPr/>
            <p:nvPr/>
          </p:nvSpPr>
          <p:spPr>
            <a:xfrm>
              <a:off x="6884988" y="2625725"/>
              <a:ext cx="85725" cy="82550"/>
            </a:xfrm>
            <a:prstGeom prst="rect">
              <a:avLst/>
            </a:prstGeom>
            <a:solidFill>
              <a:srgbClr val="5199C5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9" name="TextBox 134">
              <a:extLst>
                <a:ext uri="{FF2B5EF4-FFF2-40B4-BE49-F238E27FC236}">
                  <a16:creationId xmlns:a16="http://schemas.microsoft.com/office/drawing/2014/main" id="{F703E223-A2ED-4FF7-9205-AE5B4712B3F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78550" y="2649538"/>
              <a:ext cx="552450" cy="176212"/>
            </a:xfrm>
            <a:prstGeom prst="rect">
              <a:avLst/>
            </a:prstGeom>
            <a:noFill/>
            <a:ln>
              <a:noFill/>
            </a:ln>
          </p:spPr>
          <p:txBody>
            <a:bodyPr lIns="36000" tIns="0" rIns="3600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</a:rPr>
                <a:t>AR-V7 positive</a:t>
              </a:r>
            </a:p>
          </p:txBody>
        </p:sp>
        <p:sp>
          <p:nvSpPr>
            <p:cNvPr id="120" name="TextBox 135">
              <a:extLst>
                <a:ext uri="{FF2B5EF4-FFF2-40B4-BE49-F238E27FC236}">
                  <a16:creationId xmlns:a16="http://schemas.microsoft.com/office/drawing/2014/main" id="{A971BBB0-2496-4F8D-B77B-64FB3E7921C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80238" y="2649538"/>
              <a:ext cx="669925" cy="176212"/>
            </a:xfrm>
            <a:prstGeom prst="rect">
              <a:avLst/>
            </a:prstGeom>
            <a:noFill/>
            <a:ln>
              <a:noFill/>
            </a:ln>
          </p:spPr>
          <p:txBody>
            <a:bodyPr lIns="36000" tIns="0" rIns="3600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</a:rPr>
                <a:t>AR-V7 </a:t>
              </a:r>
              <a:r>
                <a:rPr kumimoji="0" lang="tr-TR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ヒラギノ角ゴ Pro W3" pitchFamily="127" charset="-128"/>
                </a:rPr>
                <a:t>negatif</a:t>
              </a:r>
              <a:endParaRPr kumimoji="0" lang="en-US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27" charset="-128"/>
              </a:endParaRPr>
            </a:p>
          </p:txBody>
        </p: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64EF8D24-2FD2-4994-A613-C2979EB98019}"/>
                </a:ext>
              </a:extLst>
            </p:cNvPr>
            <p:cNvCxnSpPr/>
            <p:nvPr/>
          </p:nvCxnSpPr>
          <p:spPr>
            <a:xfrm flipH="1">
              <a:off x="5183188" y="4071938"/>
              <a:ext cx="3209925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3E8AE798-4C29-4D08-AE84-402E8E03AFC0}"/>
                </a:ext>
              </a:extLst>
            </p:cNvPr>
            <p:cNvCxnSpPr/>
            <p:nvPr/>
          </p:nvCxnSpPr>
          <p:spPr>
            <a:xfrm>
              <a:off x="5254625" y="2609850"/>
              <a:ext cx="0" cy="278765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8EDBB78-1F21-4698-8F8F-BC952CAE906F}"/>
                </a:ext>
              </a:extLst>
            </p:cNvPr>
            <p:cNvCxnSpPr/>
            <p:nvPr/>
          </p:nvCxnSpPr>
          <p:spPr>
            <a:xfrm flipH="1">
              <a:off x="5183188" y="4662488"/>
              <a:ext cx="3209925" cy="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ysDash"/>
            </a:ln>
            <a:effectLst/>
          </p:spPr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4EC7DCC6-8402-4467-ACAB-37698C73BDFD}"/>
                </a:ext>
              </a:extLst>
            </p:cNvPr>
            <p:cNvCxnSpPr/>
            <p:nvPr/>
          </p:nvCxnSpPr>
          <p:spPr>
            <a:xfrm flipH="1">
              <a:off x="5183188" y="2868613"/>
              <a:ext cx="66675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78CD3D2C-3BFA-4829-9DA1-1FE8886F9883}"/>
                </a:ext>
              </a:extLst>
            </p:cNvPr>
            <p:cNvCxnSpPr/>
            <p:nvPr/>
          </p:nvCxnSpPr>
          <p:spPr>
            <a:xfrm flipH="1">
              <a:off x="5183188" y="3468688"/>
              <a:ext cx="66675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78D7C08F-E3B9-4E4C-B7D9-3167BBAF1284}"/>
                </a:ext>
              </a:extLst>
            </p:cNvPr>
            <p:cNvCxnSpPr/>
            <p:nvPr/>
          </p:nvCxnSpPr>
          <p:spPr>
            <a:xfrm flipH="1">
              <a:off x="5183188" y="5262563"/>
              <a:ext cx="66675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27" name="TextBox 145">
              <a:extLst>
                <a:ext uri="{FF2B5EF4-FFF2-40B4-BE49-F238E27FC236}">
                  <a16:creationId xmlns:a16="http://schemas.microsoft.com/office/drawing/2014/main" id="{B509EB0C-C08B-4C82-8B60-010C175EA5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65688" y="2833688"/>
              <a:ext cx="320675" cy="73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100</a:t>
              </a:r>
            </a:p>
          </p:txBody>
        </p:sp>
        <p:sp>
          <p:nvSpPr>
            <p:cNvPr id="128" name="TextBox 146">
              <a:extLst>
                <a:ext uri="{FF2B5EF4-FFF2-40B4-BE49-F238E27FC236}">
                  <a16:creationId xmlns:a16="http://schemas.microsoft.com/office/drawing/2014/main" id="{2D93A89D-EEAC-4968-85DC-2995B1617FF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65688" y="3449638"/>
              <a:ext cx="320675" cy="65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50</a:t>
              </a:r>
            </a:p>
          </p:txBody>
        </p:sp>
        <p:sp>
          <p:nvSpPr>
            <p:cNvPr id="129" name="TextBox 147">
              <a:extLst>
                <a:ext uri="{FF2B5EF4-FFF2-40B4-BE49-F238E27FC236}">
                  <a16:creationId xmlns:a16="http://schemas.microsoft.com/office/drawing/2014/main" id="{DB19652E-87ED-468F-BBCE-368259D0B50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65688" y="4049713"/>
              <a:ext cx="320675" cy="65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0</a:t>
              </a:r>
            </a:p>
          </p:txBody>
        </p:sp>
        <p:sp>
          <p:nvSpPr>
            <p:cNvPr id="130" name="TextBox 148">
              <a:extLst>
                <a:ext uri="{FF2B5EF4-FFF2-40B4-BE49-F238E27FC236}">
                  <a16:creationId xmlns:a16="http://schemas.microsoft.com/office/drawing/2014/main" id="{65DEEB57-1D4F-40EF-AEC1-E796205D1F7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65688" y="4637088"/>
              <a:ext cx="320675" cy="73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-50</a:t>
              </a:r>
            </a:p>
          </p:txBody>
        </p:sp>
        <p:sp>
          <p:nvSpPr>
            <p:cNvPr id="131" name="TextBox 149">
              <a:extLst>
                <a:ext uri="{FF2B5EF4-FFF2-40B4-BE49-F238E27FC236}">
                  <a16:creationId xmlns:a16="http://schemas.microsoft.com/office/drawing/2014/main" id="{1712CC49-F9BA-4401-B844-893DAABA3F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65688" y="5249863"/>
              <a:ext cx="320675" cy="73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0" rIns="3600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algn="r" defTabSz="914400" eaLnBrk="1" fontAlgn="auto" latinLnBrk="0" hangingPunct="1">
                <a:lnSpc>
                  <a:spcPct val="5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tr-TR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pitchFamily="127" charset="-128"/>
                </a:rPr>
                <a:t>-100</a:t>
              </a:r>
            </a:p>
          </p:txBody>
        </p:sp>
        <p:sp>
          <p:nvSpPr>
            <p:cNvPr id="132" name="Rounded Rectangle 138">
              <a:extLst>
                <a:ext uri="{FF2B5EF4-FFF2-40B4-BE49-F238E27FC236}">
                  <a16:creationId xmlns:a16="http://schemas.microsoft.com/office/drawing/2014/main" id="{56CB8D75-993F-4390-B0EB-D80B6AA3DA32}"/>
                </a:ext>
              </a:extLst>
            </p:cNvPr>
            <p:cNvSpPr/>
            <p:nvPr/>
          </p:nvSpPr>
          <p:spPr>
            <a:xfrm>
              <a:off x="568325" y="1654175"/>
              <a:ext cx="8020050" cy="4022725"/>
            </a:xfrm>
            <a:prstGeom prst="roundRect">
              <a:avLst>
                <a:gd name="adj" fmla="val 3312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3A25540D-EA1F-44E4-8337-08F956E687F0}"/>
                </a:ext>
              </a:extLst>
            </p:cNvPr>
            <p:cNvCxnSpPr/>
            <p:nvPr/>
          </p:nvCxnSpPr>
          <p:spPr>
            <a:xfrm flipH="1">
              <a:off x="558800" y="2278063"/>
              <a:ext cx="8032750" cy="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CE4EE3BE-C27A-4D99-AF15-75DA4A0A7443}"/>
                </a:ext>
              </a:extLst>
            </p:cNvPr>
            <p:cNvCxnSpPr/>
            <p:nvPr/>
          </p:nvCxnSpPr>
          <p:spPr>
            <a:xfrm flipV="1">
              <a:off x="4549775" y="2268538"/>
              <a:ext cx="0" cy="3390900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pic>
          <p:nvPicPr>
            <p:cNvPr id="135" name="Picture 135">
              <a:extLst>
                <a:ext uri="{FF2B5EF4-FFF2-40B4-BE49-F238E27FC236}">
                  <a16:creationId xmlns:a16="http://schemas.microsoft.com/office/drawing/2014/main" id="{DF2E97B6-C118-4CEC-86C2-B86E2B2D0B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0613" y="5748338"/>
              <a:ext cx="6267450" cy="493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6" name="TextBox 1">
              <a:extLst>
                <a:ext uri="{FF2B5EF4-FFF2-40B4-BE49-F238E27FC236}">
                  <a16:creationId xmlns:a16="http://schemas.microsoft.com/office/drawing/2014/main" id="{C299272C-EEFF-4A7B-8172-84D39AF7025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90788" y="3040063"/>
              <a:ext cx="2924175" cy="830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altLang="tr-TR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ヒラギノ角ゴ Pro W3" pitchFamily="127" charset="-128"/>
                </a:rPr>
                <a:t>PSA cevap oranı: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altLang="tr-TR" sz="12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ヒラギノ角ゴ Pro W3" pitchFamily="127" charset="-128"/>
                </a:rPr>
                <a:t>AR-V7 (+) %0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altLang="tr-TR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ヒラギノ角ゴ Pro W3" pitchFamily="127" charset="-128"/>
                </a:rPr>
                <a:t>AR-V7(-) %52.6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altLang="tr-TR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ヒラギノ角ゴ Pro W3" pitchFamily="127" charset="-128"/>
                </a:rPr>
                <a:t>P:0.004</a:t>
              </a:r>
            </a:p>
          </p:txBody>
        </p:sp>
        <p:sp>
          <p:nvSpPr>
            <p:cNvPr id="137" name="TextBox 145">
              <a:extLst>
                <a:ext uri="{FF2B5EF4-FFF2-40B4-BE49-F238E27FC236}">
                  <a16:creationId xmlns:a16="http://schemas.microsoft.com/office/drawing/2014/main" id="{618D3EC0-18D6-4CC8-9366-08E80CDCC6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54775" y="3013075"/>
              <a:ext cx="2278063" cy="831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ヒラギノ角ゴ Pro W3" pitchFamily="127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altLang="tr-TR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ヒラギノ角ゴ Pro W3" pitchFamily="127" charset="-128"/>
                </a:rPr>
                <a:t>PSA cevap oranı: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altLang="tr-TR" sz="12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ヒラギノ角ゴ Pro W3" pitchFamily="127" charset="-128"/>
                </a:rPr>
                <a:t>AR-V7 (+) %0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altLang="tr-TR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ヒラギノ角ゴ Pro W3" pitchFamily="127" charset="-128"/>
                </a:rPr>
                <a:t>AR-V7 (-) %68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altLang="tr-TR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ヒラギノ角ゴ Pro W3" pitchFamily="127" charset="-128"/>
                </a:rPr>
                <a:t>P:0.00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7638653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Resim 3">
            <a:extLst>
              <a:ext uri="{FF2B5EF4-FFF2-40B4-BE49-F238E27FC236}">
                <a16:creationId xmlns:a16="http://schemas.microsoft.com/office/drawing/2014/main" id="{6550D3BF-8CB3-4415-89B7-CE976A470B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3512" y="1484784"/>
            <a:ext cx="8745166" cy="4572000"/>
          </a:xfrm>
          <a:prstGeom prst="rect">
            <a:avLst/>
          </a:prstGeom>
        </p:spPr>
      </p:pic>
      <p:sp>
        <p:nvSpPr>
          <p:cNvPr id="3" name="TextBox 3"/>
          <p:cNvSpPr txBox="1">
            <a:spLocks noChangeArrowheads="1"/>
          </p:cNvSpPr>
          <p:nvPr/>
        </p:nvSpPr>
        <p:spPr bwMode="auto">
          <a:xfrm>
            <a:off x="1631504" y="332657"/>
            <a:ext cx="8939336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7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7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7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7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7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7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7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7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7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-100" normalizeH="0" baseline="0" noProof="0" dirty="0" err="1">
                <a:ln>
                  <a:noFill/>
                </a:ln>
                <a:solidFill>
                  <a:srgbClr val="9C002C"/>
                </a:solidFill>
                <a:effectLst/>
                <a:uLnTx/>
                <a:uFillTx/>
                <a:latin typeface="Arial"/>
                <a:ea typeface="ヒラギノ角ゴ Pro W3" pitchFamily="127" charset="-128"/>
                <a:cs typeface="+mn-cs"/>
              </a:rPr>
              <a:t>Prostat</a:t>
            </a:r>
            <a:r>
              <a:rPr kumimoji="0" lang="en-US" sz="3600" b="1" i="0" u="none" strike="noStrike" kern="1200" cap="none" spc="-100" normalizeH="0" baseline="0" noProof="0" dirty="0">
                <a:ln>
                  <a:noFill/>
                </a:ln>
                <a:solidFill>
                  <a:srgbClr val="9C002C"/>
                </a:solidFill>
                <a:effectLst/>
                <a:uLnTx/>
                <a:uFillTx/>
                <a:latin typeface="Arial"/>
                <a:ea typeface="ヒラギノ角ゴ Pro W3" pitchFamily="127" charset="-128"/>
                <a:cs typeface="+mn-cs"/>
              </a:rPr>
              <a:t> </a:t>
            </a:r>
            <a:r>
              <a:rPr kumimoji="0" lang="en-US" sz="3600" b="1" i="0" u="none" strike="noStrike" kern="1200" cap="none" spc="-100" normalizeH="0" baseline="0" noProof="0" dirty="0" err="1">
                <a:ln>
                  <a:noFill/>
                </a:ln>
                <a:solidFill>
                  <a:srgbClr val="9C002C"/>
                </a:solidFill>
                <a:effectLst/>
                <a:uLnTx/>
                <a:uFillTx/>
                <a:latin typeface="Arial"/>
                <a:ea typeface="ヒラギノ角ゴ Pro W3" pitchFamily="127" charset="-128"/>
                <a:cs typeface="+mn-cs"/>
              </a:rPr>
              <a:t>Kanserinde</a:t>
            </a:r>
            <a:r>
              <a:rPr kumimoji="0" lang="en-US" sz="3600" b="1" i="0" u="none" strike="noStrike" kern="1200" cap="none" spc="-100" normalizeH="0" baseline="0" noProof="0" dirty="0">
                <a:ln>
                  <a:noFill/>
                </a:ln>
                <a:solidFill>
                  <a:srgbClr val="9C002C"/>
                </a:solidFill>
                <a:effectLst/>
                <a:uLnTx/>
                <a:uFillTx/>
                <a:latin typeface="Arial"/>
                <a:ea typeface="ヒラギノ角ゴ Pro W3" pitchFamily="127" charset="-128"/>
                <a:cs typeface="+mn-cs"/>
              </a:rPr>
              <a:t> Germline </a:t>
            </a:r>
            <a:r>
              <a:rPr kumimoji="0" lang="en-US" sz="3600" b="1" i="0" u="none" strike="noStrike" kern="1200" cap="none" spc="-100" normalizeH="0" baseline="0" noProof="0" dirty="0" err="1">
                <a:ln>
                  <a:noFill/>
                </a:ln>
                <a:solidFill>
                  <a:srgbClr val="9C002C"/>
                </a:solidFill>
                <a:effectLst/>
                <a:uLnTx/>
                <a:uFillTx/>
                <a:latin typeface="Arial"/>
                <a:ea typeface="ヒラギノ角ゴ Pro W3" pitchFamily="127" charset="-128"/>
                <a:cs typeface="+mn-cs"/>
              </a:rPr>
              <a:t>Mutasyonları</a:t>
            </a:r>
            <a:endParaRPr kumimoji="0" lang="tr-TR" sz="3600" b="1" i="0" u="none" strike="noStrike" kern="1200" cap="none" spc="-100" normalizeH="0" baseline="0" noProof="0" dirty="0">
              <a:ln>
                <a:noFill/>
              </a:ln>
              <a:solidFill>
                <a:srgbClr val="9C002C"/>
              </a:solidFill>
              <a:effectLst/>
              <a:uLnTx/>
              <a:uFillTx/>
              <a:latin typeface="Arial"/>
              <a:ea typeface="ヒラギノ角ゴ Pro W3" pitchFamily="127" charset="-128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3E4395B-09C7-4B6D-BB30-45EAE8880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rostat</a:t>
            </a:r>
            <a:r>
              <a:rPr lang="en-GB" dirty="0"/>
              <a:t> </a:t>
            </a:r>
            <a:r>
              <a:rPr lang="en-GB" dirty="0" err="1"/>
              <a:t>kanseri</a:t>
            </a:r>
            <a:r>
              <a:rPr lang="en-GB" dirty="0"/>
              <a:t> </a:t>
            </a:r>
            <a:r>
              <a:rPr lang="en-GB" dirty="0" err="1"/>
              <a:t>ve</a:t>
            </a:r>
            <a:r>
              <a:rPr lang="en-GB" dirty="0"/>
              <a:t> </a:t>
            </a:r>
            <a:r>
              <a:rPr lang="en-GB" dirty="0" err="1"/>
              <a:t>Biomarkır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34C500-2EF8-4748-A341-8D028D14A2FE}" type="slidenum">
              <a:rPr kumimoji="0" lang="tr-TR" sz="1400" b="1" i="0" u="none" strike="noStrike" kern="1200" cap="none" spc="0" normalizeH="0" baseline="0" noProof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tr-TR" sz="1400" b="1" i="0" u="none" strike="noStrike" kern="1200" cap="none" spc="0" normalizeH="0" baseline="0" noProof="0">
              <a:ln>
                <a:noFill/>
              </a:ln>
              <a:solidFill>
                <a:srgbClr val="2929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320732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84F9BBA-0904-4A2B-A38A-8A7EBC98F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utasyonlar</a:t>
            </a:r>
            <a:r>
              <a:rPr lang="en-GB" dirty="0"/>
              <a:t> 16 gen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A128292-AA58-494C-B73F-0E63B2E425FC}"/>
              </a:ext>
            </a:extLst>
          </p:cNvPr>
          <p:cNvGrpSpPr/>
          <p:nvPr/>
        </p:nvGrpSpPr>
        <p:grpSpPr>
          <a:xfrm>
            <a:off x="4151784" y="1916832"/>
            <a:ext cx="4550756" cy="3608746"/>
            <a:chOff x="6836921" y="1623070"/>
            <a:chExt cx="4550756" cy="3608746"/>
          </a:xfrm>
        </p:grpSpPr>
        <p:cxnSp>
          <p:nvCxnSpPr>
            <p:cNvPr id="58" name="Straight Connector 192">
              <a:extLst>
                <a:ext uri="{FF2B5EF4-FFF2-40B4-BE49-F238E27FC236}">
                  <a16:creationId xmlns:a16="http://schemas.microsoft.com/office/drawing/2014/main" id="{2A9A273C-980B-4B58-9853-28BD3CFE7DE0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041831" y="3249425"/>
              <a:ext cx="273844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59" name="Group 18588">
              <a:extLst>
                <a:ext uri="{FF2B5EF4-FFF2-40B4-BE49-F238E27FC236}">
                  <a16:creationId xmlns:a16="http://schemas.microsoft.com/office/drawing/2014/main" id="{9EFFFD97-E7BE-4E0F-81DB-43E939BC893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31103" y="2418369"/>
              <a:ext cx="1576388" cy="1281113"/>
              <a:chOff x="7419977" y="2621491"/>
              <a:chExt cx="2101320" cy="1707619"/>
            </a:xfrm>
          </p:grpSpPr>
          <p:sp>
            <p:nvSpPr>
              <p:cNvPr id="94" name="Freeform: Shape 18587">
                <a:extLst>
                  <a:ext uri="{FF2B5EF4-FFF2-40B4-BE49-F238E27FC236}">
                    <a16:creationId xmlns:a16="http://schemas.microsoft.com/office/drawing/2014/main" id="{AF4631BE-6061-4F1B-8A53-16F5009CFC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2470" y="3109908"/>
                <a:ext cx="123825" cy="274320"/>
              </a:xfrm>
              <a:custGeom>
                <a:avLst/>
                <a:gdLst>
                  <a:gd name="T0" fmla="*/ 123825 w 123825"/>
                  <a:gd name="T1" fmla="*/ 1139980037 h 180975"/>
                  <a:gd name="T2" fmla="*/ 123825 w 123825"/>
                  <a:gd name="T3" fmla="*/ 0 h 180975"/>
                  <a:gd name="T4" fmla="*/ 0 w 123825"/>
                  <a:gd name="T5" fmla="*/ 0 h 18097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23825" h="180975">
                    <a:moveTo>
                      <a:pt x="123825" y="180975"/>
                    </a:moveTo>
                    <a:lnTo>
                      <a:pt x="123825" y="0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endParaRPr>
              </a:p>
            </p:txBody>
          </p:sp>
          <p:cxnSp>
            <p:nvCxnSpPr>
              <p:cNvPr id="95" name="Straight Connector 18584">
                <a:extLst>
                  <a:ext uri="{FF2B5EF4-FFF2-40B4-BE49-F238E27FC236}">
                    <a16:creationId xmlns:a16="http://schemas.microsoft.com/office/drawing/2014/main" id="{012437C3-84DB-4352-B35F-CE5F4E68F89C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V="1">
                <a:off x="8740779" y="2621491"/>
                <a:ext cx="0" cy="638175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96" name="Freeform: Shape 18581">
                <a:extLst>
                  <a:ext uri="{FF2B5EF4-FFF2-40B4-BE49-F238E27FC236}">
                    <a16:creationId xmlns:a16="http://schemas.microsoft.com/office/drawing/2014/main" id="{B0FE09D0-9FA0-4E40-8034-B8D440FA87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30747" y="2990849"/>
                <a:ext cx="590550" cy="228600"/>
              </a:xfrm>
              <a:custGeom>
                <a:avLst/>
                <a:gdLst>
                  <a:gd name="T0" fmla="*/ 0 w 590550"/>
                  <a:gd name="T1" fmla="*/ 228600 h 228600"/>
                  <a:gd name="T2" fmla="*/ 0 w 590550"/>
                  <a:gd name="T3" fmla="*/ 0 h 228600"/>
                  <a:gd name="T4" fmla="*/ 590550 w 590550"/>
                  <a:gd name="T5" fmla="*/ 0 h 228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590550" h="228600">
                    <a:moveTo>
                      <a:pt x="0" y="228600"/>
                    </a:moveTo>
                    <a:lnTo>
                      <a:pt x="0" y="0"/>
                    </a:lnTo>
                    <a:lnTo>
                      <a:pt x="590550" y="0"/>
                    </a:lnTo>
                  </a:path>
                </a:pathLst>
              </a:custGeom>
              <a:noFill/>
              <a:ln w="19050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endParaRPr>
              </a:p>
            </p:txBody>
          </p:sp>
          <p:cxnSp>
            <p:nvCxnSpPr>
              <p:cNvPr id="97" name="Straight Connector 18576">
                <a:extLst>
                  <a:ext uri="{FF2B5EF4-FFF2-40B4-BE49-F238E27FC236}">
                    <a16:creationId xmlns:a16="http://schemas.microsoft.com/office/drawing/2014/main" id="{F94331EB-70EA-4F03-9900-8F633B2A71EB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 flipH="1">
                <a:off x="7419977" y="4329110"/>
                <a:ext cx="204787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98" name="Straight Connector 192">
                <a:extLst>
                  <a:ext uri="{FF2B5EF4-FFF2-40B4-BE49-F238E27FC236}">
                    <a16:creationId xmlns:a16="http://schemas.microsoft.com/office/drawing/2014/main" id="{AFF2F272-669C-4545-92C4-6014292FA42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7462845" y="3995731"/>
                <a:ext cx="257176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99" name="Straight Connector 196">
                <a:extLst>
                  <a:ext uri="{FF2B5EF4-FFF2-40B4-BE49-F238E27FC236}">
                    <a16:creationId xmlns:a16="http://schemas.microsoft.com/office/drawing/2014/main" id="{5FF48E6D-9B60-48BF-B068-852F70F6520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 flipV="1">
                <a:off x="7627733" y="3574167"/>
                <a:ext cx="444720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100" name="Freeform: Shape 18580">
                <a:extLst>
                  <a:ext uri="{FF2B5EF4-FFF2-40B4-BE49-F238E27FC236}">
                    <a16:creationId xmlns:a16="http://schemas.microsoft.com/office/drawing/2014/main" id="{C251A3D5-BE25-4932-A424-20CA9289FC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77" y="3138488"/>
                <a:ext cx="457200" cy="76200"/>
              </a:xfrm>
              <a:custGeom>
                <a:avLst/>
                <a:gdLst>
                  <a:gd name="T0" fmla="*/ 0 w 381000"/>
                  <a:gd name="T1" fmla="*/ 76200 h 76200"/>
                  <a:gd name="T2" fmla="*/ 304300 w 381000"/>
                  <a:gd name="T3" fmla="*/ 0 h 76200"/>
                  <a:gd name="T4" fmla="*/ 12172186 w 381000"/>
                  <a:gd name="T5" fmla="*/ 0 h 76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81000" h="76200">
                    <a:moveTo>
                      <a:pt x="0" y="76200"/>
                    </a:moveTo>
                    <a:lnTo>
                      <a:pt x="9525" y="0"/>
                    </a:lnTo>
                    <a:lnTo>
                      <a:pt x="381000" y="0"/>
                    </a:lnTo>
                  </a:path>
                </a:pathLst>
              </a:custGeom>
              <a:noFill/>
              <a:ln w="19050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endParaRPr>
              </a:p>
            </p:txBody>
          </p:sp>
          <p:sp>
            <p:nvSpPr>
              <p:cNvPr id="101" name="Freeform: Shape 18582">
                <a:extLst>
                  <a:ext uri="{FF2B5EF4-FFF2-40B4-BE49-F238E27FC236}">
                    <a16:creationId xmlns:a16="http://schemas.microsoft.com/office/drawing/2014/main" id="{07D23AFB-D364-4E4C-9C88-5CE4116C75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6557" y="2752724"/>
                <a:ext cx="576263" cy="485775"/>
              </a:xfrm>
              <a:custGeom>
                <a:avLst/>
                <a:gdLst>
                  <a:gd name="T0" fmla="*/ 0 w 576263"/>
                  <a:gd name="T1" fmla="*/ 485775 h 485775"/>
                  <a:gd name="T2" fmla="*/ 0 w 576263"/>
                  <a:gd name="T3" fmla="*/ 0 h 485775"/>
                  <a:gd name="T4" fmla="*/ 576263 w 576263"/>
                  <a:gd name="T5" fmla="*/ 0 h 48577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576263" h="485775">
                    <a:moveTo>
                      <a:pt x="0" y="485775"/>
                    </a:moveTo>
                    <a:lnTo>
                      <a:pt x="0" y="0"/>
                    </a:lnTo>
                    <a:lnTo>
                      <a:pt x="576263" y="0"/>
                    </a:lnTo>
                  </a:path>
                </a:pathLst>
              </a:custGeom>
              <a:noFill/>
              <a:ln w="19050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endParaRPr>
              </a:p>
            </p:txBody>
          </p:sp>
          <p:sp>
            <p:nvSpPr>
              <p:cNvPr id="102" name="Freeform: Shape 18585">
                <a:extLst>
                  <a:ext uri="{FF2B5EF4-FFF2-40B4-BE49-F238E27FC236}">
                    <a16:creationId xmlns:a16="http://schemas.microsoft.com/office/drawing/2014/main" id="{9308A79D-30EE-4C03-A5B2-A4EAD32E0C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8681" y="2709850"/>
                <a:ext cx="190500" cy="548640"/>
              </a:xfrm>
              <a:custGeom>
                <a:avLst/>
                <a:gdLst>
                  <a:gd name="T0" fmla="*/ 190500 w 190500"/>
                  <a:gd name="T1" fmla="*/ 10077723 h 466725"/>
                  <a:gd name="T2" fmla="*/ 190500 w 190500"/>
                  <a:gd name="T3" fmla="*/ 0 h 466725"/>
                  <a:gd name="T4" fmla="*/ 0 w 190500"/>
                  <a:gd name="T5" fmla="*/ 0 h 46672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90500" h="466725">
                    <a:moveTo>
                      <a:pt x="190500" y="466725"/>
                    </a:moveTo>
                    <a:lnTo>
                      <a:pt x="190500" y="0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endParaRPr>
              </a:p>
            </p:txBody>
          </p:sp>
          <p:sp>
            <p:nvSpPr>
              <p:cNvPr id="103" name="Freeform: Shape 18586">
                <a:extLst>
                  <a:ext uri="{FF2B5EF4-FFF2-40B4-BE49-F238E27FC236}">
                    <a16:creationId xmlns:a16="http://schemas.microsoft.com/office/drawing/2014/main" id="{9D1660AC-079A-4960-9B05-8DF15DF64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8681" y="2890834"/>
                <a:ext cx="95250" cy="457200"/>
              </a:xfrm>
              <a:custGeom>
                <a:avLst/>
                <a:gdLst>
                  <a:gd name="T0" fmla="*/ 95250 w 95250"/>
                  <a:gd name="T1" fmla="*/ 134655381 h 333375"/>
                  <a:gd name="T2" fmla="*/ 95250 w 95250"/>
                  <a:gd name="T3" fmla="*/ 0 h 333375"/>
                  <a:gd name="T4" fmla="*/ 0 w 95250"/>
                  <a:gd name="T5" fmla="*/ 0 h 33337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95250" h="333375">
                    <a:moveTo>
                      <a:pt x="95250" y="333375"/>
                    </a:moveTo>
                    <a:lnTo>
                      <a:pt x="95250" y="0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endParaRPr>
              </a:p>
            </p:txBody>
          </p:sp>
          <p:sp>
            <p:nvSpPr>
              <p:cNvPr id="104" name="Freeform: Shape 206">
                <a:extLst>
                  <a:ext uri="{FF2B5EF4-FFF2-40B4-BE49-F238E27FC236}">
                    <a16:creationId xmlns:a16="http://schemas.microsoft.com/office/drawing/2014/main" id="{F23261AA-2799-4B8C-9FC0-5D04E8A8FF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91505" y="3314693"/>
                <a:ext cx="123825" cy="274320"/>
              </a:xfrm>
              <a:custGeom>
                <a:avLst/>
                <a:gdLst>
                  <a:gd name="T0" fmla="*/ 123825 w 123825"/>
                  <a:gd name="T1" fmla="*/ 39763816 h 180975"/>
                  <a:gd name="T2" fmla="*/ 123825 w 123825"/>
                  <a:gd name="T3" fmla="*/ 0 h 180975"/>
                  <a:gd name="T4" fmla="*/ 0 w 123825"/>
                  <a:gd name="T5" fmla="*/ 0 h 18097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23825" h="180975">
                    <a:moveTo>
                      <a:pt x="123825" y="180975"/>
                    </a:moveTo>
                    <a:lnTo>
                      <a:pt x="123825" y="0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60" name="Group 18572">
              <a:extLst>
                <a:ext uri="{FF2B5EF4-FFF2-40B4-BE49-F238E27FC236}">
                  <a16:creationId xmlns:a16="http://schemas.microsoft.com/office/drawing/2014/main" id="{0F9F1AEB-B898-4C03-AF6D-3ECD146EC2E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95396" y="2849729"/>
              <a:ext cx="2375297" cy="2382087"/>
              <a:chOff x="11700740" y="3195613"/>
              <a:chExt cx="3167170" cy="3176906"/>
            </a:xfrm>
          </p:grpSpPr>
          <p:sp>
            <p:nvSpPr>
              <p:cNvPr id="78" name="Freeform 87">
                <a:extLst>
                  <a:ext uri="{FF2B5EF4-FFF2-40B4-BE49-F238E27FC236}">
                    <a16:creationId xmlns:a16="http://schemas.microsoft.com/office/drawing/2014/main" id="{C06C80E1-D21F-4B87-8F01-B47CFA242B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85119" y="3195613"/>
                <a:ext cx="1582791" cy="3086867"/>
              </a:xfrm>
              <a:custGeom>
                <a:avLst/>
                <a:gdLst>
                  <a:gd name="T0" fmla="*/ 72 w 1396"/>
                  <a:gd name="T1" fmla="*/ 2 h 2721"/>
                  <a:gd name="T2" fmla="*/ 212 w 1396"/>
                  <a:gd name="T3" fmla="*/ 16 h 2721"/>
                  <a:gd name="T4" fmla="*/ 348 w 1396"/>
                  <a:gd name="T5" fmla="*/ 44 h 2721"/>
                  <a:gd name="T6" fmla="*/ 480 w 1396"/>
                  <a:gd name="T7" fmla="*/ 84 h 2721"/>
                  <a:gd name="T8" fmla="*/ 604 w 1396"/>
                  <a:gd name="T9" fmla="*/ 138 h 2721"/>
                  <a:gd name="T10" fmla="*/ 724 w 1396"/>
                  <a:gd name="T11" fmla="*/ 202 h 2721"/>
                  <a:gd name="T12" fmla="*/ 835 w 1396"/>
                  <a:gd name="T13" fmla="*/ 277 h 2721"/>
                  <a:gd name="T14" fmla="*/ 939 w 1396"/>
                  <a:gd name="T15" fmla="*/ 362 h 2721"/>
                  <a:gd name="T16" fmla="*/ 1033 w 1396"/>
                  <a:gd name="T17" fmla="*/ 456 h 2721"/>
                  <a:gd name="T18" fmla="*/ 1118 w 1396"/>
                  <a:gd name="T19" fmla="*/ 560 h 2721"/>
                  <a:gd name="T20" fmla="*/ 1193 w 1396"/>
                  <a:gd name="T21" fmla="*/ 672 h 2721"/>
                  <a:gd name="T22" fmla="*/ 1259 w 1396"/>
                  <a:gd name="T23" fmla="*/ 791 h 2721"/>
                  <a:gd name="T24" fmla="*/ 1312 w 1396"/>
                  <a:gd name="T25" fmla="*/ 916 h 2721"/>
                  <a:gd name="T26" fmla="*/ 1352 w 1396"/>
                  <a:gd name="T27" fmla="*/ 1047 h 2721"/>
                  <a:gd name="T28" fmla="*/ 1380 w 1396"/>
                  <a:gd name="T29" fmla="*/ 1183 h 2721"/>
                  <a:gd name="T30" fmla="*/ 1395 w 1396"/>
                  <a:gd name="T31" fmla="*/ 1324 h 2721"/>
                  <a:gd name="T32" fmla="*/ 1395 w 1396"/>
                  <a:gd name="T33" fmla="*/ 1452 h 2721"/>
                  <a:gd name="T34" fmla="*/ 1385 w 1396"/>
                  <a:gd name="T35" fmla="*/ 1564 h 2721"/>
                  <a:gd name="T36" fmla="*/ 1368 w 1396"/>
                  <a:gd name="T37" fmla="*/ 1673 h 2721"/>
                  <a:gd name="T38" fmla="*/ 1342 w 1396"/>
                  <a:gd name="T39" fmla="*/ 1778 h 2721"/>
                  <a:gd name="T40" fmla="*/ 1308 w 1396"/>
                  <a:gd name="T41" fmla="*/ 1881 h 2721"/>
                  <a:gd name="T42" fmla="*/ 1267 w 1396"/>
                  <a:gd name="T43" fmla="*/ 1981 h 2721"/>
                  <a:gd name="T44" fmla="*/ 1219 w 1396"/>
                  <a:gd name="T45" fmla="*/ 2077 h 2721"/>
                  <a:gd name="T46" fmla="*/ 1163 w 1396"/>
                  <a:gd name="T47" fmla="*/ 2169 h 2721"/>
                  <a:gd name="T48" fmla="*/ 1099 w 1396"/>
                  <a:gd name="T49" fmla="*/ 2255 h 2721"/>
                  <a:gd name="T50" fmla="*/ 1030 w 1396"/>
                  <a:gd name="T51" fmla="*/ 2338 h 2721"/>
                  <a:gd name="T52" fmla="*/ 955 w 1396"/>
                  <a:gd name="T53" fmla="*/ 2415 h 2721"/>
                  <a:gd name="T54" fmla="*/ 873 w 1396"/>
                  <a:gd name="T55" fmla="*/ 2485 h 2721"/>
                  <a:gd name="T56" fmla="*/ 785 w 1396"/>
                  <a:gd name="T57" fmla="*/ 2549 h 2721"/>
                  <a:gd name="T58" fmla="*/ 692 w 1396"/>
                  <a:gd name="T59" fmla="*/ 2609 h 2721"/>
                  <a:gd name="T60" fmla="*/ 595 w 1396"/>
                  <a:gd name="T61" fmla="*/ 2658 h 2721"/>
                  <a:gd name="T62" fmla="*/ 492 w 1396"/>
                  <a:gd name="T63" fmla="*/ 2701 h 2721"/>
                  <a:gd name="T64" fmla="*/ 0 w 1396"/>
                  <a:gd name="T65" fmla="*/ 1396 h 27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96" h="2721">
                    <a:moveTo>
                      <a:pt x="0" y="0"/>
                    </a:moveTo>
                    <a:lnTo>
                      <a:pt x="72" y="2"/>
                    </a:lnTo>
                    <a:lnTo>
                      <a:pt x="142" y="7"/>
                    </a:lnTo>
                    <a:lnTo>
                      <a:pt x="212" y="16"/>
                    </a:lnTo>
                    <a:lnTo>
                      <a:pt x="281" y="28"/>
                    </a:lnTo>
                    <a:lnTo>
                      <a:pt x="348" y="44"/>
                    </a:lnTo>
                    <a:lnTo>
                      <a:pt x="416" y="63"/>
                    </a:lnTo>
                    <a:lnTo>
                      <a:pt x="480" y="84"/>
                    </a:lnTo>
                    <a:lnTo>
                      <a:pt x="544" y="109"/>
                    </a:lnTo>
                    <a:lnTo>
                      <a:pt x="604" y="138"/>
                    </a:lnTo>
                    <a:lnTo>
                      <a:pt x="665" y="168"/>
                    </a:lnTo>
                    <a:lnTo>
                      <a:pt x="724" y="202"/>
                    </a:lnTo>
                    <a:lnTo>
                      <a:pt x="780" y="239"/>
                    </a:lnTo>
                    <a:lnTo>
                      <a:pt x="835" y="277"/>
                    </a:lnTo>
                    <a:lnTo>
                      <a:pt x="888" y="319"/>
                    </a:lnTo>
                    <a:lnTo>
                      <a:pt x="939" y="362"/>
                    </a:lnTo>
                    <a:lnTo>
                      <a:pt x="987" y="408"/>
                    </a:lnTo>
                    <a:lnTo>
                      <a:pt x="1033" y="456"/>
                    </a:lnTo>
                    <a:lnTo>
                      <a:pt x="1076" y="508"/>
                    </a:lnTo>
                    <a:lnTo>
                      <a:pt x="1118" y="560"/>
                    </a:lnTo>
                    <a:lnTo>
                      <a:pt x="1158" y="615"/>
                    </a:lnTo>
                    <a:lnTo>
                      <a:pt x="1193" y="672"/>
                    </a:lnTo>
                    <a:lnTo>
                      <a:pt x="1227" y="730"/>
                    </a:lnTo>
                    <a:lnTo>
                      <a:pt x="1259" y="791"/>
                    </a:lnTo>
                    <a:lnTo>
                      <a:pt x="1286" y="852"/>
                    </a:lnTo>
                    <a:lnTo>
                      <a:pt x="1312" y="916"/>
                    </a:lnTo>
                    <a:lnTo>
                      <a:pt x="1332" y="981"/>
                    </a:lnTo>
                    <a:lnTo>
                      <a:pt x="1352" y="1047"/>
                    </a:lnTo>
                    <a:lnTo>
                      <a:pt x="1368" y="1114"/>
                    </a:lnTo>
                    <a:lnTo>
                      <a:pt x="1380" y="1183"/>
                    </a:lnTo>
                    <a:lnTo>
                      <a:pt x="1388" y="1253"/>
                    </a:lnTo>
                    <a:lnTo>
                      <a:pt x="1395" y="1324"/>
                    </a:lnTo>
                    <a:lnTo>
                      <a:pt x="1396" y="1396"/>
                    </a:lnTo>
                    <a:lnTo>
                      <a:pt x="1395" y="1452"/>
                    </a:lnTo>
                    <a:lnTo>
                      <a:pt x="1392" y="1508"/>
                    </a:lnTo>
                    <a:lnTo>
                      <a:pt x="1385" y="1564"/>
                    </a:lnTo>
                    <a:lnTo>
                      <a:pt x="1379" y="1618"/>
                    </a:lnTo>
                    <a:lnTo>
                      <a:pt x="1368" y="1673"/>
                    </a:lnTo>
                    <a:lnTo>
                      <a:pt x="1356" y="1725"/>
                    </a:lnTo>
                    <a:lnTo>
                      <a:pt x="1342" y="1778"/>
                    </a:lnTo>
                    <a:lnTo>
                      <a:pt x="1326" y="1829"/>
                    </a:lnTo>
                    <a:lnTo>
                      <a:pt x="1308" y="1881"/>
                    </a:lnTo>
                    <a:lnTo>
                      <a:pt x="1289" y="1932"/>
                    </a:lnTo>
                    <a:lnTo>
                      <a:pt x="1267" y="1981"/>
                    </a:lnTo>
                    <a:lnTo>
                      <a:pt x="1244" y="2029"/>
                    </a:lnTo>
                    <a:lnTo>
                      <a:pt x="1219" y="2077"/>
                    </a:lnTo>
                    <a:lnTo>
                      <a:pt x="1192" y="2124"/>
                    </a:lnTo>
                    <a:lnTo>
                      <a:pt x="1163" y="2169"/>
                    </a:lnTo>
                    <a:lnTo>
                      <a:pt x="1132" y="2213"/>
                    </a:lnTo>
                    <a:lnTo>
                      <a:pt x="1099" y="2255"/>
                    </a:lnTo>
                    <a:lnTo>
                      <a:pt x="1065" y="2298"/>
                    </a:lnTo>
                    <a:lnTo>
                      <a:pt x="1030" y="2338"/>
                    </a:lnTo>
                    <a:lnTo>
                      <a:pt x="993" y="2377"/>
                    </a:lnTo>
                    <a:lnTo>
                      <a:pt x="955" y="2415"/>
                    </a:lnTo>
                    <a:lnTo>
                      <a:pt x="915" y="2450"/>
                    </a:lnTo>
                    <a:lnTo>
                      <a:pt x="873" y="2485"/>
                    </a:lnTo>
                    <a:lnTo>
                      <a:pt x="830" y="2519"/>
                    </a:lnTo>
                    <a:lnTo>
                      <a:pt x="785" y="2549"/>
                    </a:lnTo>
                    <a:lnTo>
                      <a:pt x="740" y="2580"/>
                    </a:lnTo>
                    <a:lnTo>
                      <a:pt x="692" y="2609"/>
                    </a:lnTo>
                    <a:lnTo>
                      <a:pt x="644" y="2634"/>
                    </a:lnTo>
                    <a:lnTo>
                      <a:pt x="595" y="2658"/>
                    </a:lnTo>
                    <a:lnTo>
                      <a:pt x="545" y="2681"/>
                    </a:lnTo>
                    <a:lnTo>
                      <a:pt x="492" y="2701"/>
                    </a:lnTo>
                    <a:lnTo>
                      <a:pt x="440" y="2721"/>
                    </a:lnTo>
                    <a:lnTo>
                      <a:pt x="0" y="139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E1471D"/>
              </a:solidFill>
              <a:ln w="20638">
                <a:solidFill>
                  <a:srgbClr val="455560">
                    <a:lumMod val="1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endParaRPr>
              </a:p>
            </p:txBody>
          </p:sp>
          <p:sp>
            <p:nvSpPr>
              <p:cNvPr id="79" name="Freeform 89">
                <a:extLst>
                  <a:ext uri="{FF2B5EF4-FFF2-40B4-BE49-F238E27FC236}">
                    <a16:creationId xmlns:a16="http://schemas.microsoft.com/office/drawing/2014/main" id="{38A308DA-70B9-4D38-B854-BCB0570C40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07217" y="4787800"/>
                <a:ext cx="1276393" cy="1584719"/>
              </a:xfrm>
              <a:custGeom>
                <a:avLst/>
                <a:gdLst>
                  <a:gd name="T0" fmla="*/ 1125 w 1125"/>
                  <a:gd name="T1" fmla="*/ 1325 h 1397"/>
                  <a:gd name="T2" fmla="*/ 1054 w 1125"/>
                  <a:gd name="T3" fmla="*/ 1345 h 1397"/>
                  <a:gd name="T4" fmla="*/ 984 w 1125"/>
                  <a:gd name="T5" fmla="*/ 1363 h 1397"/>
                  <a:gd name="T6" fmla="*/ 912 w 1125"/>
                  <a:gd name="T7" fmla="*/ 1377 h 1397"/>
                  <a:gd name="T8" fmla="*/ 840 w 1125"/>
                  <a:gd name="T9" fmla="*/ 1387 h 1397"/>
                  <a:gd name="T10" fmla="*/ 768 w 1125"/>
                  <a:gd name="T11" fmla="*/ 1393 h 1397"/>
                  <a:gd name="T12" fmla="*/ 694 w 1125"/>
                  <a:gd name="T13" fmla="*/ 1397 h 1397"/>
                  <a:gd name="T14" fmla="*/ 622 w 1125"/>
                  <a:gd name="T15" fmla="*/ 1395 h 1397"/>
                  <a:gd name="T16" fmla="*/ 550 w 1125"/>
                  <a:gd name="T17" fmla="*/ 1390 h 1397"/>
                  <a:gd name="T18" fmla="*/ 478 w 1125"/>
                  <a:gd name="T19" fmla="*/ 1381 h 1397"/>
                  <a:gd name="T20" fmla="*/ 408 w 1125"/>
                  <a:gd name="T21" fmla="*/ 1368 h 1397"/>
                  <a:gd name="T22" fmla="*/ 337 w 1125"/>
                  <a:gd name="T23" fmla="*/ 1352 h 1397"/>
                  <a:gd name="T24" fmla="*/ 267 w 1125"/>
                  <a:gd name="T25" fmla="*/ 1333 h 1397"/>
                  <a:gd name="T26" fmla="*/ 198 w 1125"/>
                  <a:gd name="T27" fmla="*/ 1309 h 1397"/>
                  <a:gd name="T28" fmla="*/ 131 w 1125"/>
                  <a:gd name="T29" fmla="*/ 1281 h 1397"/>
                  <a:gd name="T30" fmla="*/ 65 w 1125"/>
                  <a:gd name="T31" fmla="*/ 1251 h 1397"/>
                  <a:gd name="T32" fmla="*/ 0 w 1125"/>
                  <a:gd name="T33" fmla="*/ 1216 h 1397"/>
                  <a:gd name="T34" fmla="*/ 685 w 1125"/>
                  <a:gd name="T35" fmla="*/ 0 h 1397"/>
                  <a:gd name="T36" fmla="*/ 1125 w 1125"/>
                  <a:gd name="T37" fmla="*/ 1325 h 1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25" h="1397">
                    <a:moveTo>
                      <a:pt x="1125" y="1325"/>
                    </a:moveTo>
                    <a:lnTo>
                      <a:pt x="1054" y="1345"/>
                    </a:lnTo>
                    <a:lnTo>
                      <a:pt x="984" y="1363"/>
                    </a:lnTo>
                    <a:lnTo>
                      <a:pt x="912" y="1377"/>
                    </a:lnTo>
                    <a:lnTo>
                      <a:pt x="840" y="1387"/>
                    </a:lnTo>
                    <a:lnTo>
                      <a:pt x="768" y="1393"/>
                    </a:lnTo>
                    <a:lnTo>
                      <a:pt x="694" y="1397"/>
                    </a:lnTo>
                    <a:lnTo>
                      <a:pt x="622" y="1395"/>
                    </a:lnTo>
                    <a:lnTo>
                      <a:pt x="550" y="1390"/>
                    </a:lnTo>
                    <a:lnTo>
                      <a:pt x="478" y="1381"/>
                    </a:lnTo>
                    <a:lnTo>
                      <a:pt x="408" y="1368"/>
                    </a:lnTo>
                    <a:lnTo>
                      <a:pt x="337" y="1352"/>
                    </a:lnTo>
                    <a:lnTo>
                      <a:pt x="267" y="1333"/>
                    </a:lnTo>
                    <a:lnTo>
                      <a:pt x="198" y="1309"/>
                    </a:lnTo>
                    <a:lnTo>
                      <a:pt x="131" y="1281"/>
                    </a:lnTo>
                    <a:lnTo>
                      <a:pt x="65" y="1251"/>
                    </a:lnTo>
                    <a:lnTo>
                      <a:pt x="0" y="1216"/>
                    </a:lnTo>
                    <a:lnTo>
                      <a:pt x="685" y="0"/>
                    </a:lnTo>
                    <a:lnTo>
                      <a:pt x="1125" y="1325"/>
                    </a:lnTo>
                  </a:path>
                </a:pathLst>
              </a:custGeom>
              <a:solidFill>
                <a:srgbClr val="4DA1BB"/>
              </a:solidFill>
              <a:ln w="20638">
                <a:solidFill>
                  <a:srgbClr val="455560">
                    <a:lumMod val="1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endParaRPr>
              </a:p>
            </p:txBody>
          </p:sp>
          <p:sp>
            <p:nvSpPr>
              <p:cNvPr id="80" name="Freeform 91">
                <a:extLst>
                  <a:ext uri="{FF2B5EF4-FFF2-40B4-BE49-F238E27FC236}">
                    <a16:creationId xmlns:a16="http://schemas.microsoft.com/office/drawing/2014/main" id="{711F91B9-2F34-4272-B291-58ED4A84AC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65830" y="4787800"/>
                <a:ext cx="1519288" cy="1379880"/>
              </a:xfrm>
              <a:custGeom>
                <a:avLst/>
                <a:gdLst>
                  <a:gd name="T0" fmla="*/ 653 w 1338"/>
                  <a:gd name="T1" fmla="*/ 1216 h 1216"/>
                  <a:gd name="T2" fmla="*/ 624 w 1338"/>
                  <a:gd name="T3" fmla="*/ 1200 h 1216"/>
                  <a:gd name="T4" fmla="*/ 594 w 1338"/>
                  <a:gd name="T5" fmla="*/ 1182 h 1216"/>
                  <a:gd name="T6" fmla="*/ 566 w 1338"/>
                  <a:gd name="T7" fmla="*/ 1163 h 1216"/>
                  <a:gd name="T8" fmla="*/ 538 w 1338"/>
                  <a:gd name="T9" fmla="*/ 1144 h 1216"/>
                  <a:gd name="T10" fmla="*/ 510 w 1338"/>
                  <a:gd name="T11" fmla="*/ 1125 h 1216"/>
                  <a:gd name="T12" fmla="*/ 483 w 1338"/>
                  <a:gd name="T13" fmla="*/ 1104 h 1216"/>
                  <a:gd name="T14" fmla="*/ 458 w 1338"/>
                  <a:gd name="T15" fmla="*/ 1083 h 1216"/>
                  <a:gd name="T16" fmla="*/ 432 w 1338"/>
                  <a:gd name="T17" fmla="*/ 1062 h 1216"/>
                  <a:gd name="T18" fmla="*/ 406 w 1338"/>
                  <a:gd name="T19" fmla="*/ 1040 h 1216"/>
                  <a:gd name="T20" fmla="*/ 382 w 1338"/>
                  <a:gd name="T21" fmla="*/ 1017 h 1216"/>
                  <a:gd name="T22" fmla="*/ 358 w 1338"/>
                  <a:gd name="T23" fmla="*/ 995 h 1216"/>
                  <a:gd name="T24" fmla="*/ 334 w 1338"/>
                  <a:gd name="T25" fmla="*/ 971 h 1216"/>
                  <a:gd name="T26" fmla="*/ 312 w 1338"/>
                  <a:gd name="T27" fmla="*/ 947 h 1216"/>
                  <a:gd name="T28" fmla="*/ 290 w 1338"/>
                  <a:gd name="T29" fmla="*/ 921 h 1216"/>
                  <a:gd name="T30" fmla="*/ 267 w 1338"/>
                  <a:gd name="T31" fmla="*/ 896 h 1216"/>
                  <a:gd name="T32" fmla="*/ 246 w 1338"/>
                  <a:gd name="T33" fmla="*/ 870 h 1216"/>
                  <a:gd name="T34" fmla="*/ 226 w 1338"/>
                  <a:gd name="T35" fmla="*/ 845 h 1216"/>
                  <a:gd name="T36" fmla="*/ 206 w 1338"/>
                  <a:gd name="T37" fmla="*/ 817 h 1216"/>
                  <a:gd name="T38" fmla="*/ 187 w 1338"/>
                  <a:gd name="T39" fmla="*/ 790 h 1216"/>
                  <a:gd name="T40" fmla="*/ 168 w 1338"/>
                  <a:gd name="T41" fmla="*/ 761 h 1216"/>
                  <a:gd name="T42" fmla="*/ 150 w 1338"/>
                  <a:gd name="T43" fmla="*/ 734 h 1216"/>
                  <a:gd name="T44" fmla="*/ 133 w 1338"/>
                  <a:gd name="T45" fmla="*/ 705 h 1216"/>
                  <a:gd name="T46" fmla="*/ 117 w 1338"/>
                  <a:gd name="T47" fmla="*/ 677 h 1216"/>
                  <a:gd name="T48" fmla="*/ 101 w 1338"/>
                  <a:gd name="T49" fmla="*/ 646 h 1216"/>
                  <a:gd name="T50" fmla="*/ 85 w 1338"/>
                  <a:gd name="T51" fmla="*/ 617 h 1216"/>
                  <a:gd name="T52" fmla="*/ 70 w 1338"/>
                  <a:gd name="T53" fmla="*/ 587 h 1216"/>
                  <a:gd name="T54" fmla="*/ 58 w 1338"/>
                  <a:gd name="T55" fmla="*/ 555 h 1216"/>
                  <a:gd name="T56" fmla="*/ 45 w 1338"/>
                  <a:gd name="T57" fmla="*/ 525 h 1216"/>
                  <a:gd name="T58" fmla="*/ 32 w 1338"/>
                  <a:gd name="T59" fmla="*/ 493 h 1216"/>
                  <a:gd name="T60" fmla="*/ 21 w 1338"/>
                  <a:gd name="T61" fmla="*/ 462 h 1216"/>
                  <a:gd name="T62" fmla="*/ 10 w 1338"/>
                  <a:gd name="T63" fmla="*/ 430 h 1216"/>
                  <a:gd name="T64" fmla="*/ 0 w 1338"/>
                  <a:gd name="T65" fmla="*/ 397 h 1216"/>
                  <a:gd name="T66" fmla="*/ 1338 w 1338"/>
                  <a:gd name="T67" fmla="*/ 0 h 1216"/>
                  <a:gd name="T68" fmla="*/ 653 w 1338"/>
                  <a:gd name="T69" fmla="*/ 1216 h 1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38" h="1216">
                    <a:moveTo>
                      <a:pt x="653" y="1216"/>
                    </a:moveTo>
                    <a:lnTo>
                      <a:pt x="624" y="1200"/>
                    </a:lnTo>
                    <a:lnTo>
                      <a:pt x="594" y="1182"/>
                    </a:lnTo>
                    <a:lnTo>
                      <a:pt x="566" y="1163"/>
                    </a:lnTo>
                    <a:lnTo>
                      <a:pt x="538" y="1144"/>
                    </a:lnTo>
                    <a:lnTo>
                      <a:pt x="510" y="1125"/>
                    </a:lnTo>
                    <a:lnTo>
                      <a:pt x="483" y="1104"/>
                    </a:lnTo>
                    <a:lnTo>
                      <a:pt x="458" y="1083"/>
                    </a:lnTo>
                    <a:lnTo>
                      <a:pt x="432" y="1062"/>
                    </a:lnTo>
                    <a:lnTo>
                      <a:pt x="406" y="1040"/>
                    </a:lnTo>
                    <a:lnTo>
                      <a:pt x="382" y="1017"/>
                    </a:lnTo>
                    <a:lnTo>
                      <a:pt x="358" y="995"/>
                    </a:lnTo>
                    <a:lnTo>
                      <a:pt x="334" y="971"/>
                    </a:lnTo>
                    <a:lnTo>
                      <a:pt x="312" y="947"/>
                    </a:lnTo>
                    <a:lnTo>
                      <a:pt x="290" y="921"/>
                    </a:lnTo>
                    <a:lnTo>
                      <a:pt x="267" y="896"/>
                    </a:lnTo>
                    <a:lnTo>
                      <a:pt x="246" y="870"/>
                    </a:lnTo>
                    <a:lnTo>
                      <a:pt x="226" y="845"/>
                    </a:lnTo>
                    <a:lnTo>
                      <a:pt x="206" y="817"/>
                    </a:lnTo>
                    <a:lnTo>
                      <a:pt x="187" y="790"/>
                    </a:lnTo>
                    <a:lnTo>
                      <a:pt x="168" y="761"/>
                    </a:lnTo>
                    <a:lnTo>
                      <a:pt x="150" y="734"/>
                    </a:lnTo>
                    <a:lnTo>
                      <a:pt x="133" y="705"/>
                    </a:lnTo>
                    <a:lnTo>
                      <a:pt x="117" y="677"/>
                    </a:lnTo>
                    <a:lnTo>
                      <a:pt x="101" y="646"/>
                    </a:lnTo>
                    <a:lnTo>
                      <a:pt x="85" y="617"/>
                    </a:lnTo>
                    <a:lnTo>
                      <a:pt x="70" y="587"/>
                    </a:lnTo>
                    <a:lnTo>
                      <a:pt x="58" y="555"/>
                    </a:lnTo>
                    <a:lnTo>
                      <a:pt x="45" y="525"/>
                    </a:lnTo>
                    <a:lnTo>
                      <a:pt x="32" y="493"/>
                    </a:lnTo>
                    <a:lnTo>
                      <a:pt x="21" y="462"/>
                    </a:lnTo>
                    <a:lnTo>
                      <a:pt x="10" y="430"/>
                    </a:lnTo>
                    <a:lnTo>
                      <a:pt x="0" y="397"/>
                    </a:lnTo>
                    <a:lnTo>
                      <a:pt x="1338" y="0"/>
                    </a:lnTo>
                    <a:lnTo>
                      <a:pt x="653" y="1216"/>
                    </a:lnTo>
                  </a:path>
                </a:pathLst>
              </a:custGeom>
              <a:solidFill>
                <a:srgbClr val="4DA1BB">
                  <a:lumMod val="60000"/>
                  <a:lumOff val="40000"/>
                </a:srgbClr>
              </a:solidFill>
              <a:ln w="20638">
                <a:solidFill>
                  <a:srgbClr val="455560">
                    <a:lumMod val="1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endParaRPr>
              </a:p>
            </p:txBody>
          </p:sp>
          <p:sp>
            <p:nvSpPr>
              <p:cNvPr id="81" name="Freeform 93">
                <a:extLst>
                  <a:ext uri="{FF2B5EF4-FFF2-40B4-BE49-F238E27FC236}">
                    <a16:creationId xmlns:a16="http://schemas.microsoft.com/office/drawing/2014/main" id="{07675819-54AC-47CC-8E78-D44809B080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00740" y="4535324"/>
                <a:ext cx="1584379" cy="703438"/>
              </a:xfrm>
              <a:custGeom>
                <a:avLst/>
                <a:gdLst>
                  <a:gd name="T0" fmla="*/ 58 w 1396"/>
                  <a:gd name="T1" fmla="*/ 620 h 620"/>
                  <a:gd name="T2" fmla="*/ 47 w 1396"/>
                  <a:gd name="T3" fmla="*/ 583 h 620"/>
                  <a:gd name="T4" fmla="*/ 37 w 1396"/>
                  <a:gd name="T5" fmla="*/ 544 h 620"/>
                  <a:gd name="T6" fmla="*/ 29 w 1396"/>
                  <a:gd name="T7" fmla="*/ 506 h 620"/>
                  <a:gd name="T8" fmla="*/ 21 w 1396"/>
                  <a:gd name="T9" fmla="*/ 468 h 620"/>
                  <a:gd name="T10" fmla="*/ 15 w 1396"/>
                  <a:gd name="T11" fmla="*/ 429 h 620"/>
                  <a:gd name="T12" fmla="*/ 10 w 1396"/>
                  <a:gd name="T13" fmla="*/ 391 h 620"/>
                  <a:gd name="T14" fmla="*/ 5 w 1396"/>
                  <a:gd name="T15" fmla="*/ 351 h 620"/>
                  <a:gd name="T16" fmla="*/ 2 w 1396"/>
                  <a:gd name="T17" fmla="*/ 312 h 620"/>
                  <a:gd name="T18" fmla="*/ 0 w 1396"/>
                  <a:gd name="T19" fmla="*/ 274 h 620"/>
                  <a:gd name="T20" fmla="*/ 0 w 1396"/>
                  <a:gd name="T21" fmla="*/ 234 h 620"/>
                  <a:gd name="T22" fmla="*/ 0 w 1396"/>
                  <a:gd name="T23" fmla="*/ 195 h 620"/>
                  <a:gd name="T24" fmla="*/ 2 w 1396"/>
                  <a:gd name="T25" fmla="*/ 155 h 620"/>
                  <a:gd name="T26" fmla="*/ 4 w 1396"/>
                  <a:gd name="T27" fmla="*/ 117 h 620"/>
                  <a:gd name="T28" fmla="*/ 7 w 1396"/>
                  <a:gd name="T29" fmla="*/ 77 h 620"/>
                  <a:gd name="T30" fmla="*/ 12 w 1396"/>
                  <a:gd name="T31" fmla="*/ 39 h 620"/>
                  <a:gd name="T32" fmla="*/ 18 w 1396"/>
                  <a:gd name="T33" fmla="*/ 0 h 620"/>
                  <a:gd name="T34" fmla="*/ 1396 w 1396"/>
                  <a:gd name="T35" fmla="*/ 223 h 620"/>
                  <a:gd name="T36" fmla="*/ 58 w 1396"/>
                  <a:gd name="T37" fmla="*/ 620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96" h="620">
                    <a:moveTo>
                      <a:pt x="58" y="620"/>
                    </a:moveTo>
                    <a:lnTo>
                      <a:pt x="47" y="583"/>
                    </a:lnTo>
                    <a:lnTo>
                      <a:pt x="37" y="544"/>
                    </a:lnTo>
                    <a:lnTo>
                      <a:pt x="29" y="506"/>
                    </a:lnTo>
                    <a:lnTo>
                      <a:pt x="21" y="468"/>
                    </a:lnTo>
                    <a:lnTo>
                      <a:pt x="15" y="429"/>
                    </a:lnTo>
                    <a:lnTo>
                      <a:pt x="10" y="391"/>
                    </a:lnTo>
                    <a:lnTo>
                      <a:pt x="5" y="351"/>
                    </a:lnTo>
                    <a:lnTo>
                      <a:pt x="2" y="312"/>
                    </a:lnTo>
                    <a:lnTo>
                      <a:pt x="0" y="274"/>
                    </a:lnTo>
                    <a:lnTo>
                      <a:pt x="0" y="234"/>
                    </a:lnTo>
                    <a:lnTo>
                      <a:pt x="0" y="195"/>
                    </a:lnTo>
                    <a:lnTo>
                      <a:pt x="2" y="155"/>
                    </a:lnTo>
                    <a:lnTo>
                      <a:pt x="4" y="117"/>
                    </a:lnTo>
                    <a:lnTo>
                      <a:pt x="7" y="77"/>
                    </a:lnTo>
                    <a:lnTo>
                      <a:pt x="12" y="39"/>
                    </a:lnTo>
                    <a:lnTo>
                      <a:pt x="18" y="0"/>
                    </a:lnTo>
                    <a:lnTo>
                      <a:pt x="1396" y="223"/>
                    </a:lnTo>
                    <a:lnTo>
                      <a:pt x="58" y="620"/>
                    </a:lnTo>
                  </a:path>
                </a:pathLst>
              </a:custGeom>
              <a:solidFill>
                <a:srgbClr val="CDCDCF">
                  <a:lumMod val="75000"/>
                </a:srgbClr>
              </a:solidFill>
              <a:ln w="20638">
                <a:solidFill>
                  <a:srgbClr val="455560">
                    <a:lumMod val="1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endParaRPr>
              </a:p>
            </p:txBody>
          </p:sp>
          <p:sp>
            <p:nvSpPr>
              <p:cNvPr id="82" name="Freeform 95">
                <a:extLst>
                  <a:ext uri="{FF2B5EF4-FFF2-40B4-BE49-F238E27FC236}">
                    <a16:creationId xmlns:a16="http://schemas.microsoft.com/office/drawing/2014/main" id="{B8152575-E217-4A98-9429-C63A47BE75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21379" y="4146291"/>
                <a:ext cx="1563740" cy="641509"/>
              </a:xfrm>
              <a:custGeom>
                <a:avLst/>
                <a:gdLst>
                  <a:gd name="T0" fmla="*/ 0 w 1378"/>
                  <a:gd name="T1" fmla="*/ 342 h 565"/>
                  <a:gd name="T2" fmla="*/ 8 w 1378"/>
                  <a:gd name="T3" fmla="*/ 297 h 565"/>
                  <a:gd name="T4" fmla="*/ 16 w 1378"/>
                  <a:gd name="T5" fmla="*/ 254 h 565"/>
                  <a:gd name="T6" fmla="*/ 27 w 1378"/>
                  <a:gd name="T7" fmla="*/ 211 h 565"/>
                  <a:gd name="T8" fmla="*/ 40 w 1378"/>
                  <a:gd name="T9" fmla="*/ 168 h 565"/>
                  <a:gd name="T10" fmla="*/ 53 w 1378"/>
                  <a:gd name="T11" fmla="*/ 125 h 565"/>
                  <a:gd name="T12" fmla="*/ 67 w 1378"/>
                  <a:gd name="T13" fmla="*/ 83 h 565"/>
                  <a:gd name="T14" fmla="*/ 83 w 1378"/>
                  <a:gd name="T15" fmla="*/ 41 h 565"/>
                  <a:gd name="T16" fmla="*/ 101 w 1378"/>
                  <a:gd name="T17" fmla="*/ 0 h 565"/>
                  <a:gd name="T18" fmla="*/ 1378 w 1378"/>
                  <a:gd name="T19" fmla="*/ 565 h 565"/>
                  <a:gd name="T20" fmla="*/ 0 w 1378"/>
                  <a:gd name="T21" fmla="*/ 342 h 5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78" h="565">
                    <a:moveTo>
                      <a:pt x="0" y="342"/>
                    </a:moveTo>
                    <a:lnTo>
                      <a:pt x="8" y="297"/>
                    </a:lnTo>
                    <a:lnTo>
                      <a:pt x="16" y="254"/>
                    </a:lnTo>
                    <a:lnTo>
                      <a:pt x="27" y="211"/>
                    </a:lnTo>
                    <a:lnTo>
                      <a:pt x="40" y="168"/>
                    </a:lnTo>
                    <a:lnTo>
                      <a:pt x="53" y="125"/>
                    </a:lnTo>
                    <a:lnTo>
                      <a:pt x="67" y="83"/>
                    </a:lnTo>
                    <a:lnTo>
                      <a:pt x="83" y="41"/>
                    </a:lnTo>
                    <a:lnTo>
                      <a:pt x="101" y="0"/>
                    </a:lnTo>
                    <a:lnTo>
                      <a:pt x="1378" y="565"/>
                    </a:lnTo>
                    <a:lnTo>
                      <a:pt x="0" y="342"/>
                    </a:lnTo>
                  </a:path>
                </a:pathLst>
              </a:custGeom>
              <a:solidFill>
                <a:srgbClr val="455560"/>
              </a:solidFill>
              <a:ln w="20638">
                <a:solidFill>
                  <a:srgbClr val="455560">
                    <a:lumMod val="1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endParaRPr>
              </a:p>
            </p:txBody>
          </p:sp>
          <p:sp>
            <p:nvSpPr>
              <p:cNvPr id="83" name="Freeform 97">
                <a:extLst>
                  <a:ext uri="{FF2B5EF4-FFF2-40B4-BE49-F238E27FC236}">
                    <a16:creationId xmlns:a16="http://schemas.microsoft.com/office/drawing/2014/main" id="{60D68231-7111-40D7-B4E3-8EA7F52500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35683" y="3800129"/>
                <a:ext cx="1449436" cy="987671"/>
              </a:xfrm>
              <a:custGeom>
                <a:avLst/>
                <a:gdLst>
                  <a:gd name="T0" fmla="*/ 0 w 1277"/>
                  <a:gd name="T1" fmla="*/ 306 h 871"/>
                  <a:gd name="T2" fmla="*/ 19 w 1277"/>
                  <a:gd name="T3" fmla="*/ 264 h 871"/>
                  <a:gd name="T4" fmla="*/ 38 w 1277"/>
                  <a:gd name="T5" fmla="*/ 224 h 871"/>
                  <a:gd name="T6" fmla="*/ 61 w 1277"/>
                  <a:gd name="T7" fmla="*/ 186 h 871"/>
                  <a:gd name="T8" fmla="*/ 83 w 1277"/>
                  <a:gd name="T9" fmla="*/ 147 h 871"/>
                  <a:gd name="T10" fmla="*/ 107 w 1277"/>
                  <a:gd name="T11" fmla="*/ 109 h 871"/>
                  <a:gd name="T12" fmla="*/ 131 w 1277"/>
                  <a:gd name="T13" fmla="*/ 72 h 871"/>
                  <a:gd name="T14" fmla="*/ 158 w 1277"/>
                  <a:gd name="T15" fmla="*/ 35 h 871"/>
                  <a:gd name="T16" fmla="*/ 185 w 1277"/>
                  <a:gd name="T17" fmla="*/ 0 h 871"/>
                  <a:gd name="T18" fmla="*/ 1277 w 1277"/>
                  <a:gd name="T19" fmla="*/ 871 h 871"/>
                  <a:gd name="T20" fmla="*/ 0 w 1277"/>
                  <a:gd name="T21" fmla="*/ 306 h 8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77" h="871">
                    <a:moveTo>
                      <a:pt x="0" y="306"/>
                    </a:moveTo>
                    <a:lnTo>
                      <a:pt x="19" y="264"/>
                    </a:lnTo>
                    <a:lnTo>
                      <a:pt x="38" y="224"/>
                    </a:lnTo>
                    <a:lnTo>
                      <a:pt x="61" y="186"/>
                    </a:lnTo>
                    <a:lnTo>
                      <a:pt x="83" y="147"/>
                    </a:lnTo>
                    <a:lnTo>
                      <a:pt x="107" y="109"/>
                    </a:lnTo>
                    <a:lnTo>
                      <a:pt x="131" y="72"/>
                    </a:lnTo>
                    <a:lnTo>
                      <a:pt x="158" y="35"/>
                    </a:lnTo>
                    <a:lnTo>
                      <a:pt x="185" y="0"/>
                    </a:lnTo>
                    <a:lnTo>
                      <a:pt x="1277" y="871"/>
                    </a:lnTo>
                    <a:lnTo>
                      <a:pt x="0" y="306"/>
                    </a:lnTo>
                  </a:path>
                </a:pathLst>
              </a:custGeom>
              <a:solidFill>
                <a:srgbClr val="682E74"/>
              </a:solidFill>
              <a:ln w="20638">
                <a:solidFill>
                  <a:srgbClr val="455560">
                    <a:lumMod val="1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endParaRPr>
              </a:p>
            </p:txBody>
          </p:sp>
          <p:sp>
            <p:nvSpPr>
              <p:cNvPr id="84" name="Freeform 99">
                <a:extLst>
                  <a:ext uri="{FF2B5EF4-FFF2-40B4-BE49-F238E27FC236}">
                    <a16:creationId xmlns:a16="http://schemas.microsoft.com/office/drawing/2014/main" id="{DCBD0CF0-313E-4EB5-B91C-CCFA2BCCB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45240" y="3649279"/>
                <a:ext cx="1238292" cy="1138521"/>
              </a:xfrm>
              <a:custGeom>
                <a:avLst/>
                <a:gdLst>
                  <a:gd name="T0" fmla="*/ 0 w 1092"/>
                  <a:gd name="T1" fmla="*/ 133 h 1004"/>
                  <a:gd name="T2" fmla="*/ 29 w 1092"/>
                  <a:gd name="T3" fmla="*/ 98 h 1004"/>
                  <a:gd name="T4" fmla="*/ 58 w 1092"/>
                  <a:gd name="T5" fmla="*/ 64 h 1004"/>
                  <a:gd name="T6" fmla="*/ 88 w 1092"/>
                  <a:gd name="T7" fmla="*/ 32 h 1004"/>
                  <a:gd name="T8" fmla="*/ 120 w 1092"/>
                  <a:gd name="T9" fmla="*/ 0 h 1004"/>
                  <a:gd name="T10" fmla="*/ 1092 w 1092"/>
                  <a:gd name="T11" fmla="*/ 1004 h 1004"/>
                  <a:gd name="T12" fmla="*/ 0 w 1092"/>
                  <a:gd name="T13" fmla="*/ 133 h 1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92" h="1004">
                    <a:moveTo>
                      <a:pt x="0" y="133"/>
                    </a:moveTo>
                    <a:lnTo>
                      <a:pt x="29" y="98"/>
                    </a:lnTo>
                    <a:lnTo>
                      <a:pt x="58" y="64"/>
                    </a:lnTo>
                    <a:lnTo>
                      <a:pt x="88" y="32"/>
                    </a:lnTo>
                    <a:lnTo>
                      <a:pt x="120" y="0"/>
                    </a:lnTo>
                    <a:lnTo>
                      <a:pt x="1092" y="1004"/>
                    </a:lnTo>
                    <a:lnTo>
                      <a:pt x="0" y="133"/>
                    </a:lnTo>
                  </a:path>
                </a:pathLst>
              </a:custGeom>
              <a:solidFill>
                <a:srgbClr val="C00000"/>
              </a:solidFill>
              <a:ln w="20638">
                <a:solidFill>
                  <a:srgbClr val="455560">
                    <a:lumMod val="1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endParaRPr>
              </a:p>
            </p:txBody>
          </p:sp>
          <p:sp>
            <p:nvSpPr>
              <p:cNvPr id="85" name="Freeform 101">
                <a:extLst>
                  <a:ext uri="{FF2B5EF4-FFF2-40B4-BE49-F238E27FC236}">
                    <a16:creationId xmlns:a16="http://schemas.microsoft.com/office/drawing/2014/main" id="{AC2F92CB-D51C-4CF8-9610-2ECE0C4E93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81769" y="3519072"/>
                <a:ext cx="1101762" cy="1268728"/>
              </a:xfrm>
              <a:custGeom>
                <a:avLst/>
                <a:gdLst>
                  <a:gd name="T0" fmla="*/ 0 w 972"/>
                  <a:gd name="T1" fmla="*/ 115 h 1119"/>
                  <a:gd name="T2" fmla="*/ 32 w 972"/>
                  <a:gd name="T3" fmla="*/ 85 h 1119"/>
                  <a:gd name="T4" fmla="*/ 66 w 972"/>
                  <a:gd name="T5" fmla="*/ 56 h 1119"/>
                  <a:gd name="T6" fmla="*/ 101 w 972"/>
                  <a:gd name="T7" fmla="*/ 27 h 1119"/>
                  <a:gd name="T8" fmla="*/ 136 w 972"/>
                  <a:gd name="T9" fmla="*/ 0 h 1119"/>
                  <a:gd name="T10" fmla="*/ 972 w 972"/>
                  <a:gd name="T11" fmla="*/ 1119 h 1119"/>
                  <a:gd name="T12" fmla="*/ 0 w 972"/>
                  <a:gd name="T13" fmla="*/ 115 h 1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2" h="1119">
                    <a:moveTo>
                      <a:pt x="0" y="115"/>
                    </a:moveTo>
                    <a:lnTo>
                      <a:pt x="32" y="85"/>
                    </a:lnTo>
                    <a:lnTo>
                      <a:pt x="66" y="56"/>
                    </a:lnTo>
                    <a:lnTo>
                      <a:pt x="101" y="27"/>
                    </a:lnTo>
                    <a:lnTo>
                      <a:pt x="136" y="0"/>
                    </a:lnTo>
                    <a:lnTo>
                      <a:pt x="972" y="1119"/>
                    </a:lnTo>
                    <a:lnTo>
                      <a:pt x="0" y="115"/>
                    </a:lnTo>
                  </a:path>
                </a:pathLst>
              </a:custGeom>
              <a:solidFill>
                <a:srgbClr val="4DA1BB">
                  <a:lumMod val="40000"/>
                  <a:lumOff val="60000"/>
                </a:srgbClr>
              </a:solidFill>
              <a:ln w="20638">
                <a:solidFill>
                  <a:srgbClr val="455560">
                    <a:lumMod val="1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endParaRPr>
              </a:p>
            </p:txBody>
          </p:sp>
          <p:sp>
            <p:nvSpPr>
              <p:cNvPr id="86" name="Freeform 103">
                <a:extLst>
                  <a:ext uri="{FF2B5EF4-FFF2-40B4-BE49-F238E27FC236}">
                    <a16:creationId xmlns:a16="http://schemas.microsoft.com/office/drawing/2014/main" id="{31C6405D-EBA7-489D-AADE-66D932F133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35761" y="3407919"/>
                <a:ext cx="949357" cy="1379881"/>
              </a:xfrm>
              <a:custGeom>
                <a:avLst/>
                <a:gdLst>
                  <a:gd name="T0" fmla="*/ 0 w 836"/>
                  <a:gd name="T1" fmla="*/ 97 h 1216"/>
                  <a:gd name="T2" fmla="*/ 37 w 836"/>
                  <a:gd name="T3" fmla="*/ 70 h 1216"/>
                  <a:gd name="T4" fmla="*/ 74 w 836"/>
                  <a:gd name="T5" fmla="*/ 46 h 1216"/>
                  <a:gd name="T6" fmla="*/ 112 w 836"/>
                  <a:gd name="T7" fmla="*/ 22 h 1216"/>
                  <a:gd name="T8" fmla="*/ 151 w 836"/>
                  <a:gd name="T9" fmla="*/ 0 h 1216"/>
                  <a:gd name="T10" fmla="*/ 836 w 836"/>
                  <a:gd name="T11" fmla="*/ 1216 h 1216"/>
                  <a:gd name="T12" fmla="*/ 0 w 836"/>
                  <a:gd name="T13" fmla="*/ 97 h 1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6" h="1216">
                    <a:moveTo>
                      <a:pt x="0" y="97"/>
                    </a:moveTo>
                    <a:lnTo>
                      <a:pt x="37" y="70"/>
                    </a:lnTo>
                    <a:lnTo>
                      <a:pt x="74" y="46"/>
                    </a:lnTo>
                    <a:lnTo>
                      <a:pt x="112" y="22"/>
                    </a:lnTo>
                    <a:lnTo>
                      <a:pt x="151" y="0"/>
                    </a:lnTo>
                    <a:lnTo>
                      <a:pt x="836" y="1216"/>
                    </a:lnTo>
                    <a:lnTo>
                      <a:pt x="0" y="97"/>
                    </a:lnTo>
                  </a:path>
                </a:pathLst>
              </a:custGeom>
              <a:solidFill>
                <a:srgbClr val="E1471D">
                  <a:lumMod val="40000"/>
                  <a:lumOff val="60000"/>
                </a:srgbClr>
              </a:solidFill>
              <a:ln w="20638">
                <a:solidFill>
                  <a:srgbClr val="455560">
                    <a:lumMod val="1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endParaRPr>
              </a:p>
            </p:txBody>
          </p:sp>
          <p:sp>
            <p:nvSpPr>
              <p:cNvPr id="87" name="Freeform 105">
                <a:extLst>
                  <a:ext uri="{FF2B5EF4-FFF2-40B4-BE49-F238E27FC236}">
                    <a16:creationId xmlns:a16="http://schemas.microsoft.com/office/drawing/2014/main" id="{9A88AA0D-BEC1-4C37-9FA5-14C8A06BFB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07217" y="3318997"/>
                <a:ext cx="777901" cy="1468803"/>
              </a:xfrm>
              <a:custGeom>
                <a:avLst/>
                <a:gdLst>
                  <a:gd name="T0" fmla="*/ 0 w 685"/>
                  <a:gd name="T1" fmla="*/ 79 h 1295"/>
                  <a:gd name="T2" fmla="*/ 38 w 685"/>
                  <a:gd name="T3" fmla="*/ 56 h 1295"/>
                  <a:gd name="T4" fmla="*/ 78 w 685"/>
                  <a:gd name="T5" fmla="*/ 37 h 1295"/>
                  <a:gd name="T6" fmla="*/ 120 w 685"/>
                  <a:gd name="T7" fmla="*/ 18 h 1295"/>
                  <a:gd name="T8" fmla="*/ 161 w 685"/>
                  <a:gd name="T9" fmla="*/ 0 h 1295"/>
                  <a:gd name="T10" fmla="*/ 685 w 685"/>
                  <a:gd name="T11" fmla="*/ 1295 h 1295"/>
                  <a:gd name="T12" fmla="*/ 0 w 685"/>
                  <a:gd name="T13" fmla="*/ 79 h 1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5" h="1295">
                    <a:moveTo>
                      <a:pt x="0" y="79"/>
                    </a:moveTo>
                    <a:lnTo>
                      <a:pt x="38" y="56"/>
                    </a:lnTo>
                    <a:lnTo>
                      <a:pt x="78" y="37"/>
                    </a:lnTo>
                    <a:lnTo>
                      <a:pt x="120" y="18"/>
                    </a:lnTo>
                    <a:lnTo>
                      <a:pt x="161" y="0"/>
                    </a:lnTo>
                    <a:lnTo>
                      <a:pt x="685" y="129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015873">
                  <a:lumMod val="40000"/>
                  <a:lumOff val="60000"/>
                </a:srgbClr>
              </a:solidFill>
              <a:ln w="20638">
                <a:solidFill>
                  <a:srgbClr val="455560">
                    <a:lumMod val="1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endParaRPr>
              </a:p>
            </p:txBody>
          </p:sp>
          <p:sp>
            <p:nvSpPr>
              <p:cNvPr id="88" name="Freeform 107">
                <a:extLst>
                  <a:ext uri="{FF2B5EF4-FFF2-40B4-BE49-F238E27FC236}">
                    <a16:creationId xmlns:a16="http://schemas.microsoft.com/office/drawing/2014/main" id="{51DEE56D-3546-409C-B263-F051A4586C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89786" y="3284063"/>
                <a:ext cx="593745" cy="1503737"/>
              </a:xfrm>
              <a:custGeom>
                <a:avLst/>
                <a:gdLst>
                  <a:gd name="T0" fmla="*/ 0 w 524"/>
                  <a:gd name="T1" fmla="*/ 30 h 1325"/>
                  <a:gd name="T2" fmla="*/ 42 w 524"/>
                  <a:gd name="T3" fmla="*/ 14 h 1325"/>
                  <a:gd name="T4" fmla="*/ 84 w 524"/>
                  <a:gd name="T5" fmla="*/ 0 h 1325"/>
                  <a:gd name="T6" fmla="*/ 524 w 524"/>
                  <a:gd name="T7" fmla="*/ 1325 h 1325"/>
                  <a:gd name="T8" fmla="*/ 0 w 524"/>
                  <a:gd name="T9" fmla="*/ 30 h 1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4" h="1325">
                    <a:moveTo>
                      <a:pt x="0" y="30"/>
                    </a:moveTo>
                    <a:lnTo>
                      <a:pt x="42" y="14"/>
                    </a:lnTo>
                    <a:lnTo>
                      <a:pt x="84" y="0"/>
                    </a:lnTo>
                    <a:lnTo>
                      <a:pt x="524" y="1325"/>
                    </a:lnTo>
                    <a:lnTo>
                      <a:pt x="0" y="30"/>
                    </a:lnTo>
                  </a:path>
                </a:pathLst>
              </a:custGeom>
              <a:solidFill>
                <a:srgbClr val="CDCDCF">
                  <a:lumMod val="20000"/>
                  <a:lumOff val="80000"/>
                </a:srgbClr>
              </a:solidFill>
              <a:ln w="20638">
                <a:solidFill>
                  <a:srgbClr val="455560">
                    <a:lumMod val="1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endParaRPr>
              </a:p>
            </p:txBody>
          </p:sp>
          <p:sp>
            <p:nvSpPr>
              <p:cNvPr id="89" name="Freeform 109">
                <a:extLst>
                  <a:ext uri="{FF2B5EF4-FFF2-40B4-BE49-F238E27FC236}">
                    <a16:creationId xmlns:a16="http://schemas.microsoft.com/office/drawing/2014/main" id="{103C6FAC-8DB7-4360-AD62-E420122C04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85040" y="3255481"/>
                <a:ext cx="498492" cy="1532319"/>
              </a:xfrm>
              <a:custGeom>
                <a:avLst/>
                <a:gdLst>
                  <a:gd name="T0" fmla="*/ 0 w 440"/>
                  <a:gd name="T1" fmla="*/ 26 h 1351"/>
                  <a:gd name="T2" fmla="*/ 43 w 440"/>
                  <a:gd name="T3" fmla="*/ 13 h 1351"/>
                  <a:gd name="T4" fmla="*/ 86 w 440"/>
                  <a:gd name="T5" fmla="*/ 0 h 1351"/>
                  <a:gd name="T6" fmla="*/ 440 w 440"/>
                  <a:gd name="T7" fmla="*/ 1351 h 1351"/>
                  <a:gd name="T8" fmla="*/ 0 w 440"/>
                  <a:gd name="T9" fmla="*/ 26 h 1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0" h="1351">
                    <a:moveTo>
                      <a:pt x="0" y="26"/>
                    </a:moveTo>
                    <a:lnTo>
                      <a:pt x="43" y="13"/>
                    </a:lnTo>
                    <a:lnTo>
                      <a:pt x="86" y="0"/>
                    </a:lnTo>
                    <a:lnTo>
                      <a:pt x="440" y="1351"/>
                    </a:lnTo>
                    <a:lnTo>
                      <a:pt x="0" y="26"/>
                    </a:lnTo>
                  </a:path>
                </a:pathLst>
              </a:custGeom>
              <a:solidFill>
                <a:srgbClr val="FFFFFF">
                  <a:lumMod val="95000"/>
                </a:srgbClr>
              </a:solidFill>
              <a:ln w="20638">
                <a:solidFill>
                  <a:srgbClr val="455560">
                    <a:lumMod val="1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endParaRPr>
              </a:p>
            </p:txBody>
          </p:sp>
          <p:sp>
            <p:nvSpPr>
              <p:cNvPr id="90" name="Freeform 111">
                <a:extLst>
                  <a:ext uri="{FF2B5EF4-FFF2-40B4-BE49-F238E27FC236}">
                    <a16:creationId xmlns:a16="http://schemas.microsoft.com/office/drawing/2014/main" id="{FEFC935A-136D-49CF-BDFC-D091983B72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83468" y="3233251"/>
                <a:ext cx="401651" cy="1554549"/>
              </a:xfrm>
              <a:custGeom>
                <a:avLst/>
                <a:gdLst>
                  <a:gd name="T0" fmla="*/ 0 w 354"/>
                  <a:gd name="T1" fmla="*/ 19 h 1370"/>
                  <a:gd name="T2" fmla="*/ 43 w 354"/>
                  <a:gd name="T3" fmla="*/ 8 h 1370"/>
                  <a:gd name="T4" fmla="*/ 86 w 354"/>
                  <a:gd name="T5" fmla="*/ 0 h 1370"/>
                  <a:gd name="T6" fmla="*/ 354 w 354"/>
                  <a:gd name="T7" fmla="*/ 1370 h 1370"/>
                  <a:gd name="T8" fmla="*/ 0 w 354"/>
                  <a:gd name="T9" fmla="*/ 19 h 1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1370">
                    <a:moveTo>
                      <a:pt x="0" y="19"/>
                    </a:moveTo>
                    <a:lnTo>
                      <a:pt x="43" y="8"/>
                    </a:lnTo>
                    <a:lnTo>
                      <a:pt x="86" y="0"/>
                    </a:lnTo>
                    <a:lnTo>
                      <a:pt x="354" y="137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682E74">
                  <a:lumMod val="40000"/>
                  <a:lumOff val="60000"/>
                </a:srgbClr>
              </a:solidFill>
              <a:ln w="20638">
                <a:solidFill>
                  <a:srgbClr val="455560">
                    <a:lumMod val="1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endParaRPr>
              </a:p>
            </p:txBody>
          </p:sp>
          <p:sp>
            <p:nvSpPr>
              <p:cNvPr id="91" name="Freeform 113">
                <a:extLst>
                  <a:ext uri="{FF2B5EF4-FFF2-40B4-BE49-F238E27FC236}">
                    <a16:creationId xmlns:a16="http://schemas.microsoft.com/office/drawing/2014/main" id="{20D762E6-20E8-4A06-92C9-E9604B825E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80308" y="3217372"/>
                <a:ext cx="304810" cy="1570428"/>
              </a:xfrm>
              <a:custGeom>
                <a:avLst/>
                <a:gdLst>
                  <a:gd name="T0" fmla="*/ 0 w 268"/>
                  <a:gd name="T1" fmla="*/ 14 h 1384"/>
                  <a:gd name="T2" fmla="*/ 45 w 268"/>
                  <a:gd name="T3" fmla="*/ 6 h 1384"/>
                  <a:gd name="T4" fmla="*/ 88 w 268"/>
                  <a:gd name="T5" fmla="*/ 0 h 1384"/>
                  <a:gd name="T6" fmla="*/ 268 w 268"/>
                  <a:gd name="T7" fmla="*/ 1384 h 1384"/>
                  <a:gd name="T8" fmla="*/ 0 w 268"/>
                  <a:gd name="T9" fmla="*/ 14 h 1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8" h="1384">
                    <a:moveTo>
                      <a:pt x="0" y="14"/>
                    </a:moveTo>
                    <a:lnTo>
                      <a:pt x="45" y="6"/>
                    </a:lnTo>
                    <a:lnTo>
                      <a:pt x="88" y="0"/>
                    </a:lnTo>
                    <a:lnTo>
                      <a:pt x="268" y="1384"/>
                    </a:lnTo>
                    <a:lnTo>
                      <a:pt x="0" y="14"/>
                    </a:lnTo>
                  </a:path>
                </a:pathLst>
              </a:custGeom>
              <a:solidFill>
                <a:srgbClr val="FF99CC"/>
              </a:solidFill>
              <a:ln w="20638">
                <a:solidFill>
                  <a:srgbClr val="455560">
                    <a:lumMod val="1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endParaRPr>
              </a:p>
            </p:txBody>
          </p:sp>
          <p:sp>
            <p:nvSpPr>
              <p:cNvPr id="92" name="Freeform 115">
                <a:extLst>
                  <a:ext uri="{FF2B5EF4-FFF2-40B4-BE49-F238E27FC236}">
                    <a16:creationId xmlns:a16="http://schemas.microsoft.com/office/drawing/2014/main" id="{C15199B2-272D-4293-9D17-3321286947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80325" y="3206257"/>
                <a:ext cx="203207" cy="1581543"/>
              </a:xfrm>
              <a:custGeom>
                <a:avLst/>
                <a:gdLst>
                  <a:gd name="T0" fmla="*/ 0 w 180"/>
                  <a:gd name="T1" fmla="*/ 10 h 1394"/>
                  <a:gd name="T2" fmla="*/ 45 w 180"/>
                  <a:gd name="T3" fmla="*/ 3 h 1394"/>
                  <a:gd name="T4" fmla="*/ 90 w 180"/>
                  <a:gd name="T5" fmla="*/ 0 h 1394"/>
                  <a:gd name="T6" fmla="*/ 180 w 180"/>
                  <a:gd name="T7" fmla="*/ 1394 h 1394"/>
                  <a:gd name="T8" fmla="*/ 0 w 180"/>
                  <a:gd name="T9" fmla="*/ 10 h 1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1394">
                    <a:moveTo>
                      <a:pt x="0" y="10"/>
                    </a:moveTo>
                    <a:lnTo>
                      <a:pt x="45" y="3"/>
                    </a:lnTo>
                    <a:lnTo>
                      <a:pt x="90" y="0"/>
                    </a:lnTo>
                    <a:lnTo>
                      <a:pt x="180" y="1394"/>
                    </a:lnTo>
                    <a:lnTo>
                      <a:pt x="0" y="10"/>
                    </a:lnTo>
                  </a:path>
                </a:pathLst>
              </a:custGeom>
              <a:solidFill>
                <a:srgbClr val="000000">
                  <a:lumMod val="25000"/>
                  <a:lumOff val="75000"/>
                </a:srgbClr>
              </a:solidFill>
              <a:ln w="20638">
                <a:solidFill>
                  <a:srgbClr val="455560">
                    <a:lumMod val="1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endParaRPr>
              </a:p>
            </p:txBody>
          </p:sp>
          <p:sp>
            <p:nvSpPr>
              <p:cNvPr id="93" name="Freeform 117">
                <a:extLst>
                  <a:ext uri="{FF2B5EF4-FFF2-40B4-BE49-F238E27FC236}">
                    <a16:creationId xmlns:a16="http://schemas.microsoft.com/office/drawing/2014/main" id="{708CF797-9120-45FE-995A-D92C0A58A9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81928" y="3203081"/>
                <a:ext cx="103190" cy="1584719"/>
              </a:xfrm>
              <a:custGeom>
                <a:avLst/>
                <a:gdLst>
                  <a:gd name="T0" fmla="*/ 0 w 90"/>
                  <a:gd name="T1" fmla="*/ 3 h 1397"/>
                  <a:gd name="T2" fmla="*/ 45 w 90"/>
                  <a:gd name="T3" fmla="*/ 1 h 1397"/>
                  <a:gd name="T4" fmla="*/ 90 w 90"/>
                  <a:gd name="T5" fmla="*/ 0 h 1397"/>
                  <a:gd name="T6" fmla="*/ 90 w 90"/>
                  <a:gd name="T7" fmla="*/ 1397 h 1397"/>
                  <a:gd name="T8" fmla="*/ 0 w 90"/>
                  <a:gd name="T9" fmla="*/ 3 h 1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" h="1397">
                    <a:moveTo>
                      <a:pt x="0" y="3"/>
                    </a:moveTo>
                    <a:lnTo>
                      <a:pt x="45" y="1"/>
                    </a:lnTo>
                    <a:lnTo>
                      <a:pt x="90" y="0"/>
                    </a:lnTo>
                    <a:lnTo>
                      <a:pt x="90" y="1397"/>
                    </a:lnTo>
                    <a:lnTo>
                      <a:pt x="0" y="3"/>
                    </a:lnTo>
                  </a:path>
                </a:pathLst>
              </a:custGeom>
              <a:solidFill>
                <a:srgbClr val="00CC99"/>
              </a:solidFill>
              <a:ln w="20638">
                <a:solidFill>
                  <a:srgbClr val="455560">
                    <a:lumMod val="10000"/>
                  </a:srgb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endParaRPr>
              </a:p>
            </p:txBody>
          </p:sp>
        </p:grpSp>
        <p:sp>
          <p:nvSpPr>
            <p:cNvPr id="61" name="TextBox 4">
              <a:extLst>
                <a:ext uri="{FF2B5EF4-FFF2-40B4-BE49-F238E27FC236}">
                  <a16:creationId xmlns:a16="http://schemas.microsoft.com/office/drawing/2014/main" id="{650C26B2-B326-47DB-8BDC-B42DFAB8F7F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98279" y="1623070"/>
              <a:ext cx="4389398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marR="0" lvl="0" indent="0" algn="ctr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1" i="0" u="none" strike="noStrike" cap="none" spc="0" normalizeH="0" baseline="0">
                  <a:ln>
                    <a:noFill/>
                  </a:ln>
                  <a:solidFill>
                    <a:schemeClr val="bg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Distribution of Presumed Pathogenic Germline Mutations</a:t>
              </a:r>
              <a:r>
                <a:rPr kumimoji="0" lang="en-US" altLang="en-US" sz="1800" b="1" i="0" u="none" strike="noStrike" kern="0" cap="none" spc="0" normalizeH="0" baseline="30000" noProof="0" dirty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[2]</a:t>
              </a:r>
              <a:endParaRPr kumimoji="0" lang="en-US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E98053D4-053E-4833-9B2A-D93A3A8859B2}"/>
                </a:ext>
              </a:extLst>
            </p:cNvPr>
            <p:cNvSpPr txBox="1"/>
            <p:nvPr/>
          </p:nvSpPr>
          <p:spPr>
            <a:xfrm>
              <a:off x="6889306" y="3578037"/>
              <a:ext cx="1084659" cy="22979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PALB2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, 4%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361FE27B-759F-482B-8BE6-252DBA537312}"/>
                </a:ext>
              </a:extLst>
            </p:cNvPr>
            <p:cNvSpPr txBox="1"/>
            <p:nvPr/>
          </p:nvSpPr>
          <p:spPr>
            <a:xfrm>
              <a:off x="6836921" y="3341103"/>
              <a:ext cx="117276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RAD51D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, 4%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99B4E15D-BF37-4836-9569-E77C4F4A5421}"/>
                </a:ext>
              </a:extLst>
            </p:cNvPr>
            <p:cNvSpPr txBox="1"/>
            <p:nvPr/>
          </p:nvSpPr>
          <p:spPr>
            <a:xfrm>
              <a:off x="7011940" y="3152985"/>
              <a:ext cx="1085850" cy="23098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ATR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, 2%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566EDB8A-03A5-4C3D-9B08-71F0A82DD78A}"/>
                </a:ext>
              </a:extLst>
            </p:cNvPr>
            <p:cNvSpPr txBox="1"/>
            <p:nvPr/>
          </p:nvSpPr>
          <p:spPr>
            <a:xfrm>
              <a:off x="7042896" y="3002966"/>
              <a:ext cx="1085850" cy="22979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NBN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, 2%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38AB22BB-ED1F-4659-98A2-B9586B49AB31}"/>
                </a:ext>
              </a:extLst>
            </p:cNvPr>
            <p:cNvSpPr txBox="1"/>
            <p:nvPr/>
          </p:nvSpPr>
          <p:spPr>
            <a:xfrm>
              <a:off x="7376271" y="2837469"/>
              <a:ext cx="1084660" cy="230981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PMS2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, 2%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3113857F-B2BA-41D0-8592-61C4A01D5B94}"/>
                </a:ext>
              </a:extLst>
            </p:cNvPr>
            <p:cNvSpPr txBox="1"/>
            <p:nvPr/>
          </p:nvSpPr>
          <p:spPr>
            <a:xfrm>
              <a:off x="7510812" y="2682687"/>
              <a:ext cx="1085850" cy="230981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GEN1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, 2%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B9EE04D-BBB9-4037-B11D-1806CB5D2F16}"/>
                </a:ext>
              </a:extLst>
            </p:cNvPr>
            <p:cNvSpPr txBox="1"/>
            <p:nvPr/>
          </p:nvSpPr>
          <p:spPr>
            <a:xfrm>
              <a:off x="7641781" y="2524335"/>
              <a:ext cx="1084659" cy="230981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MSH2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, 1%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8250E2C3-345D-45B0-A60B-D0141F51A19F}"/>
                </a:ext>
              </a:extLst>
            </p:cNvPr>
            <p:cNvSpPr txBox="1"/>
            <p:nvPr/>
          </p:nvSpPr>
          <p:spPr>
            <a:xfrm>
              <a:off x="7651306" y="2362410"/>
              <a:ext cx="1085850" cy="229790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MSH6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, 1%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D34043B-0574-4B98-AB09-63FE14E8F73E}"/>
                </a:ext>
              </a:extLst>
            </p:cNvPr>
            <p:cNvSpPr txBox="1"/>
            <p:nvPr/>
          </p:nvSpPr>
          <p:spPr>
            <a:xfrm>
              <a:off x="8316865" y="2204056"/>
              <a:ext cx="1084660" cy="23098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RAD51C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, 1%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7A4A678A-266A-4CC9-A598-0921504FC0D5}"/>
                </a:ext>
              </a:extLst>
            </p:cNvPr>
            <p:cNvSpPr txBox="1"/>
            <p:nvPr/>
          </p:nvSpPr>
          <p:spPr>
            <a:xfrm>
              <a:off x="9403906" y="2395747"/>
              <a:ext cx="1170380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MRE11A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, 1%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E0ABB231-36B3-4620-B23C-8D4367A52661}"/>
                </a:ext>
              </a:extLst>
            </p:cNvPr>
            <p:cNvSpPr txBox="1"/>
            <p:nvPr/>
          </p:nvSpPr>
          <p:spPr>
            <a:xfrm>
              <a:off x="9478915" y="2573150"/>
              <a:ext cx="1085850" cy="230981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BRIP1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, 1%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41DE5124-4967-4E4D-9C79-F2780EAB6AE5}"/>
                </a:ext>
              </a:extLst>
            </p:cNvPr>
            <p:cNvSpPr txBox="1"/>
            <p:nvPr/>
          </p:nvSpPr>
          <p:spPr>
            <a:xfrm>
              <a:off x="9489631" y="2708882"/>
              <a:ext cx="1220501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FAM175A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, 1%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B974997E-C23E-4B5C-B3F9-7F9C277F1376}"/>
                </a:ext>
              </a:extLst>
            </p:cNvPr>
            <p:cNvSpPr txBox="1"/>
            <p:nvPr/>
          </p:nvSpPr>
          <p:spPr>
            <a:xfrm>
              <a:off x="9277700" y="3855453"/>
              <a:ext cx="1084659" cy="23098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BRCA2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, 44%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E5BAAD55-FFB5-4536-9F15-36EAEAF80077}"/>
                </a:ext>
              </a:extLst>
            </p:cNvPr>
            <p:cNvSpPr txBox="1"/>
            <p:nvPr/>
          </p:nvSpPr>
          <p:spPr>
            <a:xfrm>
              <a:off x="8738346" y="4881772"/>
              <a:ext cx="1085850" cy="23098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ATM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, 13%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85852235-37F8-4E09-A979-843A25D18C64}"/>
                </a:ext>
              </a:extLst>
            </p:cNvPr>
            <p:cNvSpPr txBox="1"/>
            <p:nvPr/>
          </p:nvSpPr>
          <p:spPr>
            <a:xfrm>
              <a:off x="7987062" y="4369803"/>
              <a:ext cx="1085850" cy="39290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CHEK2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,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12%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857AA5A-21B4-4EB6-9D75-A7360073C6F7}"/>
                </a:ext>
              </a:extLst>
            </p:cNvPr>
            <p:cNvSpPr txBox="1"/>
            <p:nvPr/>
          </p:nvSpPr>
          <p:spPr>
            <a:xfrm>
              <a:off x="8002540" y="3970944"/>
              <a:ext cx="1084660" cy="23098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BRCA1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ヒラギノ角ゴ Pro W3" charset="-128"/>
                </a:rPr>
                <a:t>, 7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642263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63BB2F-4FE1-4DDD-A6C4-A051FE089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9946" y="5062517"/>
            <a:ext cx="10877529" cy="1690604"/>
          </a:xfrm>
        </p:spPr>
        <p:txBody>
          <a:bodyPr/>
          <a:lstStyle/>
          <a:p>
            <a:pPr marL="0" marR="0" lvl="0" indent="0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100" dirty="0"/>
              <a:t>*Enzalutamide 160 mg QD or abiraterone acetate 1000 mg QD plus prednisone 5 mg BID.</a:t>
            </a:r>
            <a:br>
              <a:rPr lang="en-US" sz="1100" dirty="0"/>
            </a:br>
            <a:r>
              <a:rPr kumimoji="0" lang="en-US" altLang="en-US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†</a:t>
            </a:r>
            <a:r>
              <a:rPr kumimoji="0" lang="en-US" altLang="en-US" sz="1200" b="1" i="1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BRCA1/2, ATM</a:t>
            </a:r>
            <a:r>
              <a:rPr kumimoji="0" lang="en-US" altLang="en-US" sz="12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, </a:t>
            </a: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</a:rPr>
              <a:t>BRIP1, BARD1, CDK12, CHEK1, CHEK2, FANCL, PALB2, PPP2R2A, RAD51B, RAD51C, RA51D, or RAD54L</a:t>
            </a:r>
            <a:r>
              <a:rPr kumimoji="0" lang="en-US" sz="120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</a:rPr>
              <a:t>.</a:t>
            </a:r>
            <a:endParaRPr kumimoji="0" lang="en-US" sz="110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>
              <a:spcBef>
                <a:spcPts val="400"/>
              </a:spcBef>
            </a:pPr>
            <a:r>
              <a:rPr lang="en-US" sz="1600" dirty="0"/>
              <a:t>Primary endpoint: radiographic PFS in cohort A by BICR using RECIST 1.1 and PCWG3</a:t>
            </a:r>
          </a:p>
          <a:p>
            <a:pPr>
              <a:spcBef>
                <a:spcPts val="400"/>
              </a:spcBef>
            </a:pPr>
            <a:r>
              <a:rPr lang="en-US" sz="1600" dirty="0"/>
              <a:t>Secondary endpoints: radiographic PFS in both cohorts, confirmed radiographic ORR in cohort A, time to pain progression in cohort A, OS in cohort A</a:t>
            </a:r>
          </a:p>
          <a:p>
            <a:endParaRPr lang="en-US" sz="2000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3F0B2E-DD75-4591-903B-606B6EBE42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3F0B2E-DD75-4591-903B-606B6EBE42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3C4623D-A1F0-405F-B135-B695DACD1E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Box 15">
            <a:extLst>
              <a:ext uri="{FF2B5EF4-FFF2-40B4-BE49-F238E27FC236}">
                <a16:creationId xmlns:a16="http://schemas.microsoft.com/office/drawing/2014/main" id="{B3B30DB6-5382-4F59-8E9A-B828C6172B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51" y="6388915"/>
            <a:ext cx="7853362" cy="276999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 Bono. NEJM. 2020;382:2091.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Text Box 45">
            <a:extLst>
              <a:ext uri="{FF2B5EF4-FFF2-40B4-BE49-F238E27FC236}">
                <a16:creationId xmlns:a16="http://schemas.microsoft.com/office/drawing/2014/main" id="{78592823-3D35-40D1-9DA5-B16D41BEBE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7562" y="2591222"/>
            <a:ext cx="1979218" cy="1569660"/>
          </a:xfrm>
          <a:prstGeom prst="rect">
            <a:avLst/>
          </a:prstGeom>
          <a:solidFill>
            <a:srgbClr val="FFFF00"/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6094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Patients with mCRPC and progression on prior NHA; </a:t>
            </a: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harboring</a:t>
            </a: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gene alterations with a role in HRR</a:t>
            </a:r>
            <a:r>
              <a:rPr kumimoji="0" lang="en-GB" alt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†</a:t>
            </a:r>
          </a:p>
          <a:p>
            <a:pPr marL="0" marR="0" lvl="0" indent="0" algn="ctr" defTabSz="6094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(N = 387)</a:t>
            </a:r>
          </a:p>
        </p:txBody>
      </p:sp>
      <p:sp>
        <p:nvSpPr>
          <p:cNvPr id="15" name="Rectangle 49">
            <a:extLst>
              <a:ext uri="{FF2B5EF4-FFF2-40B4-BE49-F238E27FC236}">
                <a16:creationId xmlns:a16="http://schemas.microsoft.com/office/drawing/2014/main" id="{5258998B-4349-40FB-A29E-F7FCEB883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68407" y="1961826"/>
            <a:ext cx="2667728" cy="6167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Olaparib</a:t>
            </a: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300 mg BID</a:t>
            </a:r>
            <a:endParaRPr kumimoji="0" lang="en-US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</a:endParaRPr>
          </a:p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(n = 162</a:t>
            </a: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16" name="Rectangle 50">
            <a:extLst>
              <a:ext uri="{FF2B5EF4-FFF2-40B4-BE49-F238E27FC236}">
                <a16:creationId xmlns:a16="http://schemas.microsoft.com/office/drawing/2014/main" id="{9F7A3E42-59DA-4078-BC3B-175CEE0436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9173" y="2675018"/>
            <a:ext cx="2646962" cy="567905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Physician’s Choice*</a:t>
            </a:r>
          </a:p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(n = 83)</a:t>
            </a:r>
          </a:p>
        </p:txBody>
      </p:sp>
      <p:sp>
        <p:nvSpPr>
          <p:cNvPr id="17" name="Line 53">
            <a:extLst>
              <a:ext uri="{FF2B5EF4-FFF2-40B4-BE49-F238E27FC236}">
                <a16:creationId xmlns:a16="http://schemas.microsoft.com/office/drawing/2014/main" id="{4AAF39E8-D461-48EB-99FD-B48D22942E53}"/>
              </a:ext>
            </a:extLst>
          </p:cNvPr>
          <p:cNvSpPr>
            <a:spLocks noChangeShapeType="1"/>
          </p:cNvSpPr>
          <p:nvPr/>
        </p:nvSpPr>
        <p:spPr bwMode="auto">
          <a:xfrm>
            <a:off x="4877636" y="2825960"/>
            <a:ext cx="466725" cy="350837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18" name="Line 54">
            <a:extLst>
              <a:ext uri="{FF2B5EF4-FFF2-40B4-BE49-F238E27FC236}">
                <a16:creationId xmlns:a16="http://schemas.microsoft.com/office/drawing/2014/main" id="{C85AB391-8C17-4090-9AC6-A7C68CEFD1C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97543" y="2347744"/>
            <a:ext cx="466725" cy="347662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19" name="TextBox 2">
            <a:extLst>
              <a:ext uri="{FF2B5EF4-FFF2-40B4-BE49-F238E27FC236}">
                <a16:creationId xmlns:a16="http://schemas.microsoft.com/office/drawing/2014/main" id="{9E52ACD9-3D21-479D-9FB4-BB09B4CDE1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96899" y="2578583"/>
            <a:ext cx="70008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rgbClr val="8B3D9A"/>
              </a:buClr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2:1</a:t>
            </a:r>
          </a:p>
        </p:txBody>
      </p:sp>
      <p:sp>
        <p:nvSpPr>
          <p:cNvPr id="23" name="Rectangle 49">
            <a:extLst>
              <a:ext uri="{FF2B5EF4-FFF2-40B4-BE49-F238E27FC236}">
                <a16:creationId xmlns:a16="http://schemas.microsoft.com/office/drawing/2014/main" id="{84474A1B-F31E-40F2-AA23-9E25A6BD39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6986" y="3339358"/>
            <a:ext cx="2629769" cy="56790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Olaparib</a:t>
            </a: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300 mg BID</a:t>
            </a:r>
            <a:endParaRPr kumimoji="0" lang="en-US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</a:endParaRPr>
          </a:p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(n = 94</a:t>
            </a: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24" name="Rectangle 50">
            <a:extLst>
              <a:ext uri="{FF2B5EF4-FFF2-40B4-BE49-F238E27FC236}">
                <a16:creationId xmlns:a16="http://schemas.microsoft.com/office/drawing/2014/main" id="{F8EEB34D-FEE3-465A-830E-54561B6A1E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6366" y="4003697"/>
            <a:ext cx="2629768" cy="56790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Physician’s Choice*</a:t>
            </a:r>
          </a:p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(n = 48)</a:t>
            </a:r>
          </a:p>
        </p:txBody>
      </p:sp>
      <p:sp>
        <p:nvSpPr>
          <p:cNvPr id="26" name="Rectangle 49">
            <a:extLst>
              <a:ext uri="{FF2B5EF4-FFF2-40B4-BE49-F238E27FC236}">
                <a16:creationId xmlns:a16="http://schemas.microsoft.com/office/drawing/2014/main" id="{A10AA556-EF00-498C-A3DD-582126124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7055" y="2300452"/>
            <a:ext cx="1593490" cy="97030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Cohort A: </a:t>
            </a:r>
            <a:r>
              <a:rPr kumimoji="0" lang="en-US" alt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BRCA1, </a:t>
            </a:r>
          </a:p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BRCA2</a:t>
            </a: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, or </a:t>
            </a:r>
            <a:r>
              <a:rPr kumimoji="0" lang="en-US" alt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ATM </a:t>
            </a:r>
            <a:br>
              <a:rPr kumimoji="0" lang="en-US" alt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</a:b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alterations</a:t>
            </a:r>
          </a:p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(n = 245)</a:t>
            </a:r>
          </a:p>
        </p:txBody>
      </p:sp>
      <p:sp>
        <p:nvSpPr>
          <p:cNvPr id="27" name="Rectangle 49">
            <a:extLst>
              <a:ext uri="{FF2B5EF4-FFF2-40B4-BE49-F238E27FC236}">
                <a16:creationId xmlns:a16="http://schemas.microsoft.com/office/drawing/2014/main" id="{8EBB8653-38A0-459C-B10D-817E99A56B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7054" y="3403619"/>
            <a:ext cx="1593490" cy="97030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Cohort B: Other </a:t>
            </a:r>
          </a:p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alterations</a:t>
            </a:r>
            <a:endParaRPr kumimoji="0" lang="en-US" altLang="en-US" sz="16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</a:endParaRPr>
          </a:p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(n = 142)</a:t>
            </a:r>
          </a:p>
        </p:txBody>
      </p:sp>
      <p:sp>
        <p:nvSpPr>
          <p:cNvPr id="28" name="Line 53">
            <a:extLst>
              <a:ext uri="{FF2B5EF4-FFF2-40B4-BE49-F238E27FC236}">
                <a16:creationId xmlns:a16="http://schemas.microsoft.com/office/drawing/2014/main" id="{450CD92A-70EB-43CE-8893-3D0E1F54C274}"/>
              </a:ext>
            </a:extLst>
          </p:cNvPr>
          <p:cNvSpPr>
            <a:spLocks noChangeShapeType="1"/>
          </p:cNvSpPr>
          <p:nvPr/>
        </p:nvSpPr>
        <p:spPr bwMode="auto">
          <a:xfrm>
            <a:off x="4816396" y="4083651"/>
            <a:ext cx="466725" cy="350837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29" name="Line 54">
            <a:extLst>
              <a:ext uri="{FF2B5EF4-FFF2-40B4-BE49-F238E27FC236}">
                <a16:creationId xmlns:a16="http://schemas.microsoft.com/office/drawing/2014/main" id="{4C988600-EF55-4677-B464-F5D20E7CC89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16396" y="3483575"/>
            <a:ext cx="466725" cy="347662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30" name="TextBox 2">
            <a:extLst>
              <a:ext uri="{FF2B5EF4-FFF2-40B4-BE49-F238E27FC236}">
                <a16:creationId xmlns:a16="http://schemas.microsoft.com/office/drawing/2014/main" id="{DADDD383-4EBE-439C-B488-48A171B196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06871" y="3791550"/>
            <a:ext cx="70008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rgbClr val="8B3D9A"/>
              </a:buClr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2:1</a:t>
            </a:r>
          </a:p>
        </p:txBody>
      </p:sp>
      <p:grpSp>
        <p:nvGrpSpPr>
          <p:cNvPr id="24583" name="Group 24582">
            <a:extLst>
              <a:ext uri="{FF2B5EF4-FFF2-40B4-BE49-F238E27FC236}">
                <a16:creationId xmlns:a16="http://schemas.microsoft.com/office/drawing/2014/main" id="{E022A3CE-3660-4525-BC0E-5733D6126F93}"/>
              </a:ext>
            </a:extLst>
          </p:cNvPr>
          <p:cNvGrpSpPr/>
          <p:nvPr/>
        </p:nvGrpSpPr>
        <p:grpSpPr>
          <a:xfrm>
            <a:off x="2736794" y="2715815"/>
            <a:ext cx="310896" cy="1084733"/>
            <a:chOff x="2706624" y="3091909"/>
            <a:chExt cx="310896" cy="1728548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109CF96-E782-4B47-804C-8795A8AAB18F}"/>
                </a:ext>
              </a:extLst>
            </p:cNvPr>
            <p:cNvCxnSpPr/>
            <p:nvPr/>
          </p:nvCxnSpPr>
          <p:spPr bwMode="auto">
            <a:xfrm>
              <a:off x="2726032" y="3098818"/>
              <a:ext cx="0" cy="1721639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577" name="Straight Connector 24576">
              <a:extLst>
                <a:ext uri="{FF2B5EF4-FFF2-40B4-BE49-F238E27FC236}">
                  <a16:creationId xmlns:a16="http://schemas.microsoft.com/office/drawing/2014/main" id="{CA749D7F-68D1-413F-A5D6-4B1141F69FA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706624" y="4813548"/>
              <a:ext cx="310896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579" name="Straight Connector 24578">
              <a:extLst>
                <a:ext uri="{FF2B5EF4-FFF2-40B4-BE49-F238E27FC236}">
                  <a16:creationId xmlns:a16="http://schemas.microsoft.com/office/drawing/2014/main" id="{EB0C13FE-7A2F-4954-A8E5-3A89E01739D2}"/>
                </a:ext>
              </a:extLst>
            </p:cNvPr>
            <p:cNvCxnSpPr/>
            <p:nvPr/>
          </p:nvCxnSpPr>
          <p:spPr bwMode="auto">
            <a:xfrm flipV="1">
              <a:off x="2706624" y="3091909"/>
              <a:ext cx="310896" cy="6909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46CDE14-5A4A-4F9C-BD07-D5273C6CD22A}"/>
              </a:ext>
            </a:extLst>
          </p:cNvPr>
          <p:cNvCxnSpPr/>
          <p:nvPr/>
        </p:nvCxnSpPr>
        <p:spPr bwMode="auto">
          <a:xfrm>
            <a:off x="5130905" y="1826901"/>
            <a:ext cx="0" cy="494955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701AB641-8C87-48C3-AAAE-987D7AC45B23}"/>
              </a:ext>
            </a:extLst>
          </p:cNvPr>
          <p:cNvSpPr txBox="1"/>
          <p:nvPr/>
        </p:nvSpPr>
        <p:spPr bwMode="auto">
          <a:xfrm>
            <a:off x="3440719" y="1430397"/>
            <a:ext cx="361244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ratified by previous taxane (yes vs no) and measurable disease (yes vs no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54C1953-E34A-4888-9F04-DF92ED45B7C1}"/>
              </a:ext>
            </a:extLst>
          </p:cNvPr>
          <p:cNvSpPr txBox="1"/>
          <p:nvPr/>
        </p:nvSpPr>
        <p:spPr bwMode="auto">
          <a:xfrm>
            <a:off x="8400535" y="3767754"/>
            <a:ext cx="978340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D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y BICR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CF1AF1E-79EF-4EE1-820E-EE6C55C88835}"/>
              </a:ext>
            </a:extLst>
          </p:cNvPr>
          <p:cNvCxnSpPr/>
          <p:nvPr/>
        </p:nvCxnSpPr>
        <p:spPr bwMode="auto">
          <a:xfrm>
            <a:off x="8318673" y="4430373"/>
            <a:ext cx="571032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C5516B0E-0512-44E5-9A58-4D632DA801DC}"/>
              </a:ext>
            </a:extLst>
          </p:cNvPr>
          <p:cNvCxnSpPr/>
          <p:nvPr/>
        </p:nvCxnSpPr>
        <p:spPr bwMode="auto">
          <a:xfrm flipV="1">
            <a:off x="8889705" y="4217327"/>
            <a:ext cx="0" cy="213046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981DC12-7922-4DB6-85BC-700521CF00D1}"/>
              </a:ext>
            </a:extLst>
          </p:cNvPr>
          <p:cNvCxnSpPr/>
          <p:nvPr/>
        </p:nvCxnSpPr>
        <p:spPr bwMode="auto">
          <a:xfrm flipV="1">
            <a:off x="8882006" y="3623469"/>
            <a:ext cx="0" cy="213046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9F7D5746-3951-43E3-8A26-98FBEFED953B}"/>
              </a:ext>
            </a:extLst>
          </p:cNvPr>
          <p:cNvCxnSpPr/>
          <p:nvPr/>
        </p:nvCxnSpPr>
        <p:spPr bwMode="auto">
          <a:xfrm flipH="1">
            <a:off x="8318673" y="3623310"/>
            <a:ext cx="571032" cy="0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985C61D6-7EB7-45F4-A069-8C066B5EAAC6}"/>
              </a:ext>
            </a:extLst>
          </p:cNvPr>
          <p:cNvSpPr txBox="1"/>
          <p:nvPr/>
        </p:nvSpPr>
        <p:spPr bwMode="auto">
          <a:xfrm>
            <a:off x="8400535" y="2474111"/>
            <a:ext cx="978340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D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y BICR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A4CD8AFB-064F-4DE7-A19F-3A598AD79F40}"/>
              </a:ext>
            </a:extLst>
          </p:cNvPr>
          <p:cNvCxnSpPr/>
          <p:nvPr/>
        </p:nvCxnSpPr>
        <p:spPr bwMode="auto">
          <a:xfrm>
            <a:off x="8318673" y="3136730"/>
            <a:ext cx="571032" cy="0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77CDA198-BB83-44B2-BE70-E068F8E4DF19}"/>
              </a:ext>
            </a:extLst>
          </p:cNvPr>
          <p:cNvCxnSpPr/>
          <p:nvPr/>
        </p:nvCxnSpPr>
        <p:spPr bwMode="auto">
          <a:xfrm flipV="1">
            <a:off x="8889705" y="2923684"/>
            <a:ext cx="0" cy="213046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72673E0-C472-4A05-AC33-CA134D660E43}"/>
              </a:ext>
            </a:extLst>
          </p:cNvPr>
          <p:cNvCxnSpPr/>
          <p:nvPr/>
        </p:nvCxnSpPr>
        <p:spPr bwMode="auto">
          <a:xfrm flipV="1">
            <a:off x="8882006" y="2329826"/>
            <a:ext cx="0" cy="213046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A29F5A80-E0A7-49F0-9E0D-A2FD231C1547}"/>
              </a:ext>
            </a:extLst>
          </p:cNvPr>
          <p:cNvCxnSpPr/>
          <p:nvPr/>
        </p:nvCxnSpPr>
        <p:spPr bwMode="auto">
          <a:xfrm flipH="1">
            <a:off x="8318673" y="2329667"/>
            <a:ext cx="571032" cy="0"/>
          </a:xfrm>
          <a:prstGeom prst="straightConnector1">
            <a:avLst/>
          </a:prstGeom>
          <a:noFill/>
          <a:ln w="28575" cap="flat" cmpd="sng" algn="ctr">
            <a:solidFill>
              <a:schemeClr val="bg1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991075A7-2981-471B-A6E4-D56CF72BCDAA}"/>
              </a:ext>
            </a:extLst>
          </p:cNvPr>
          <p:cNvSpPr/>
          <p:nvPr/>
        </p:nvSpPr>
        <p:spPr>
          <a:xfrm>
            <a:off x="9342976" y="2898998"/>
            <a:ext cx="237105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ossover allowed upon progression on physician’s choice therapy</a:t>
            </a:r>
          </a:p>
        </p:txBody>
      </p:sp>
      <p:sp>
        <p:nvSpPr>
          <p:cNvPr id="40" name="Title 4">
            <a:extLst>
              <a:ext uri="{FF2B5EF4-FFF2-40B4-BE49-F238E27FC236}">
                <a16:creationId xmlns:a16="http://schemas.microsoft.com/office/drawing/2014/main" id="{D5A71B95-CBC3-4D37-834D-069A1C3EA71C}"/>
              </a:ext>
            </a:extLst>
          </p:cNvPr>
          <p:cNvSpPr txBox="1">
            <a:spLocks/>
          </p:cNvSpPr>
          <p:nvPr/>
        </p:nvSpPr>
        <p:spPr bwMode="auto">
          <a:xfrm>
            <a:off x="0" y="0"/>
            <a:ext cx="12192000" cy="1268413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r>
              <a:rPr lang="en-GB" sz="3200" dirty="0" err="1">
                <a:solidFill>
                  <a:schemeClr val="bg1"/>
                </a:solidFill>
              </a:rPr>
              <a:t>PROfound</a:t>
            </a:r>
            <a:r>
              <a:rPr lang="en-GB" sz="3200" dirty="0">
                <a:solidFill>
                  <a:schemeClr val="bg1"/>
                </a:solidFill>
              </a:rPr>
              <a:t>: </a:t>
            </a:r>
          </a:p>
          <a:p>
            <a:r>
              <a:rPr lang="en-GB" sz="3200" dirty="0" err="1">
                <a:solidFill>
                  <a:schemeClr val="bg1"/>
                </a:solidFill>
              </a:rPr>
              <a:t>Progresif</a:t>
            </a:r>
            <a:r>
              <a:rPr lang="en-GB" sz="3200" dirty="0">
                <a:solidFill>
                  <a:schemeClr val="bg1"/>
                </a:solidFill>
              </a:rPr>
              <a:t> </a:t>
            </a:r>
            <a:r>
              <a:rPr lang="en-GB" sz="3200" dirty="0" err="1">
                <a:solidFill>
                  <a:schemeClr val="bg1"/>
                </a:solidFill>
              </a:rPr>
              <a:t>mKDPK</a:t>
            </a:r>
            <a:r>
              <a:rPr lang="en-GB" sz="3200" dirty="0">
                <a:solidFill>
                  <a:schemeClr val="bg1"/>
                </a:solidFill>
              </a:rPr>
              <a:t>: Olaparib </a:t>
            </a:r>
            <a:r>
              <a:rPr lang="en-GB" sz="3200" dirty="0" err="1">
                <a:solidFill>
                  <a:schemeClr val="bg1"/>
                </a:solidFill>
              </a:rPr>
              <a:t>ya</a:t>
            </a:r>
            <a:r>
              <a:rPr lang="en-GB" sz="3200" dirty="0">
                <a:solidFill>
                  <a:schemeClr val="bg1"/>
                </a:solidFill>
              </a:rPr>
              <a:t> da </a:t>
            </a:r>
            <a:r>
              <a:rPr lang="en-GB" sz="3200" dirty="0" err="1">
                <a:solidFill>
                  <a:schemeClr val="bg1"/>
                </a:solidFill>
              </a:rPr>
              <a:t>Dr.</a:t>
            </a:r>
            <a:r>
              <a:rPr lang="en-GB" sz="3200" dirty="0">
                <a:solidFill>
                  <a:schemeClr val="bg1"/>
                </a:solidFill>
              </a:rPr>
              <a:t> </a:t>
            </a:r>
            <a:r>
              <a:rPr lang="en-GB" sz="3200" dirty="0" err="1">
                <a:solidFill>
                  <a:schemeClr val="bg1"/>
                </a:solidFill>
              </a:rPr>
              <a:t>Seçimi</a:t>
            </a:r>
            <a:endParaRPr lang="en-GB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19301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A94A2B-B60D-4A1E-8A59-473749E565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FS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2A4BA971-6311-4B09-9CDF-58CC7801D91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635597"/>
            <a:ext cx="5386388" cy="3029843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2403B1-95A1-4FF2-8342-4B11C7603E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GB" dirty="0"/>
              <a:t>OS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A6C0A266-E0C0-4187-81D9-CDA4A1F7A87E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838" y="2634705"/>
            <a:ext cx="5389562" cy="3031628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B9CFDEF-1204-4564-99A5-F01D840E8B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400" dirty="0" err="1"/>
              <a:t>PROfound</a:t>
            </a:r>
            <a:r>
              <a:rPr lang="en-GB" sz="4400" dirty="0"/>
              <a:t>: </a:t>
            </a:r>
            <a:br>
              <a:rPr lang="en-GB" sz="4400" dirty="0"/>
            </a:br>
            <a:r>
              <a:rPr lang="en-GB" sz="2800" dirty="0"/>
              <a:t>Olaparib yada Dr </a:t>
            </a:r>
            <a:r>
              <a:rPr lang="en-GB" sz="2800" dirty="0" err="1"/>
              <a:t>Seçim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172266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Box 15">
            <a:extLst>
              <a:ext uri="{FF2B5EF4-FFF2-40B4-BE49-F238E27FC236}">
                <a16:creationId xmlns:a16="http://schemas.microsoft.com/office/drawing/2014/main" id="{15D2D073-C557-4007-B529-6A84DD3A12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51" y="6361756"/>
            <a:ext cx="7853362" cy="276999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bida. ESMO 2018. Abstr 793PD. Abida. JCO. 2020;[Epub].</a:t>
            </a:r>
          </a:p>
        </p:txBody>
      </p:sp>
      <p:sp>
        <p:nvSpPr>
          <p:cNvPr id="33" name="Text Box 45">
            <a:extLst>
              <a:ext uri="{FF2B5EF4-FFF2-40B4-BE49-F238E27FC236}">
                <a16:creationId xmlns:a16="http://schemas.microsoft.com/office/drawing/2014/main" id="{2361DBF7-E32D-41AF-835A-399F42CC44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7077" y="1988335"/>
            <a:ext cx="3932553" cy="2308324"/>
          </a:xfrm>
          <a:prstGeom prst="rect">
            <a:avLst/>
          </a:prstGeom>
          <a:solidFill>
            <a:srgbClr val="FFFF00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atients with mCRPC and deleterious somatic or germline alteration in HRR genes*; progression on AR-directed tx</a:t>
            </a:r>
            <a:r>
              <a:rPr kumimoji="0" lang="en-GB" alt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† </a:t>
            </a: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r PC and 1 prior line of taxane-based CT for CRPC; no prior PARPi, mitoxantrone, cyclophosphamide, or platinum-based CT; ECOG PS 0/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N = 190</a:t>
            </a:r>
            <a:r>
              <a:rPr kumimoji="0" lang="en-GB" alt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‡</a:t>
            </a: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 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" name="Rectangle 46">
            <a:extLst>
              <a:ext uri="{FF2B5EF4-FFF2-40B4-BE49-F238E27FC236}">
                <a16:creationId xmlns:a16="http://schemas.microsoft.com/office/drawing/2014/main" id="{5808CA13-3184-4EC9-866E-70144DDF22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34633" y="2542333"/>
            <a:ext cx="2538413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ntil radiographic progression or discontinuation for other reason</a:t>
            </a:r>
          </a:p>
        </p:txBody>
      </p:sp>
      <p:sp>
        <p:nvSpPr>
          <p:cNvPr id="37" name="Rectangle 49">
            <a:extLst>
              <a:ext uri="{FF2B5EF4-FFF2-40B4-BE49-F238E27FC236}">
                <a16:creationId xmlns:a16="http://schemas.microsoft.com/office/drawing/2014/main" id="{29C91F93-B838-49A9-8BA9-2B5313B55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27689" y="2679106"/>
            <a:ext cx="2468880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ucaparib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600 mg BID in 28-d cycles</a:t>
            </a:r>
            <a:r>
              <a:rPr kumimoji="0" lang="en-US" alt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§</a:t>
            </a:r>
          </a:p>
        </p:txBody>
      </p:sp>
      <p:sp>
        <p:nvSpPr>
          <p:cNvPr id="45" name="Line 52">
            <a:extLst>
              <a:ext uri="{FF2B5EF4-FFF2-40B4-BE49-F238E27FC236}">
                <a16:creationId xmlns:a16="http://schemas.microsoft.com/office/drawing/2014/main" id="{F5648E45-24BE-4D13-8713-4E4824F97D5C}"/>
              </a:ext>
            </a:extLst>
          </p:cNvPr>
          <p:cNvSpPr>
            <a:spLocks noChangeShapeType="1"/>
          </p:cNvSpPr>
          <p:nvPr/>
        </p:nvSpPr>
        <p:spPr bwMode="auto">
          <a:xfrm>
            <a:off x="8246588" y="3142497"/>
            <a:ext cx="479425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6" name="Line 52">
            <a:extLst>
              <a:ext uri="{FF2B5EF4-FFF2-40B4-BE49-F238E27FC236}">
                <a16:creationId xmlns:a16="http://schemas.microsoft.com/office/drawing/2014/main" id="{B12D0F52-F741-4536-9ACD-0B205B29C3DD}"/>
              </a:ext>
            </a:extLst>
          </p:cNvPr>
          <p:cNvSpPr>
            <a:spLocks noChangeShapeType="1"/>
          </p:cNvSpPr>
          <p:nvPr/>
        </p:nvSpPr>
        <p:spPr bwMode="auto">
          <a:xfrm>
            <a:off x="4919187" y="3142497"/>
            <a:ext cx="479425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8" name="Text Box 30">
            <a:extLst>
              <a:ext uri="{FF2B5EF4-FFF2-40B4-BE49-F238E27FC236}">
                <a16:creationId xmlns:a16="http://schemas.microsoft.com/office/drawing/2014/main" id="{1E1AA879-8379-4036-B100-C4EC8CAFE0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1749" y="6083703"/>
            <a:ext cx="11069637" cy="305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015873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ǁ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CIST modified to include up to 10 target lesions (maximum 5 per site), excluding prostatic bed or bone lesions; MRI permitted.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979BFF0F-0C6C-4317-A4B2-B0F7ACA7C23D}"/>
              </a:ext>
            </a:extLst>
          </p:cNvPr>
          <p:cNvSpPr txBox="1">
            <a:spLocks/>
          </p:cNvSpPr>
          <p:nvPr/>
        </p:nvSpPr>
        <p:spPr bwMode="auto">
          <a:xfrm>
            <a:off x="604675" y="4366521"/>
            <a:ext cx="10877529" cy="1689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imary endpoints</a:t>
            </a:r>
          </a:p>
          <a:p>
            <a:pPr marL="742950" marR="0" lvl="1" indent="-28575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mong patients with measurable disease at BL: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entrally assessed, confirmed ORR per modified RECIST</a:t>
            </a:r>
            <a:r>
              <a:rPr kumimoji="0" lang="en-US" sz="18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ǁ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/PCWG3</a:t>
            </a:r>
          </a:p>
          <a:p>
            <a:pPr marL="742950" marR="0" lvl="1" indent="-28575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5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mong patients without measurable disease at BL: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locally assessed, confirmed PSA response 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≥ 50% decrease) rate</a:t>
            </a:r>
          </a:p>
        </p:txBody>
      </p:sp>
      <p:sp>
        <p:nvSpPr>
          <p:cNvPr id="47" name="Text Box 30">
            <a:extLst>
              <a:ext uri="{FF2B5EF4-FFF2-40B4-BE49-F238E27FC236}">
                <a16:creationId xmlns:a16="http://schemas.microsoft.com/office/drawing/2014/main" id="{6DE1630A-D1F5-47D4-93E9-69F64D9D75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2000" y="3812524"/>
            <a:ext cx="7174234" cy="951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015873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Local or central testing of blood or tumor samples for alterations in HRR genes: </a:t>
            </a:r>
            <a:r>
              <a:rPr kumimoji="0" lang="en-US" alt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RCA1, BRCA2, ATM, BARD1, BRIP1, CDK12, CHEK2, FANCA, NBN, PALB2, RAD51, RAD51B, RAD51C, RAD51D, RAD54L</a:t>
            </a:r>
            <a:r>
              <a:rPr kumimoji="0" lang="en-US" alt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r>
              <a:rPr kumimoji="0" lang="en-US" alt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†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biraterone, enzalutamide, or apalutamide. </a:t>
            </a:r>
            <a:r>
              <a:rPr kumimoji="0" lang="en-US" alt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‡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rollment cutoff: February 28, 2019. </a:t>
            </a:r>
            <a:r>
              <a:rPr kumimoji="0" lang="en-US" alt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§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ssessments: tumor Q8W for 24 wks, then Q12W; PSA Q4W.</a:t>
            </a:r>
            <a:endParaRPr kumimoji="0" lang="en-US" altLang="en-US" sz="14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Title 33">
            <a:extLst>
              <a:ext uri="{FF2B5EF4-FFF2-40B4-BE49-F238E27FC236}">
                <a16:creationId xmlns:a16="http://schemas.microsoft.com/office/drawing/2014/main" id="{A29CB996-C5BF-4AB6-947E-AA2F33EDB2F1}"/>
              </a:ext>
            </a:extLst>
          </p:cNvPr>
          <p:cNvSpPr txBox="1">
            <a:spLocks/>
          </p:cNvSpPr>
          <p:nvPr/>
        </p:nvSpPr>
        <p:spPr bwMode="auto">
          <a:xfrm>
            <a:off x="0" y="0"/>
            <a:ext cx="12192000" cy="1809607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r>
              <a:rPr lang="en-US" altLang="en-US" sz="3200" dirty="0">
                <a:solidFill>
                  <a:schemeClr val="bg1"/>
                </a:solidFill>
              </a:rPr>
              <a:t>TRITON2: </a:t>
            </a:r>
          </a:p>
          <a:p>
            <a:r>
              <a:rPr lang="en-US" altLang="en-US" sz="3200" dirty="0">
                <a:solidFill>
                  <a:schemeClr val="bg1"/>
                </a:solidFill>
              </a:rPr>
              <a:t>Rucaparib </a:t>
            </a:r>
            <a:r>
              <a:rPr lang="en-US" altLang="en-US" sz="3200" dirty="0" err="1">
                <a:solidFill>
                  <a:schemeClr val="bg1"/>
                </a:solidFill>
              </a:rPr>
              <a:t>mKDPK</a:t>
            </a:r>
            <a:r>
              <a:rPr lang="en-US" altLang="en-US" sz="3200" dirty="0">
                <a:solidFill>
                  <a:schemeClr val="bg1"/>
                </a:solidFill>
              </a:rPr>
              <a:t> HRR +</a:t>
            </a:r>
          </a:p>
          <a:p>
            <a:r>
              <a:rPr lang="en-US" sz="2400" dirty="0">
                <a:solidFill>
                  <a:schemeClr val="bg1"/>
                </a:solidFill>
              </a:rPr>
              <a:t>International, multicenter, open-label phase II study</a:t>
            </a:r>
          </a:p>
        </p:txBody>
      </p:sp>
    </p:spTree>
    <p:extLst>
      <p:ext uri="{BB962C8B-B14F-4D97-AF65-F5344CB8AC3E}">
        <p14:creationId xmlns:p14="http://schemas.microsoft.com/office/powerpoint/2010/main" val="321404755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itle 76">
            <a:extLst>
              <a:ext uri="{FF2B5EF4-FFF2-40B4-BE49-F238E27FC236}">
                <a16:creationId xmlns:a16="http://schemas.microsoft.com/office/drawing/2014/main" id="{EF73DAB7-B20A-1D4F-BCD7-6FCBA24EC0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490720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RITON2: BRCA1/BRCA2 Cohort </a:t>
            </a:r>
          </a:p>
        </p:txBody>
      </p:sp>
      <p:sp>
        <p:nvSpPr>
          <p:cNvPr id="2" name="Text Box 15">
            <a:extLst>
              <a:ext uri="{FF2B5EF4-FFF2-40B4-BE49-F238E27FC236}">
                <a16:creationId xmlns:a16="http://schemas.microsoft.com/office/drawing/2014/main" id="{66C1C6B1-6161-4373-81E2-D3E7E9435F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7368" y="6325630"/>
            <a:ext cx="7853362" cy="276999"/>
          </a:xfrm>
          <a:prstGeom prst="rect">
            <a:avLst/>
          </a:prstGeom>
          <a:noFill/>
          <a:ln>
            <a:noFill/>
          </a:ln>
        </p:spPr>
        <p:txBody>
          <a:bodyPr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bida. JCO. 2020;[Epub].</a:t>
            </a:r>
          </a:p>
        </p:txBody>
      </p:sp>
      <p:graphicFrame>
        <p:nvGraphicFramePr>
          <p:cNvPr id="3" name="Group 32">
            <a:extLst>
              <a:ext uri="{FF2B5EF4-FFF2-40B4-BE49-F238E27FC236}">
                <a16:creationId xmlns:a16="http://schemas.microsoft.com/office/drawing/2014/main" id="{531951AB-AC48-40E7-A466-563B6F5C13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1246105"/>
              </p:ext>
            </p:extLst>
          </p:nvPr>
        </p:nvGraphicFramePr>
        <p:xfrm>
          <a:off x="191344" y="1845152"/>
          <a:ext cx="5799577" cy="3816096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26025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98514">
                  <a:extLst>
                    <a:ext uri="{9D8B030D-6E8A-4147-A177-3AD203B41FA5}">
                      <a16:colId xmlns:a16="http://schemas.microsoft.com/office/drawing/2014/main" val="1720893122"/>
                    </a:ext>
                  </a:extLst>
                </a:gridCol>
                <a:gridCol w="1598514">
                  <a:extLst>
                    <a:ext uri="{9D8B030D-6E8A-4147-A177-3AD203B41FA5}">
                      <a16:colId xmlns:a16="http://schemas.microsoft.com/office/drawing/2014/main" val="4112497054"/>
                    </a:ext>
                  </a:extLst>
                </a:gridCol>
              </a:tblGrid>
              <a:tr h="36974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esponse, n (%)*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T="36576" marB="36576" anchor="ctr" horzOverflow="overflow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  <a:effectLst/>
                        </a:rPr>
                        <a:t>Investigator-Evaluable Population </a:t>
                      </a:r>
                      <a:br>
                        <a:rPr lang="en-GB" sz="1400" b="1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GB" sz="1400" b="1" dirty="0">
                          <a:solidFill>
                            <a:schemeClr val="tx1"/>
                          </a:solidFill>
                          <a:effectLst/>
                        </a:rPr>
                        <a:t>(n = 65)</a:t>
                      </a:r>
                      <a:endParaRPr lang="en-GB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T="36576" marB="36576" anchor="b" anchorCtr="1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  <a:effectLst/>
                        </a:rPr>
                        <a:t>IRR-Evaluable Population </a:t>
                      </a:r>
                      <a:br>
                        <a:rPr lang="en-GB" sz="1400" b="1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GB" sz="1400" b="1" dirty="0">
                          <a:solidFill>
                            <a:schemeClr val="tx1"/>
                          </a:solidFill>
                          <a:effectLst/>
                        </a:rPr>
                        <a:t>(n = 62)</a:t>
                      </a:r>
                      <a:endParaRPr lang="en-GB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T="36576" marB="36576" anchor="ctr" anchorCtr="1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8240861"/>
                  </a:ext>
                </a:extLst>
              </a:tr>
              <a:tr h="132051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</a:rPr>
                        <a:t>Confirmed ORR [95% CI]</a:t>
                      </a:r>
                      <a:endParaRPr lang="en-GB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T="36576" marB="36576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33 (50.8) [38.1-63.4]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T="36576" marB="36576" anchor="ctr" anchorCtr="1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27 (43.5) [31.0-56.7]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T="36576" marB="36576" anchor="ctr" anchorCtr="1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2051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407988" indent="-285750" algn="l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</a:rPr>
                        <a:t>CR</a:t>
                      </a:r>
                      <a:endParaRPr lang="en-GB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T="36576" marB="36576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4 (6.2)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T="36576" marB="36576" anchor="b" anchorCtr="1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7 (11.3)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T="36576" marB="36576" anchor="b" anchorCtr="1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2051">
                <a:tc>
                  <a:txBody>
                    <a:bodyPr/>
                    <a:lstStyle/>
                    <a:p>
                      <a:pPr marL="407988" marR="0" lvl="0" indent="-285750" algn="l" defTabSz="914377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</a:rPr>
                        <a:t>PR</a:t>
                      </a:r>
                      <a:endParaRPr lang="en-US" sz="14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6576" marB="36576" horzOverflow="overflow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9 (44.6)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T="36576" marB="36576" anchor="ctr" horzOverflow="overflow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35000"/>
                        </a:spcBef>
                        <a:spcAft>
                          <a:spcPct val="2500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 (32.3)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T="36576" marB="36576" anchor="ctr" horzOverflow="overflow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06430"/>
                  </a:ext>
                </a:extLst>
              </a:tr>
              <a:tr h="132051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179437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</a:rPr>
                        <a:t>Stable disease</a:t>
                      </a:r>
                      <a:endParaRPr lang="en-GB" sz="1400" i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T="36576" marB="36576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25 (38.5)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T="36576" marB="36576" anchor="ctr" anchorCtr="1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28 (45.2)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T="36576" marB="36576" anchor="ctr" anchorCtr="1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0663988"/>
                  </a:ext>
                </a:extLst>
              </a:tr>
              <a:tr h="132051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</a:rPr>
                        <a:t>Progressive disease</a:t>
                      </a:r>
                      <a:endParaRPr lang="en-GB" sz="1400" i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T="36576" marB="36576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6 (9.2)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T="36576" marB="36576" anchor="ctr" anchorCtr="1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6 (9.7)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T="36576" marB="36576" anchor="ctr" anchorCtr="1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5527622"/>
                  </a:ext>
                </a:extLst>
              </a:tr>
              <a:tr h="132051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</a:rPr>
                        <a:t>Not evaluable</a:t>
                      </a:r>
                      <a:endParaRPr lang="en-GB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T="36576" marB="36576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1 (1.5)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T="36576" marB="36576" anchor="b" anchorCtr="1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1 (1.6)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T="36576" marB="36576" anchor="b" anchorCtr="1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263374"/>
                  </a:ext>
                </a:extLst>
              </a:tr>
              <a:tr h="233918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l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  <a:effectLst/>
                        </a:rPr>
                        <a:t>Confirmed PSA Response Rate, n (%) [95% CI]</a:t>
                      </a:r>
                      <a:endParaRPr lang="en-GB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T="36576" marB="36576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Overall Efficacy Population</a:t>
                      </a:r>
                      <a:br>
                        <a:rPr lang="en-US" sz="14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(n = 115)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T="36576" marB="36576" anchor="b" anchorCtr="1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T="36576" marB="36576" anchor="b" anchorCtr="1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189840"/>
                  </a:ext>
                </a:extLst>
              </a:tr>
              <a:tr h="132051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endParaRPr lang="en-GB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T="36576" marB="36576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63 (54.8) [45.2-64.1]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T="36576" marB="36576" anchor="b" anchorCtr="1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Arial"/>
                        <a:cs typeface="Calibri" panose="020F0502020204030204" pitchFamily="34" charset="0"/>
                      </a:endParaRPr>
                    </a:p>
                  </a:txBody>
                  <a:tcPr marT="36576" marB="36576" anchor="b" anchorCtr="1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020452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1D4EBB3A-6EDB-4525-B63B-047E89FCBD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3952" y="3138991"/>
            <a:ext cx="6230536" cy="3156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42936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B5F73857-19A1-46BE-8BD2-BDF089AB20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8875491"/>
              </p:ext>
            </p:extLst>
          </p:nvPr>
        </p:nvGraphicFramePr>
        <p:xfrm>
          <a:off x="1775520" y="321297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FF2DEDB-B787-4616-A44B-6E5801B938A7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147661263"/>
              </p:ext>
            </p:extLst>
          </p:nvPr>
        </p:nvGraphicFramePr>
        <p:xfrm>
          <a:off x="767408" y="815280"/>
          <a:ext cx="10877550" cy="46513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0D9639C-D510-4E6C-942F-074EA37B1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66188"/>
            <a:ext cx="12192000" cy="1268413"/>
          </a:xfrm>
        </p:spPr>
        <p:txBody>
          <a:bodyPr/>
          <a:lstStyle/>
          <a:p>
            <a:r>
              <a:rPr lang="en-US" dirty="0" err="1"/>
              <a:t>Öz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92860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5CDCE39-D0A6-4E7D-81BA-06477EF0D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Özet</a:t>
            </a:r>
            <a:endParaRPr lang="en-GB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157C8838-C1F6-4F96-B233-58FBCE8EDC3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63279061"/>
              </p:ext>
            </p:extLst>
          </p:nvPr>
        </p:nvGraphicFramePr>
        <p:xfrm>
          <a:off x="914400" y="1988840"/>
          <a:ext cx="10363200" cy="4114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34896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/>
          <p:cNvSpPr txBox="1"/>
          <p:nvPr/>
        </p:nvSpPr>
        <p:spPr>
          <a:xfrm>
            <a:off x="1847528" y="2051556"/>
            <a:ext cx="2232248" cy="646331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kali İleri Hastalık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4" name="Straight Arrow Connector 53"/>
          <p:cNvCxnSpPr>
            <a:cxnSpLocks/>
          </p:cNvCxnSpPr>
          <p:nvPr/>
        </p:nvCxnSpPr>
        <p:spPr>
          <a:xfrm>
            <a:off x="3287688" y="2725454"/>
            <a:ext cx="216024" cy="216024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3143672" y="2996952"/>
            <a:ext cx="1368152" cy="646331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SA </a:t>
            </a:r>
            <a:r>
              <a:rPr kumimoji="0" lang="tr-TR" sz="180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üksü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7" name="Straight Arrow Connector 56"/>
          <p:cNvCxnSpPr>
            <a:cxnSpLocks/>
          </p:cNvCxnSpPr>
          <p:nvPr/>
        </p:nvCxnSpPr>
        <p:spPr>
          <a:xfrm>
            <a:off x="4079776" y="3705997"/>
            <a:ext cx="408960" cy="419573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3647728" y="4149079"/>
            <a:ext cx="2592288" cy="646331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astatik</a:t>
            </a:r>
            <a:r>
              <a:rPr kumimoji="0" lang="tr-TR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</a:t>
            </a:r>
            <a:r>
              <a:rPr kumimoji="0" lang="tr-TR" sz="180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esyon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4727848" y="3140968"/>
            <a:ext cx="1296144" cy="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6240016" y="2996952"/>
            <a:ext cx="1224136" cy="369332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0 KDPK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6" name="Straight Arrow Connector 65"/>
          <p:cNvCxnSpPr>
            <a:cxnSpLocks/>
          </p:cNvCxnSpPr>
          <p:nvPr/>
        </p:nvCxnSpPr>
        <p:spPr>
          <a:xfrm>
            <a:off x="5195900" y="4850895"/>
            <a:ext cx="792088" cy="72731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6096000" y="5435933"/>
            <a:ext cx="1368152" cy="369331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1 KDPK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8616280" y="2123564"/>
            <a:ext cx="1296144" cy="369332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1 HSPK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0" name="Straight Arrow Connector 69"/>
          <p:cNvCxnSpPr>
            <a:cxnSpLocks/>
          </p:cNvCxnSpPr>
          <p:nvPr/>
        </p:nvCxnSpPr>
        <p:spPr>
          <a:xfrm flipH="1">
            <a:off x="7104112" y="2636912"/>
            <a:ext cx="1872208" cy="2511147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/>
          <p:cNvSpPr/>
          <p:nvPr/>
        </p:nvSpPr>
        <p:spPr>
          <a:xfrm>
            <a:off x="546965" y="5698469"/>
            <a:ext cx="405271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SPK = Hormon </a:t>
            </a:r>
            <a:r>
              <a:rPr kumimoji="0" lang="tr-TR" sz="140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sitiv</a:t>
            </a:r>
            <a:r>
              <a:rPr kumimoji="0" lang="tr-TR" sz="140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stat Kanseri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929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DPK = </a:t>
            </a:r>
            <a:r>
              <a:rPr kumimoji="0" lang="tr-TR" sz="1400" i="0" u="none" strike="noStrike" kern="1200" cap="none" spc="0" normalizeH="0" baseline="0" noProof="0" dirty="0" err="1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strasyona</a:t>
            </a:r>
            <a:r>
              <a:rPr kumimoji="0" lang="tr-TR" sz="1400" i="0" u="none" strike="noStrike" kern="1200" cap="none" spc="0" normalizeH="0" baseline="0" noProof="0" dirty="0">
                <a:ln>
                  <a:noFill/>
                </a:ln>
                <a:solidFill>
                  <a:srgbClr val="2929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rençli Prostat Kanseri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2929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5" name="Straight Arrow Connector 74"/>
          <p:cNvCxnSpPr>
            <a:cxnSpLocks/>
          </p:cNvCxnSpPr>
          <p:nvPr/>
        </p:nvCxnSpPr>
        <p:spPr>
          <a:xfrm>
            <a:off x="6600056" y="3501008"/>
            <a:ext cx="36004" cy="1647051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/>
          <p:cNvSpPr/>
          <p:nvPr/>
        </p:nvSpPr>
        <p:spPr>
          <a:xfrm>
            <a:off x="1840268" y="1547500"/>
            <a:ext cx="3932781" cy="369332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ken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re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üksek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skli</a:t>
            </a:r>
            <a:r>
              <a:rPr kumimoji="0" lang="tr-TR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astalık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6922EF5-6392-48CD-88A1-59D15E350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K </a:t>
            </a:r>
            <a:r>
              <a:rPr lang="en-GB" dirty="0" err="1"/>
              <a:t>Seyr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8555748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0D9639C-D510-4E6C-942F-074EA37B1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FF2DEDB-B787-4616-A44B-6E5801B938A7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350356072"/>
              </p:ext>
            </p:extLst>
          </p:nvPr>
        </p:nvGraphicFramePr>
        <p:xfrm>
          <a:off x="551384" y="1484784"/>
          <a:ext cx="10877550" cy="46513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B1D9DBA7-DF3C-40F7-A26E-023FF11BB4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968450"/>
              </p:ext>
            </p:extLst>
          </p:nvPr>
        </p:nvGraphicFramePr>
        <p:xfrm>
          <a:off x="2767856" y="5365586"/>
          <a:ext cx="6656288" cy="13411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00286924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dirty="0"/>
              <a:t>		</a:t>
            </a:r>
            <a:r>
              <a:rPr lang="en-US" dirty="0" err="1"/>
              <a:t>polifarması</a:t>
            </a:r>
            <a:endParaRPr lang="tr-T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B4CB55-B544-431C-940F-DA4B02D2A0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4C500-2EF8-4748-A341-8D028D14A2FE}" type="slidenum">
              <a:rPr lang="tr-TR">
                <a:solidFill>
                  <a:srgbClr val="292934"/>
                </a:solidFill>
                <a:latin typeface="Arial"/>
              </a:rPr>
              <a:pPr/>
              <a:t>61</a:t>
            </a:fld>
            <a:endParaRPr lang="tr-TR">
              <a:solidFill>
                <a:srgbClr val="292934"/>
              </a:solidFill>
              <a:latin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112" y="18878"/>
            <a:ext cx="4320480" cy="129673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416" y="1698016"/>
            <a:ext cx="3836365" cy="130172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4112" y="1843072"/>
            <a:ext cx="3896075" cy="113397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91689" y="3182898"/>
            <a:ext cx="3866270" cy="101740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5331" y="3230236"/>
            <a:ext cx="3744205" cy="111203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15544" y="4386018"/>
            <a:ext cx="4213147" cy="114113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20107" y="5110291"/>
            <a:ext cx="3441005" cy="1045925"/>
          </a:xfrm>
          <a:prstGeom prst="rect">
            <a:avLst/>
          </a:prstGeom>
        </p:spPr>
      </p:pic>
      <p:sp>
        <p:nvSpPr>
          <p:cNvPr id="9" name="Callout: Line 8">
            <a:extLst>
              <a:ext uri="{FF2B5EF4-FFF2-40B4-BE49-F238E27FC236}">
                <a16:creationId xmlns:a16="http://schemas.microsoft.com/office/drawing/2014/main" id="{EFCFD9DF-F3AA-4E34-A4CC-66850B1CFD92}"/>
              </a:ext>
            </a:extLst>
          </p:cNvPr>
          <p:cNvSpPr/>
          <p:nvPr/>
        </p:nvSpPr>
        <p:spPr>
          <a:xfrm>
            <a:off x="4500287" y="1536433"/>
            <a:ext cx="864096" cy="1017404"/>
          </a:xfrm>
          <a:prstGeom prst="borderCallout1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75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:a16="http://schemas.microsoft.com/office/drawing/2014/main" id="{6091807E-A86E-4050-A27D-EB300A92A264}"/>
              </a:ext>
            </a:extLst>
          </p:cNvPr>
          <p:cNvSpPr/>
          <p:nvPr/>
        </p:nvSpPr>
        <p:spPr>
          <a:xfrm>
            <a:off x="10560496" y="1521578"/>
            <a:ext cx="1224136" cy="1017404"/>
          </a:xfrm>
          <a:prstGeom prst="borderCallout1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123</a:t>
            </a:r>
          </a:p>
        </p:txBody>
      </p:sp>
      <p:sp>
        <p:nvSpPr>
          <p:cNvPr id="18" name="Callout: Line 17">
            <a:extLst>
              <a:ext uri="{FF2B5EF4-FFF2-40B4-BE49-F238E27FC236}">
                <a16:creationId xmlns:a16="http://schemas.microsoft.com/office/drawing/2014/main" id="{17DCB7E3-BC2C-427B-A132-A6E85CD3660F}"/>
              </a:ext>
            </a:extLst>
          </p:cNvPr>
          <p:cNvSpPr/>
          <p:nvPr/>
        </p:nvSpPr>
        <p:spPr>
          <a:xfrm>
            <a:off x="10303776" y="2979151"/>
            <a:ext cx="864096" cy="1017404"/>
          </a:xfrm>
          <a:prstGeom prst="borderCallout1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54</a:t>
            </a:r>
          </a:p>
        </p:txBody>
      </p:sp>
      <p:sp>
        <p:nvSpPr>
          <p:cNvPr id="19" name="Callout: Line 18">
            <a:extLst>
              <a:ext uri="{FF2B5EF4-FFF2-40B4-BE49-F238E27FC236}">
                <a16:creationId xmlns:a16="http://schemas.microsoft.com/office/drawing/2014/main" id="{B3797CC1-A045-4144-9FFD-E9F4DA9FFFF0}"/>
              </a:ext>
            </a:extLst>
          </p:cNvPr>
          <p:cNvSpPr/>
          <p:nvPr/>
        </p:nvSpPr>
        <p:spPr>
          <a:xfrm>
            <a:off x="9629064" y="4601589"/>
            <a:ext cx="864096" cy="1017404"/>
          </a:xfrm>
          <a:prstGeom prst="borderCallout1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0" name="Callout: Line 19">
            <a:extLst>
              <a:ext uri="{FF2B5EF4-FFF2-40B4-BE49-F238E27FC236}">
                <a16:creationId xmlns:a16="http://schemas.microsoft.com/office/drawing/2014/main" id="{221876F0-F768-49CF-A4B3-459A58D38560}"/>
              </a:ext>
            </a:extLst>
          </p:cNvPr>
          <p:cNvSpPr/>
          <p:nvPr/>
        </p:nvSpPr>
        <p:spPr>
          <a:xfrm>
            <a:off x="5163031" y="2843621"/>
            <a:ext cx="864096" cy="1017404"/>
          </a:xfrm>
          <a:prstGeom prst="borderCallout1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31</a:t>
            </a:r>
          </a:p>
        </p:txBody>
      </p:sp>
      <p:sp>
        <p:nvSpPr>
          <p:cNvPr id="21" name="Callout: Line 20">
            <a:extLst>
              <a:ext uri="{FF2B5EF4-FFF2-40B4-BE49-F238E27FC236}">
                <a16:creationId xmlns:a16="http://schemas.microsoft.com/office/drawing/2014/main" id="{12893811-230C-4D09-BF47-B7D3CB683F0A}"/>
              </a:ext>
            </a:extLst>
          </p:cNvPr>
          <p:cNvSpPr/>
          <p:nvPr/>
        </p:nvSpPr>
        <p:spPr>
          <a:xfrm>
            <a:off x="5313706" y="4458146"/>
            <a:ext cx="864096" cy="1017404"/>
          </a:xfrm>
          <a:prstGeom prst="borderCallout1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76</a:t>
            </a:r>
          </a:p>
        </p:txBody>
      </p:sp>
      <p:sp>
        <p:nvSpPr>
          <p:cNvPr id="22" name="Callout: Line 21">
            <a:extLst>
              <a:ext uri="{FF2B5EF4-FFF2-40B4-BE49-F238E27FC236}">
                <a16:creationId xmlns:a16="http://schemas.microsoft.com/office/drawing/2014/main" id="{E0CC3630-D517-4A48-A948-5B36E5C39274}"/>
              </a:ext>
            </a:extLst>
          </p:cNvPr>
          <p:cNvSpPr/>
          <p:nvPr/>
        </p:nvSpPr>
        <p:spPr>
          <a:xfrm>
            <a:off x="10303776" y="114342"/>
            <a:ext cx="1120816" cy="1017404"/>
          </a:xfrm>
          <a:prstGeom prst="borderCallout1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137</a:t>
            </a:r>
          </a:p>
        </p:txBody>
      </p:sp>
    </p:spTree>
    <p:extLst>
      <p:ext uri="{BB962C8B-B14F-4D97-AF65-F5344CB8AC3E}">
        <p14:creationId xmlns:p14="http://schemas.microsoft.com/office/powerpoint/2010/main" val="171451403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0" name="Picture 2" descr="DSC0033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0"/>
            <a:ext cx="9144000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2451" name="Rectangle 3"/>
          <p:cNvSpPr>
            <a:spLocks noGrp="1"/>
          </p:cNvSpPr>
          <p:nvPr>
            <p:ph type="title"/>
          </p:nvPr>
        </p:nvSpPr>
        <p:spPr>
          <a:xfrm>
            <a:off x="1524000" y="5715000"/>
            <a:ext cx="9144000" cy="1143000"/>
          </a:xfrm>
          <a:solidFill>
            <a:srgbClr val="CCFFCC"/>
          </a:solidFill>
        </p:spPr>
        <p:txBody>
          <a:bodyPr/>
          <a:lstStyle/>
          <a:p>
            <a:pPr algn="ctr"/>
            <a:r>
              <a:rPr lang="tr-TR" altLang="en-US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Teşekkürler</a:t>
            </a:r>
          </a:p>
        </p:txBody>
      </p:sp>
    </p:spTree>
    <p:extLst>
      <p:ext uri="{BB962C8B-B14F-4D97-AF65-F5344CB8AC3E}">
        <p14:creationId xmlns:p14="http://schemas.microsoft.com/office/powerpoint/2010/main" val="36678664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15D5AA3-E829-462D-B1C8-EB187BF78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er hasta </a:t>
            </a:r>
            <a:r>
              <a:rPr lang="en-GB" dirty="0" err="1"/>
              <a:t>nasıl</a:t>
            </a:r>
            <a:r>
              <a:rPr lang="en-GB" dirty="0"/>
              <a:t> </a:t>
            </a:r>
            <a:r>
              <a:rPr lang="en-GB" dirty="0" err="1"/>
              <a:t>farklıdır</a:t>
            </a:r>
            <a:r>
              <a:rPr lang="en-GB" dirty="0"/>
              <a:t>?</a:t>
            </a:r>
          </a:p>
        </p:txBody>
      </p:sp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84FAE0CC-6123-4CEF-B58E-7B7FD945AF6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58937544"/>
              </p:ext>
            </p:extLst>
          </p:nvPr>
        </p:nvGraphicFramePr>
        <p:xfrm>
          <a:off x="914400" y="1981200"/>
          <a:ext cx="10363200" cy="4114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635467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53641CC-44A3-4C78-9B80-FFB4418C61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1144464"/>
            <a:ext cx="10419036" cy="568863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55E286E-2B70-4B6E-86E4-14D389F88A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484784"/>
          </a:xfrm>
        </p:spPr>
        <p:txBody>
          <a:bodyPr/>
          <a:lstStyle/>
          <a:p>
            <a:r>
              <a:rPr lang="en-GB" dirty="0" err="1"/>
              <a:t>Agresif</a:t>
            </a:r>
            <a:r>
              <a:rPr lang="en-GB" dirty="0"/>
              <a:t> </a:t>
            </a:r>
            <a:r>
              <a:rPr lang="en-GB" dirty="0" err="1"/>
              <a:t>varyant</a:t>
            </a:r>
            <a:endParaRPr lang="en-GB" dirty="0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DDE8F490-1F2E-420D-AE5D-67CB6D22553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1969846"/>
              </p:ext>
            </p:extLst>
          </p:nvPr>
        </p:nvGraphicFramePr>
        <p:xfrm>
          <a:off x="6096000" y="2060848"/>
          <a:ext cx="5557218" cy="43204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0907806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DD4F50-C678-4AAA-B338-D094991F54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astatik HSMK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F75B052-AA4A-4DB8-BEF9-52683A20073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80297922"/>
              </p:ext>
            </p:extLst>
          </p:nvPr>
        </p:nvGraphicFramePr>
        <p:xfrm>
          <a:off x="515380" y="764704"/>
          <a:ext cx="11161240" cy="55895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40817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8IxDz7OSAjpCNbHghFMQ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jpeg"/></Relationships>
</file>

<file path=ppt/theme/theme1.xml><?xml version="1.0" encoding="utf-8"?>
<a:theme xmlns:a="http://schemas.openxmlformats.org/drawingml/2006/main" name="Varsayılan Tasarım">
  <a:themeElements>
    <a:clrScheme name="Varsayılan Tasarım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Varsayılan Tasarım">
      <a:majorFont>
        <a:latin typeface="Century Gothic"/>
        <a:ea typeface=""/>
        <a:cs typeface=""/>
      </a:majorFont>
      <a:minorFont>
        <a:latin typeface="Verdana"/>
        <a:ea typeface=""/>
        <a:cs typeface="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r-TR" altLang="tr-TR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ookman Old Style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r-TR" altLang="tr-TR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ookman Old Style" pitchFamily="18" charset="0"/>
          </a:defRPr>
        </a:defPPr>
      </a:lstStyle>
    </a:lnDef>
  </a:objectDefaults>
  <a:extraClrSchemeLst>
    <a:extraClrScheme>
      <a:clrScheme name="Varsayılan Tasarım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arsayılan Tasarım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arsayılan Tasarım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arsayılan Tasarım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arsayılan Tasarım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arsayılan Tasarım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arsayılan Tasarım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017_HTAA_Diabetes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  <a:headEnd/>
          <a:tailEnd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pitchFamily="3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pitchFamily="3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_HTAA_Diabetes" id="{1367EE62-49C0-41AA-9F7D-AEA8A8F73D1D}" vid="{45DB6FF6-6200-4F3D-90FC-F48B64252754}"/>
    </a:ext>
  </a:extLst>
</a:theme>
</file>

<file path=ppt/theme/theme3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is Teması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is Teması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012</TotalTime>
  <Words>4456</Words>
  <Application>Microsoft Office PowerPoint</Application>
  <PresentationFormat>Widescreen</PresentationFormat>
  <Paragraphs>1282</Paragraphs>
  <Slides>62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2</vt:i4>
      </vt:variant>
    </vt:vector>
  </HeadingPairs>
  <TitlesOfParts>
    <vt:vector size="76" baseType="lpstr">
      <vt:lpstr>Arial</vt:lpstr>
      <vt:lpstr>Arial Black</vt:lpstr>
      <vt:lpstr>Bookman Old Style</vt:lpstr>
      <vt:lpstr>Calibri</vt:lpstr>
      <vt:lpstr>Century Gothic</vt:lpstr>
      <vt:lpstr>Corbel</vt:lpstr>
      <vt:lpstr>Roboto</vt:lpstr>
      <vt:lpstr>Times New Roman</vt:lpstr>
      <vt:lpstr>Verdana</vt:lpstr>
      <vt:lpstr>Wingdings</vt:lpstr>
      <vt:lpstr>Varsayılan Tasarım</vt:lpstr>
      <vt:lpstr>2017_HTAA_Diabetes</vt:lpstr>
      <vt:lpstr>Clarity</vt:lpstr>
      <vt:lpstr>think-cell Slide</vt:lpstr>
      <vt:lpstr>PROSTAT KANSERİ</vt:lpstr>
      <vt:lpstr>Neler konuşalım?</vt:lpstr>
      <vt:lpstr>Yaşlandıkça sık</vt:lpstr>
      <vt:lpstr>Yaşam süresi</vt:lpstr>
      <vt:lpstr>PowerPoint Presentation</vt:lpstr>
      <vt:lpstr>PK Seyri</vt:lpstr>
      <vt:lpstr>Her hasta nasıl farklıdır?</vt:lpstr>
      <vt:lpstr>Agresif varyant</vt:lpstr>
      <vt:lpstr>Metastatik HSMK</vt:lpstr>
      <vt:lpstr>mHSPK Genel Bakış </vt:lpstr>
      <vt:lpstr>CHAARTED:  Docetaxel + ADT ya da ADT</vt:lpstr>
      <vt:lpstr>Dosetaksel Meta-Analiz:  2992 hasta ve 1271 olay içeriyor.  4 yılda 9% absolute iyileşme</vt:lpstr>
      <vt:lpstr>LATITUDE:  Abiraterone Acetate + ADT ya da  Placebo + ADT Randomized, double-blind phase III (N = 1199)</vt:lpstr>
      <vt:lpstr>STAMPEDE:  Randomized, open-label, multiarm, multistage phase II/III  (N = 1917)</vt:lpstr>
      <vt:lpstr>STAMPEDE:  Arm G</vt:lpstr>
      <vt:lpstr>PowerPoint Presentation</vt:lpstr>
      <vt:lpstr>PowerPoint Presentation</vt:lpstr>
      <vt:lpstr>PowerPoint Presentation</vt:lpstr>
      <vt:lpstr>PowerPoint Presentation</vt:lpstr>
      <vt:lpstr> </vt:lpstr>
      <vt:lpstr>TITAN:  Apalutamide + ADT vs Placebo + ADT in mHSPC</vt:lpstr>
      <vt:lpstr>Dosetaksel ya da AR inhibitörleri</vt:lpstr>
      <vt:lpstr>STAMPEDE:  Randomized, open-label, multiarm, multistage phase II/III  (N = 1917)</vt:lpstr>
      <vt:lpstr> STAMPEDE:   Docetaxel ya da Abiraterone</vt:lpstr>
      <vt:lpstr>Kombinasyon?</vt:lpstr>
      <vt:lpstr> </vt:lpstr>
      <vt:lpstr>NonMetastatik Prostat Kanseri</vt:lpstr>
      <vt:lpstr>PowerPoint Presentation</vt:lpstr>
      <vt:lpstr>PowerPoint Presentation</vt:lpstr>
      <vt:lpstr>PSA Katlanma Zamanı ve Prognoz</vt:lpstr>
      <vt:lpstr>Yeni Nesil Androjen Reseptör İnhibitörü</vt:lpstr>
      <vt:lpstr>PowerPoint Presentation</vt:lpstr>
      <vt:lpstr>PowerPoint Presentation</vt:lpstr>
      <vt:lpstr>Metastatic KRPK</vt:lpstr>
      <vt:lpstr>KDPK tanım</vt:lpstr>
      <vt:lpstr>mKDPK FDA Onaylı İlaçlar</vt:lpstr>
      <vt:lpstr>Dosetaksel: TAX-327</vt:lpstr>
      <vt:lpstr>TAX-327</vt:lpstr>
      <vt:lpstr>Dosetaksel: SWOG9916</vt:lpstr>
      <vt:lpstr>Docetaksel Çalışmaları Tutarlıdır</vt:lpstr>
      <vt:lpstr>Docetaksel 10 küre kadar</vt:lpstr>
      <vt:lpstr>Enzalutamid (PREVAİL)</vt:lpstr>
      <vt:lpstr>Abirateron COU-AA-302</vt:lpstr>
      <vt:lpstr>R-223 ALSYMPCA</vt:lpstr>
      <vt:lpstr>Köşe Taşı: Dosetaksel</vt:lpstr>
      <vt:lpstr>Tropic:  Kabasitaksel ya da Mitoxantron</vt:lpstr>
      <vt:lpstr>Post Docetaksel</vt:lpstr>
      <vt:lpstr>PowerPoint Presentation</vt:lpstr>
      <vt:lpstr>Post Docetaksel: CARD Trial:  Phase IV Trial of Cabazitaxel yada  Abiraterone or Enzalutamide Progresif mKDPK</vt:lpstr>
      <vt:lpstr>Primer Direnç  Post Docetaksel</vt:lpstr>
      <vt:lpstr>AR-V7</vt:lpstr>
      <vt:lpstr>Prostat kanseri ve Biomarkır</vt:lpstr>
      <vt:lpstr>Mutasyonlar 16 gen</vt:lpstr>
      <vt:lpstr>PowerPoint Presentation</vt:lpstr>
      <vt:lpstr>PROfound:  Olaparib yada Dr Seçimi</vt:lpstr>
      <vt:lpstr>PowerPoint Presentation</vt:lpstr>
      <vt:lpstr>TRITON2: BRCA1/BRCA2 Cohort </vt:lpstr>
      <vt:lpstr>Özet</vt:lpstr>
      <vt:lpstr>Özet</vt:lpstr>
      <vt:lpstr>Ben</vt:lpstr>
      <vt:lpstr>  polifarması</vt:lpstr>
      <vt:lpstr>Teşekkürl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DELL</dc:creator>
  <cp:lastModifiedBy>Hasan Senol Coskun</cp:lastModifiedBy>
  <cp:revision>203</cp:revision>
  <cp:lastPrinted>2002-10-15T19:43:13Z</cp:lastPrinted>
  <dcterms:created xsi:type="dcterms:W3CDTF">2002-03-28T13:08:44Z</dcterms:created>
  <dcterms:modified xsi:type="dcterms:W3CDTF">2020-11-14T12:57:33Z</dcterms:modified>
</cp:coreProperties>
</file>